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3.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D0_6905703C.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94" r:id="rId5"/>
    <p:sldMasterId id="2147483956" r:id="rId6"/>
    <p:sldMasterId id="2147484008" r:id="rId7"/>
  </p:sldMasterIdLst>
  <p:notesMasterIdLst>
    <p:notesMasterId r:id="rId60"/>
  </p:notesMasterIdLst>
  <p:handoutMasterIdLst>
    <p:handoutMasterId r:id="rId61"/>
  </p:handoutMasterIdLst>
  <p:sldIdLst>
    <p:sldId id="258" r:id="rId8"/>
    <p:sldId id="257" r:id="rId9"/>
    <p:sldId id="259" r:id="rId10"/>
    <p:sldId id="260" r:id="rId11"/>
    <p:sldId id="261" r:id="rId12"/>
    <p:sldId id="264" r:id="rId13"/>
    <p:sldId id="8334" r:id="rId14"/>
    <p:sldId id="2147483507" r:id="rId15"/>
    <p:sldId id="8341" r:id="rId16"/>
    <p:sldId id="464" r:id="rId17"/>
    <p:sldId id="8330" r:id="rId18"/>
    <p:sldId id="8332" r:id="rId19"/>
    <p:sldId id="8336" r:id="rId20"/>
    <p:sldId id="8335" r:id="rId21"/>
    <p:sldId id="2147483508" r:id="rId22"/>
    <p:sldId id="2147483510" r:id="rId23"/>
    <p:sldId id="262" r:id="rId24"/>
    <p:sldId id="9944" r:id="rId25"/>
    <p:sldId id="8338" r:id="rId26"/>
    <p:sldId id="8339" r:id="rId27"/>
    <p:sldId id="8337" r:id="rId28"/>
    <p:sldId id="8340" r:id="rId29"/>
    <p:sldId id="9936" r:id="rId30"/>
    <p:sldId id="1547" r:id="rId31"/>
    <p:sldId id="1848" r:id="rId32"/>
    <p:sldId id="4633" r:id="rId33"/>
    <p:sldId id="9937" r:id="rId34"/>
    <p:sldId id="2147483509" r:id="rId35"/>
    <p:sldId id="9938" r:id="rId36"/>
    <p:sldId id="4422" r:id="rId37"/>
    <p:sldId id="743" r:id="rId38"/>
    <p:sldId id="9939" r:id="rId39"/>
    <p:sldId id="2147483440" r:id="rId40"/>
    <p:sldId id="4439" r:id="rId41"/>
    <p:sldId id="4436" r:id="rId42"/>
    <p:sldId id="4450" r:id="rId43"/>
    <p:sldId id="4449" r:id="rId44"/>
    <p:sldId id="9934" r:id="rId45"/>
    <p:sldId id="559" r:id="rId46"/>
    <p:sldId id="272" r:id="rId47"/>
    <p:sldId id="9940" r:id="rId48"/>
    <p:sldId id="2147483511" r:id="rId49"/>
    <p:sldId id="2147483512" r:id="rId50"/>
    <p:sldId id="1879" r:id="rId51"/>
    <p:sldId id="2147483513" r:id="rId52"/>
    <p:sldId id="2147483514" r:id="rId53"/>
    <p:sldId id="4548" r:id="rId54"/>
    <p:sldId id="4507" r:id="rId55"/>
    <p:sldId id="4503" r:id="rId56"/>
    <p:sldId id="2147483515" r:id="rId57"/>
    <p:sldId id="2147483516" r:id="rId58"/>
    <p:sldId id="256"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D20301-4287-9041-12C5-ED81E193C2E0}" name="Richard Diver (HE/HIM)" initials="R(" userId="S::ridive@microsoft.com::1d7465a4-5cd3-4dc8-8db9-565c720ebd9c" providerId="AD"/>
  <p188:author id="{D024320A-2B1A-AA96-8FA3-6F7FFF4A7B89}" name="Janice Wu" initials="JW" userId="S::zhiwu@microsoft.com::c6c86711-f426-45df-b901-2827697bb9cb" providerId="AD"/>
  <p188:author id="{DFD44415-4C76-42C8-129F-2632CEEFE8F8}" name="Nannette Sperling (Synaxis Corporation)" initials="NC" userId="S::v-nans@microsoft.com::d52d1fc2-a9a6-4dd3-9317-1239dd752952" providerId="AD"/>
  <p188:author id="{1761AB79-BD2F-5A7A-53FA-2F120E6BA2EB}" name="Michelle Rutzer (PRIME 8 LLC)" initials="MR" userId="S::v-mirut@microsoft.com::0eb8a9d2-7eff-4e29-9140-23a6a4b2fe89" providerId="AD"/>
  <p188:author id="{E65A7E9E-4CC2-39A4-3852-76C89A530F7C}" name="Sean Whalen" initials="SW" userId="S::seanwhalen@microsoft.com::224ef4fe-8a39-47ee-ad8b-07aa3deffa71" providerId="AD"/>
  <p188:author id="{05ACFFAC-FD78-DCFC-68EE-26D648E208CB}" name="Scott Corio" initials="SC" userId="dbe1492c70b6d8a8" providerId="Windows Live"/>
  <p188:author id="{FF4F35AD-D89A-90F7-8C74-6790F6E8E6E3}" name="Mihai Peicu" initials="MP" userId="S::mihaipe@ntdev.microsoft.com::f7a8ed6f-f8eb-4b6f-94cb-b50a7f7350d4" providerId="AD"/>
  <p188:author id="{839EABBA-E5A0-3440-23E1-8D4E1A29E188}" name="Gaurav Uppal" initials="GU" userId="S::guppal@microsoft.com::fcd2be2a-c66a-45b3-accb-39910e0284c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FF9FF"/>
    <a:srgbClr val="8F867D"/>
    <a:srgbClr val="FFFFFF"/>
    <a:srgbClr val="B7DDFF"/>
    <a:srgbClr val="E4E4E4"/>
    <a:srgbClr val="ECECEC"/>
    <a:srgbClr val="F6F3FB"/>
    <a:srgbClr val="F9F9F9"/>
    <a:srgbClr val="F4F0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7CA43F-53D0-4712-89AD-435BCD22017C}" v="11" dt="2024-08-16T12:46:44.23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9" autoAdjust="0"/>
    <p:restoredTop sz="94660"/>
  </p:normalViewPr>
  <p:slideViewPr>
    <p:cSldViewPr snapToGrid="0">
      <p:cViewPr varScale="1">
        <p:scale>
          <a:sx n="105" d="100"/>
          <a:sy n="105" d="100"/>
        </p:scale>
        <p:origin x="534" y="96"/>
      </p:cViewPr>
      <p:guideLst/>
    </p:cSldViewPr>
  </p:slideViewPr>
  <p:notesTextViewPr>
    <p:cViewPr>
      <p:scale>
        <a:sx n="1" d="1"/>
        <a:sy n="1" d="1"/>
      </p:scale>
      <p:origin x="0" y="0"/>
    </p:cViewPr>
  </p:notesTextViewPr>
  <p:notesViewPr>
    <p:cSldViewPr snapToGrid="0">
      <p:cViewPr>
        <p:scale>
          <a:sx n="1" d="2"/>
          <a:sy n="1" d="2"/>
        </p:scale>
        <p:origin x="6548" y="213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viewProps" Target="viewProps.xml"/><Relationship Id="rId68"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microsoft.com/office/2015/10/relationships/revisionInfo" Target="revisionInfo.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Corio" userId="dbe1492c70b6d8a8" providerId="LiveId" clId="{867CA43F-53D0-4712-89AD-435BCD22017C}"/>
    <pc:docChg chg="custSel modSld">
      <pc:chgData name="Scott Corio" userId="dbe1492c70b6d8a8" providerId="LiveId" clId="{867CA43F-53D0-4712-89AD-435BCD22017C}" dt="2024-08-16T12:45:34.487" v="38" actId="20577"/>
      <pc:docMkLst>
        <pc:docMk/>
      </pc:docMkLst>
      <pc:sldChg chg="modSp mod">
        <pc:chgData name="Scott Corio" userId="dbe1492c70b6d8a8" providerId="LiveId" clId="{867CA43F-53D0-4712-89AD-435BCD22017C}" dt="2024-08-15T11:30:52.583" v="27" actId="20577"/>
        <pc:sldMkLst>
          <pc:docMk/>
          <pc:sldMk cId="1390368533" sldId="257"/>
        </pc:sldMkLst>
        <pc:spChg chg="mod">
          <ac:chgData name="Scott Corio" userId="dbe1492c70b6d8a8" providerId="LiveId" clId="{867CA43F-53D0-4712-89AD-435BCD22017C}" dt="2024-08-15T11:30:52.583" v="27" actId="20577"/>
          <ac:spMkLst>
            <pc:docMk/>
            <pc:sldMk cId="1390368533" sldId="257"/>
            <ac:spMk id="8" creationId="{4F2131F5-C052-6017-8F24-0BC88590ECD3}"/>
          </ac:spMkLst>
        </pc:spChg>
      </pc:sldChg>
      <pc:sldChg chg="modSp mod">
        <pc:chgData name="Scott Corio" userId="dbe1492c70b6d8a8" providerId="LiveId" clId="{867CA43F-53D0-4712-89AD-435BCD22017C}" dt="2024-08-15T11:30:35.795" v="7" actId="20577"/>
        <pc:sldMkLst>
          <pc:docMk/>
          <pc:sldMk cId="4018952155" sldId="258"/>
        </pc:sldMkLst>
        <pc:spChg chg="mod">
          <ac:chgData name="Scott Corio" userId="dbe1492c70b6d8a8" providerId="LiveId" clId="{867CA43F-53D0-4712-89AD-435BCD22017C}" dt="2024-08-15T11:30:35.795" v="7" actId="20577"/>
          <ac:spMkLst>
            <pc:docMk/>
            <pc:sldMk cId="4018952155" sldId="258"/>
            <ac:spMk id="3" creationId="{B7806C1F-6D02-FA11-F860-B05CFAC0C160}"/>
          </ac:spMkLst>
        </pc:spChg>
      </pc:sldChg>
      <pc:sldChg chg="modSp mod">
        <pc:chgData name="Scott Corio" userId="dbe1492c70b6d8a8" providerId="LiveId" clId="{867CA43F-53D0-4712-89AD-435BCD22017C}" dt="2024-08-15T11:31:19.920" v="30" actId="20577"/>
        <pc:sldMkLst>
          <pc:docMk/>
          <pc:sldMk cId="3861892648" sldId="259"/>
        </pc:sldMkLst>
        <pc:spChg chg="mod">
          <ac:chgData name="Scott Corio" userId="dbe1492c70b6d8a8" providerId="LiveId" clId="{867CA43F-53D0-4712-89AD-435BCD22017C}" dt="2024-08-15T11:31:19.920" v="30" actId="20577"/>
          <ac:spMkLst>
            <pc:docMk/>
            <pc:sldMk cId="3861892648" sldId="259"/>
            <ac:spMk id="15" creationId="{1044DE30-4A3B-6052-FC77-E80F8E7F370A}"/>
          </ac:spMkLst>
        </pc:spChg>
      </pc:sldChg>
      <pc:sldChg chg="modSp">
        <pc:chgData name="Scott Corio" userId="dbe1492c70b6d8a8" providerId="LiveId" clId="{867CA43F-53D0-4712-89AD-435BCD22017C}" dt="2024-08-15T11:32:05.838" v="34" actId="20577"/>
        <pc:sldMkLst>
          <pc:docMk/>
          <pc:sldMk cId="2692478915" sldId="261"/>
        </pc:sldMkLst>
        <pc:graphicFrameChg chg="mod">
          <ac:chgData name="Scott Corio" userId="dbe1492c70b6d8a8" providerId="LiveId" clId="{867CA43F-53D0-4712-89AD-435BCD22017C}" dt="2024-08-15T11:32:05.838" v="34" actId="20577"/>
          <ac:graphicFrameMkLst>
            <pc:docMk/>
            <pc:sldMk cId="2692478915" sldId="261"/>
            <ac:graphicFrameMk id="5" creationId="{975E854C-4654-8554-D25C-F08036FFB0AF}"/>
          </ac:graphicFrameMkLst>
        </pc:graphicFrameChg>
      </pc:sldChg>
      <pc:sldChg chg="modSp">
        <pc:chgData name="Scott Corio" userId="dbe1492c70b6d8a8" providerId="LiveId" clId="{867CA43F-53D0-4712-89AD-435BCD22017C}" dt="2024-08-16T12:45:34.487" v="38" actId="20577"/>
        <pc:sldMkLst>
          <pc:docMk/>
          <pc:sldMk cId="2944089860" sldId="8341"/>
        </pc:sldMkLst>
        <pc:spChg chg="mod">
          <ac:chgData name="Scott Corio" userId="dbe1492c70b6d8a8" providerId="LiveId" clId="{867CA43F-53D0-4712-89AD-435BCD22017C}" dt="2024-08-16T12:45:34.487" v="38" actId="20577"/>
          <ac:spMkLst>
            <pc:docMk/>
            <pc:sldMk cId="2944089860" sldId="8341"/>
            <ac:spMk id="5" creationId="{B5FFA95B-24A6-A4F6-1A39-0297965F3F12}"/>
          </ac:spMkLst>
        </pc:spChg>
      </pc:sldChg>
    </pc:docChg>
  </pc:docChgLst>
  <pc:docChgLst>
    <pc:chgData name="Scott Corio" userId="dbe1492c70b6d8a8" providerId="LiveId" clId="{26B6202C-1B72-4C9C-8F83-0CEA0EB888C8}"/>
    <pc:docChg chg="undo redo custSel addSld delSld modSld sldOrd modMainMaster">
      <pc:chgData name="Scott Corio" userId="dbe1492c70b6d8a8" providerId="LiveId" clId="{26B6202C-1B72-4C9C-8F83-0CEA0EB888C8}" dt="2024-08-14T18:10:13.682" v="1675"/>
      <pc:docMkLst>
        <pc:docMk/>
      </pc:docMkLst>
      <pc:sldChg chg="del">
        <pc:chgData name="Scott Corio" userId="dbe1492c70b6d8a8" providerId="LiveId" clId="{26B6202C-1B72-4C9C-8F83-0CEA0EB888C8}" dt="2024-08-10T18:13:18.316" v="148" actId="47"/>
        <pc:sldMkLst>
          <pc:docMk/>
          <pc:sldMk cId="1062380324" sldId="256"/>
        </pc:sldMkLst>
      </pc:sldChg>
      <pc:sldChg chg="add">
        <pc:chgData name="Scott Corio" userId="dbe1492c70b6d8a8" providerId="LiveId" clId="{26B6202C-1B72-4C9C-8F83-0CEA0EB888C8}" dt="2024-08-14T18:10:13.682" v="1675"/>
        <pc:sldMkLst>
          <pc:docMk/>
          <pc:sldMk cId="2632759011" sldId="256"/>
        </pc:sldMkLst>
      </pc:sldChg>
      <pc:sldChg chg="addSp delSp modSp mod chgLayout">
        <pc:chgData name="Scott Corio" userId="dbe1492c70b6d8a8" providerId="LiveId" clId="{26B6202C-1B72-4C9C-8F83-0CEA0EB888C8}" dt="2024-08-10T18:12:19.939" v="147" actId="478"/>
        <pc:sldMkLst>
          <pc:docMk/>
          <pc:sldMk cId="1390368533" sldId="257"/>
        </pc:sldMkLst>
        <pc:spChg chg="del mod ord">
          <ac:chgData name="Scott Corio" userId="dbe1492c70b6d8a8" providerId="LiveId" clId="{26B6202C-1B72-4C9C-8F83-0CEA0EB888C8}" dt="2024-08-10T18:12:19.939" v="147" actId="478"/>
          <ac:spMkLst>
            <pc:docMk/>
            <pc:sldMk cId="1390368533" sldId="257"/>
            <ac:spMk id="4" creationId="{0D3D8E24-2A49-E43F-23D6-0BC988F20290}"/>
          </ac:spMkLst>
        </pc:spChg>
        <pc:spChg chg="mod ord">
          <ac:chgData name="Scott Corio" userId="dbe1492c70b6d8a8" providerId="LiveId" clId="{26B6202C-1B72-4C9C-8F83-0CEA0EB888C8}" dt="2024-08-10T18:12:04.758" v="145" actId="6264"/>
          <ac:spMkLst>
            <pc:docMk/>
            <pc:sldMk cId="1390368533" sldId="257"/>
            <ac:spMk id="7" creationId="{B13AB5F0-3405-E0A1-90FE-C61869EE91FC}"/>
          </ac:spMkLst>
        </pc:spChg>
        <pc:spChg chg="mod ord">
          <ac:chgData name="Scott Corio" userId="dbe1492c70b6d8a8" providerId="LiveId" clId="{26B6202C-1B72-4C9C-8F83-0CEA0EB888C8}" dt="2024-08-10T18:12:04.758" v="145" actId="6264"/>
          <ac:spMkLst>
            <pc:docMk/>
            <pc:sldMk cId="1390368533" sldId="257"/>
            <ac:spMk id="8" creationId="{4F2131F5-C052-6017-8F24-0BC88590ECD3}"/>
          </ac:spMkLst>
        </pc:spChg>
        <pc:spChg chg="mod ord">
          <ac:chgData name="Scott Corio" userId="dbe1492c70b6d8a8" providerId="LiveId" clId="{26B6202C-1B72-4C9C-8F83-0CEA0EB888C8}" dt="2024-08-10T18:12:04.758" v="145" actId="6264"/>
          <ac:spMkLst>
            <pc:docMk/>
            <pc:sldMk cId="1390368533" sldId="257"/>
            <ac:spMk id="9" creationId="{0C52EED0-D0A6-32D6-E848-0EE601ABA556}"/>
          </ac:spMkLst>
        </pc:spChg>
        <pc:spChg chg="mod ord">
          <ac:chgData name="Scott Corio" userId="dbe1492c70b6d8a8" providerId="LiveId" clId="{26B6202C-1B72-4C9C-8F83-0CEA0EB888C8}" dt="2024-08-10T18:12:04.758" v="145" actId="6264"/>
          <ac:spMkLst>
            <pc:docMk/>
            <pc:sldMk cId="1390368533" sldId="257"/>
            <ac:spMk id="10" creationId="{36AB1DDC-3B80-FF17-F999-B9633E648363}"/>
          </ac:spMkLst>
        </pc:spChg>
        <pc:spChg chg="mod ord">
          <ac:chgData name="Scott Corio" userId="dbe1492c70b6d8a8" providerId="LiveId" clId="{26B6202C-1B72-4C9C-8F83-0CEA0EB888C8}" dt="2024-08-10T18:12:04.758" v="145" actId="6264"/>
          <ac:spMkLst>
            <pc:docMk/>
            <pc:sldMk cId="1390368533" sldId="257"/>
            <ac:spMk id="11" creationId="{6EDA0F87-E660-BEAC-B536-28A13799F53B}"/>
          </ac:spMkLst>
        </pc:spChg>
        <pc:spChg chg="mod ord">
          <ac:chgData name="Scott Corio" userId="dbe1492c70b6d8a8" providerId="LiveId" clId="{26B6202C-1B72-4C9C-8F83-0CEA0EB888C8}" dt="2024-08-10T18:12:04.758" v="145" actId="6264"/>
          <ac:spMkLst>
            <pc:docMk/>
            <pc:sldMk cId="1390368533" sldId="257"/>
            <ac:spMk id="12" creationId="{A6CAA7E4-2C89-711F-CC82-F463F0B6656B}"/>
          </ac:spMkLst>
        </pc:spChg>
        <pc:spChg chg="mod ord">
          <ac:chgData name="Scott Corio" userId="dbe1492c70b6d8a8" providerId="LiveId" clId="{26B6202C-1B72-4C9C-8F83-0CEA0EB888C8}" dt="2024-08-10T18:12:04.758" v="145" actId="6264"/>
          <ac:spMkLst>
            <pc:docMk/>
            <pc:sldMk cId="1390368533" sldId="257"/>
            <ac:spMk id="13" creationId="{E39765BC-FA9E-67FF-7031-66117A507330}"/>
          </ac:spMkLst>
        </pc:spChg>
        <pc:spChg chg="mod ord">
          <ac:chgData name="Scott Corio" userId="dbe1492c70b6d8a8" providerId="LiveId" clId="{26B6202C-1B72-4C9C-8F83-0CEA0EB888C8}" dt="2024-08-10T18:12:04.758" v="145" actId="6264"/>
          <ac:spMkLst>
            <pc:docMk/>
            <pc:sldMk cId="1390368533" sldId="257"/>
            <ac:spMk id="14" creationId="{ACB22D29-2839-8907-645E-3B5B768EE2EC}"/>
          </ac:spMkLst>
        </pc:spChg>
        <pc:spChg chg="mod ord">
          <ac:chgData name="Scott Corio" userId="dbe1492c70b6d8a8" providerId="LiveId" clId="{26B6202C-1B72-4C9C-8F83-0CEA0EB888C8}" dt="2024-08-10T18:12:04.758" v="145" actId="6264"/>
          <ac:spMkLst>
            <pc:docMk/>
            <pc:sldMk cId="1390368533" sldId="257"/>
            <ac:spMk id="15" creationId="{96FC36F2-FBCF-F3CD-9445-684991947944}"/>
          </ac:spMkLst>
        </pc:spChg>
        <pc:spChg chg="mod ord">
          <ac:chgData name="Scott Corio" userId="dbe1492c70b6d8a8" providerId="LiveId" clId="{26B6202C-1B72-4C9C-8F83-0CEA0EB888C8}" dt="2024-08-10T18:12:04.758" v="145" actId="6264"/>
          <ac:spMkLst>
            <pc:docMk/>
            <pc:sldMk cId="1390368533" sldId="257"/>
            <ac:spMk id="16" creationId="{C13D9BA9-29BD-F2E0-1999-F59443D39A1E}"/>
          </ac:spMkLst>
        </pc:spChg>
        <pc:spChg chg="add del mod">
          <ac:chgData name="Scott Corio" userId="dbe1492c70b6d8a8" providerId="LiveId" clId="{26B6202C-1B72-4C9C-8F83-0CEA0EB888C8}" dt="2024-08-10T18:12:04.758" v="145" actId="6264"/>
          <ac:spMkLst>
            <pc:docMk/>
            <pc:sldMk cId="1390368533" sldId="257"/>
            <ac:spMk id="21" creationId="{33121325-3A18-89CA-D05F-B9173E3BE4FB}"/>
          </ac:spMkLst>
        </pc:spChg>
        <pc:spChg chg="add del mod">
          <ac:chgData name="Scott Corio" userId="dbe1492c70b6d8a8" providerId="LiveId" clId="{26B6202C-1B72-4C9C-8F83-0CEA0EB888C8}" dt="2024-08-10T18:12:04.758" v="145" actId="6264"/>
          <ac:spMkLst>
            <pc:docMk/>
            <pc:sldMk cId="1390368533" sldId="257"/>
            <ac:spMk id="22" creationId="{31B199A9-5CAA-EA8B-D6C3-0FF124F04615}"/>
          </ac:spMkLst>
        </pc:spChg>
        <pc:spChg chg="add del mod">
          <ac:chgData name="Scott Corio" userId="dbe1492c70b6d8a8" providerId="LiveId" clId="{26B6202C-1B72-4C9C-8F83-0CEA0EB888C8}" dt="2024-08-10T18:12:04.758" v="145" actId="6264"/>
          <ac:spMkLst>
            <pc:docMk/>
            <pc:sldMk cId="1390368533" sldId="257"/>
            <ac:spMk id="23" creationId="{7326C121-48EC-1D28-D13E-44AAA165F5F2}"/>
          </ac:spMkLst>
        </pc:spChg>
        <pc:spChg chg="add del mod">
          <ac:chgData name="Scott Corio" userId="dbe1492c70b6d8a8" providerId="LiveId" clId="{26B6202C-1B72-4C9C-8F83-0CEA0EB888C8}" dt="2024-08-10T18:12:04.758" v="145" actId="6264"/>
          <ac:spMkLst>
            <pc:docMk/>
            <pc:sldMk cId="1390368533" sldId="257"/>
            <ac:spMk id="24" creationId="{95B54E33-B3B9-43F6-43DA-DBA010EBC1AA}"/>
          </ac:spMkLst>
        </pc:spChg>
        <pc:spChg chg="add del mod">
          <ac:chgData name="Scott Corio" userId="dbe1492c70b6d8a8" providerId="LiveId" clId="{26B6202C-1B72-4C9C-8F83-0CEA0EB888C8}" dt="2024-08-10T18:12:04.758" v="145" actId="6264"/>
          <ac:spMkLst>
            <pc:docMk/>
            <pc:sldMk cId="1390368533" sldId="257"/>
            <ac:spMk id="25" creationId="{2827C518-BA84-A2F7-A7AE-4E4CA2A57E3C}"/>
          </ac:spMkLst>
        </pc:spChg>
        <pc:spChg chg="add del mod">
          <ac:chgData name="Scott Corio" userId="dbe1492c70b6d8a8" providerId="LiveId" clId="{26B6202C-1B72-4C9C-8F83-0CEA0EB888C8}" dt="2024-08-10T18:12:04.758" v="145" actId="6264"/>
          <ac:spMkLst>
            <pc:docMk/>
            <pc:sldMk cId="1390368533" sldId="257"/>
            <ac:spMk id="26" creationId="{0E2492E4-E580-82E8-6C96-AE500AEED15F}"/>
          </ac:spMkLst>
        </pc:spChg>
        <pc:spChg chg="add del mod">
          <ac:chgData name="Scott Corio" userId="dbe1492c70b6d8a8" providerId="LiveId" clId="{26B6202C-1B72-4C9C-8F83-0CEA0EB888C8}" dt="2024-08-10T18:12:04.758" v="145" actId="6264"/>
          <ac:spMkLst>
            <pc:docMk/>
            <pc:sldMk cId="1390368533" sldId="257"/>
            <ac:spMk id="27" creationId="{B838685A-7342-9342-6EE9-4B226A57B836}"/>
          </ac:spMkLst>
        </pc:spChg>
        <pc:spChg chg="add del mod">
          <ac:chgData name="Scott Corio" userId="dbe1492c70b6d8a8" providerId="LiveId" clId="{26B6202C-1B72-4C9C-8F83-0CEA0EB888C8}" dt="2024-08-10T18:12:04.758" v="145" actId="6264"/>
          <ac:spMkLst>
            <pc:docMk/>
            <pc:sldMk cId="1390368533" sldId="257"/>
            <ac:spMk id="28" creationId="{946F16AD-9126-5896-9D1C-BD4FFF6387C0}"/>
          </ac:spMkLst>
        </pc:spChg>
        <pc:spChg chg="add del mod">
          <ac:chgData name="Scott Corio" userId="dbe1492c70b6d8a8" providerId="LiveId" clId="{26B6202C-1B72-4C9C-8F83-0CEA0EB888C8}" dt="2024-08-10T18:12:04.758" v="145" actId="6264"/>
          <ac:spMkLst>
            <pc:docMk/>
            <pc:sldMk cId="1390368533" sldId="257"/>
            <ac:spMk id="29" creationId="{CBF9A2A4-0133-D65E-6808-70223AF51F32}"/>
          </ac:spMkLst>
        </pc:spChg>
        <pc:spChg chg="add del mod">
          <ac:chgData name="Scott Corio" userId="dbe1492c70b6d8a8" providerId="LiveId" clId="{26B6202C-1B72-4C9C-8F83-0CEA0EB888C8}" dt="2024-08-10T18:12:04.758" v="145" actId="6264"/>
          <ac:spMkLst>
            <pc:docMk/>
            <pc:sldMk cId="1390368533" sldId="257"/>
            <ac:spMk id="30" creationId="{2B445701-4B2E-489D-57F7-D4211167F25A}"/>
          </ac:spMkLst>
        </pc:spChg>
        <pc:spChg chg="add del mod">
          <ac:chgData name="Scott Corio" userId="dbe1492c70b6d8a8" providerId="LiveId" clId="{26B6202C-1B72-4C9C-8F83-0CEA0EB888C8}" dt="2024-08-10T18:12:04.758" v="145" actId="6264"/>
          <ac:spMkLst>
            <pc:docMk/>
            <pc:sldMk cId="1390368533" sldId="257"/>
            <ac:spMk id="31" creationId="{BC7E09A4-8654-A7C7-162E-D064202ACC22}"/>
          </ac:spMkLst>
        </pc:spChg>
        <pc:spChg chg="add del mod">
          <ac:chgData name="Scott Corio" userId="dbe1492c70b6d8a8" providerId="LiveId" clId="{26B6202C-1B72-4C9C-8F83-0CEA0EB888C8}" dt="2024-08-10T18:12:04.758" v="145" actId="6264"/>
          <ac:spMkLst>
            <pc:docMk/>
            <pc:sldMk cId="1390368533" sldId="257"/>
            <ac:spMk id="32" creationId="{2B76AC4A-C296-4047-5CEC-3597C92441CA}"/>
          </ac:spMkLst>
        </pc:spChg>
        <pc:picChg chg="mod ord">
          <ac:chgData name="Scott Corio" userId="dbe1492c70b6d8a8" providerId="LiveId" clId="{26B6202C-1B72-4C9C-8F83-0CEA0EB888C8}" dt="2024-08-10T18:12:04.758" v="145" actId="6264"/>
          <ac:picMkLst>
            <pc:docMk/>
            <pc:sldMk cId="1390368533" sldId="257"/>
            <ac:picMk id="18" creationId="{0FE1ACE3-AA98-CC45-7CD6-2A15641BA31B}"/>
          </ac:picMkLst>
        </pc:picChg>
        <pc:picChg chg="mod ord">
          <ac:chgData name="Scott Corio" userId="dbe1492c70b6d8a8" providerId="LiveId" clId="{26B6202C-1B72-4C9C-8F83-0CEA0EB888C8}" dt="2024-08-10T18:12:04.758" v="145" actId="6264"/>
          <ac:picMkLst>
            <pc:docMk/>
            <pc:sldMk cId="1390368533" sldId="257"/>
            <ac:picMk id="20" creationId="{B7918F96-4D98-5F39-EF5F-4AB2815A32E0}"/>
          </ac:picMkLst>
        </pc:picChg>
      </pc:sldChg>
      <pc:sldChg chg="ord">
        <pc:chgData name="Scott Corio" userId="dbe1492c70b6d8a8" providerId="LiveId" clId="{26B6202C-1B72-4C9C-8F83-0CEA0EB888C8}" dt="2024-08-10T18:13:20.946" v="150"/>
        <pc:sldMkLst>
          <pc:docMk/>
          <pc:sldMk cId="4018952155" sldId="258"/>
        </pc:sldMkLst>
      </pc:sldChg>
      <pc:sldChg chg="addSp delSp modSp new mod modClrScheme chgLayout">
        <pc:chgData name="Scott Corio" userId="dbe1492c70b6d8a8" providerId="LiveId" clId="{26B6202C-1B72-4C9C-8F83-0CEA0EB888C8}" dt="2024-08-10T18:14:55.647" v="446" actId="20577"/>
        <pc:sldMkLst>
          <pc:docMk/>
          <pc:sldMk cId="3861892648" sldId="259"/>
        </pc:sldMkLst>
        <pc:spChg chg="del mod ord">
          <ac:chgData name="Scott Corio" userId="dbe1492c70b6d8a8" providerId="LiveId" clId="{26B6202C-1B72-4C9C-8F83-0CEA0EB888C8}" dt="2024-08-10T18:13:37.934" v="152" actId="700"/>
          <ac:spMkLst>
            <pc:docMk/>
            <pc:sldMk cId="3861892648" sldId="259"/>
            <ac:spMk id="2" creationId="{D3202881-3803-6741-4631-5DE83A644765}"/>
          </ac:spMkLst>
        </pc:spChg>
        <pc:spChg chg="del">
          <ac:chgData name="Scott Corio" userId="dbe1492c70b6d8a8" providerId="LiveId" clId="{26B6202C-1B72-4C9C-8F83-0CEA0EB888C8}" dt="2024-08-10T18:13:37.934" v="152" actId="700"/>
          <ac:spMkLst>
            <pc:docMk/>
            <pc:sldMk cId="3861892648" sldId="259"/>
            <ac:spMk id="3" creationId="{44BBB4E5-A055-D02E-D548-4DE520ADFD2B}"/>
          </ac:spMkLst>
        </pc:spChg>
        <pc:spChg chg="del">
          <ac:chgData name="Scott Corio" userId="dbe1492c70b6d8a8" providerId="LiveId" clId="{26B6202C-1B72-4C9C-8F83-0CEA0EB888C8}" dt="2024-08-10T18:13:37.934" v="152" actId="700"/>
          <ac:spMkLst>
            <pc:docMk/>
            <pc:sldMk cId="3861892648" sldId="259"/>
            <ac:spMk id="4" creationId="{6B961B60-57FF-CD64-CC3F-C06F1721AE26}"/>
          </ac:spMkLst>
        </pc:spChg>
        <pc:spChg chg="del">
          <ac:chgData name="Scott Corio" userId="dbe1492c70b6d8a8" providerId="LiveId" clId="{26B6202C-1B72-4C9C-8F83-0CEA0EB888C8}" dt="2024-08-10T18:13:37.934" v="152" actId="700"/>
          <ac:spMkLst>
            <pc:docMk/>
            <pc:sldMk cId="3861892648" sldId="259"/>
            <ac:spMk id="5" creationId="{1A350444-CAF4-9DD0-7EC7-D05FF00F5FDA}"/>
          </ac:spMkLst>
        </pc:spChg>
        <pc:spChg chg="del">
          <ac:chgData name="Scott Corio" userId="dbe1492c70b6d8a8" providerId="LiveId" clId="{26B6202C-1B72-4C9C-8F83-0CEA0EB888C8}" dt="2024-08-10T18:13:37.934" v="152" actId="700"/>
          <ac:spMkLst>
            <pc:docMk/>
            <pc:sldMk cId="3861892648" sldId="259"/>
            <ac:spMk id="6" creationId="{337CF8A2-30C6-05E6-355D-3A1547FE3061}"/>
          </ac:spMkLst>
        </pc:spChg>
        <pc:spChg chg="del">
          <ac:chgData name="Scott Corio" userId="dbe1492c70b6d8a8" providerId="LiveId" clId="{26B6202C-1B72-4C9C-8F83-0CEA0EB888C8}" dt="2024-08-10T18:13:37.934" v="152" actId="700"/>
          <ac:spMkLst>
            <pc:docMk/>
            <pc:sldMk cId="3861892648" sldId="259"/>
            <ac:spMk id="7" creationId="{4D17F27B-708D-7E86-5ED1-0724C824599C}"/>
          </ac:spMkLst>
        </pc:spChg>
        <pc:spChg chg="del">
          <ac:chgData name="Scott Corio" userId="dbe1492c70b6d8a8" providerId="LiveId" clId="{26B6202C-1B72-4C9C-8F83-0CEA0EB888C8}" dt="2024-08-10T18:13:37.934" v="152" actId="700"/>
          <ac:spMkLst>
            <pc:docMk/>
            <pc:sldMk cId="3861892648" sldId="259"/>
            <ac:spMk id="8" creationId="{823C1E40-5D1D-0A03-FD9F-5BDCB9E9418C}"/>
          </ac:spMkLst>
        </pc:spChg>
        <pc:spChg chg="del">
          <ac:chgData name="Scott Corio" userId="dbe1492c70b6d8a8" providerId="LiveId" clId="{26B6202C-1B72-4C9C-8F83-0CEA0EB888C8}" dt="2024-08-10T18:13:37.934" v="152" actId="700"/>
          <ac:spMkLst>
            <pc:docMk/>
            <pc:sldMk cId="3861892648" sldId="259"/>
            <ac:spMk id="9" creationId="{783B2662-379F-59FE-5FF6-5A3050328D8A}"/>
          </ac:spMkLst>
        </pc:spChg>
        <pc:spChg chg="del">
          <ac:chgData name="Scott Corio" userId="dbe1492c70b6d8a8" providerId="LiveId" clId="{26B6202C-1B72-4C9C-8F83-0CEA0EB888C8}" dt="2024-08-10T18:13:37.934" v="152" actId="700"/>
          <ac:spMkLst>
            <pc:docMk/>
            <pc:sldMk cId="3861892648" sldId="259"/>
            <ac:spMk id="10" creationId="{920D6586-B2F7-3DC6-D217-BE5BC6CCC899}"/>
          </ac:spMkLst>
        </pc:spChg>
        <pc:spChg chg="del">
          <ac:chgData name="Scott Corio" userId="dbe1492c70b6d8a8" providerId="LiveId" clId="{26B6202C-1B72-4C9C-8F83-0CEA0EB888C8}" dt="2024-08-10T18:13:37.934" v="152" actId="700"/>
          <ac:spMkLst>
            <pc:docMk/>
            <pc:sldMk cId="3861892648" sldId="259"/>
            <ac:spMk id="11" creationId="{B1B9A190-BAB9-1BD9-859C-EA1B55A1947D}"/>
          </ac:spMkLst>
        </pc:spChg>
        <pc:spChg chg="del">
          <ac:chgData name="Scott Corio" userId="dbe1492c70b6d8a8" providerId="LiveId" clId="{26B6202C-1B72-4C9C-8F83-0CEA0EB888C8}" dt="2024-08-10T18:13:37.934" v="152" actId="700"/>
          <ac:spMkLst>
            <pc:docMk/>
            <pc:sldMk cId="3861892648" sldId="259"/>
            <ac:spMk id="12" creationId="{3E294213-1AFA-AB27-47DD-E38BD593322F}"/>
          </ac:spMkLst>
        </pc:spChg>
        <pc:spChg chg="del">
          <ac:chgData name="Scott Corio" userId="dbe1492c70b6d8a8" providerId="LiveId" clId="{26B6202C-1B72-4C9C-8F83-0CEA0EB888C8}" dt="2024-08-10T18:13:37.934" v="152" actId="700"/>
          <ac:spMkLst>
            <pc:docMk/>
            <pc:sldMk cId="3861892648" sldId="259"/>
            <ac:spMk id="13" creationId="{4391536D-F2DD-55D0-EAC6-4AC0E5AAAEF1}"/>
          </ac:spMkLst>
        </pc:spChg>
        <pc:spChg chg="add mod ord">
          <ac:chgData name="Scott Corio" userId="dbe1492c70b6d8a8" providerId="LiveId" clId="{26B6202C-1B72-4C9C-8F83-0CEA0EB888C8}" dt="2024-08-10T18:13:43.660" v="168" actId="20577"/>
          <ac:spMkLst>
            <pc:docMk/>
            <pc:sldMk cId="3861892648" sldId="259"/>
            <ac:spMk id="14" creationId="{9E3ECFE4-DB5E-A143-3915-5D831323D00F}"/>
          </ac:spMkLst>
        </pc:spChg>
        <pc:spChg chg="add mod ord">
          <ac:chgData name="Scott Corio" userId="dbe1492c70b6d8a8" providerId="LiveId" clId="{26B6202C-1B72-4C9C-8F83-0CEA0EB888C8}" dt="2024-08-10T18:14:55.647" v="446" actId="20577"/>
          <ac:spMkLst>
            <pc:docMk/>
            <pc:sldMk cId="3861892648" sldId="259"/>
            <ac:spMk id="15" creationId="{1044DE30-4A3B-6052-FC77-E80F8E7F370A}"/>
          </ac:spMkLst>
        </pc:spChg>
      </pc:sldChg>
      <pc:sldChg chg="delSp modSp del mod modClrScheme chgLayout">
        <pc:chgData name="Scott Corio" userId="dbe1492c70b6d8a8" providerId="LiveId" clId="{26B6202C-1B72-4C9C-8F83-0CEA0EB888C8}" dt="2024-08-10T18:34:57.415" v="986" actId="478"/>
        <pc:sldMkLst>
          <pc:docMk/>
          <pc:sldMk cId="2279942714" sldId="260"/>
        </pc:sldMkLst>
        <pc:spChg chg="mod ord">
          <ac:chgData name="Scott Corio" userId="dbe1492c70b6d8a8" providerId="LiveId" clId="{26B6202C-1B72-4C9C-8F83-0CEA0EB888C8}" dt="2024-08-10T18:34:53.298" v="983" actId="700"/>
          <ac:spMkLst>
            <pc:docMk/>
            <pc:sldMk cId="2279942714" sldId="260"/>
            <ac:spMk id="4" creationId="{2FD73D28-962F-8E43-5907-544A140D2750}"/>
          </ac:spMkLst>
        </pc:spChg>
        <pc:spChg chg="del mod ord">
          <ac:chgData name="Scott Corio" userId="dbe1492c70b6d8a8" providerId="LiveId" clId="{26B6202C-1B72-4C9C-8F83-0CEA0EB888C8}" dt="2024-08-10T18:34:57.415" v="986" actId="478"/>
          <ac:spMkLst>
            <pc:docMk/>
            <pc:sldMk cId="2279942714" sldId="260"/>
            <ac:spMk id="5" creationId="{3B30A130-0D00-7790-26E9-044787E6435F}"/>
          </ac:spMkLst>
        </pc:spChg>
      </pc:sldChg>
      <pc:sldChg chg="addSp delSp modSp del mod modTransition modClrScheme chgLayout">
        <pc:chgData name="Scott Corio" userId="dbe1492c70b6d8a8" providerId="LiveId" clId="{26B6202C-1B72-4C9C-8F83-0CEA0EB888C8}" dt="2024-08-10T18:16:34.969" v="453" actId="26606"/>
        <pc:sldMkLst>
          <pc:docMk/>
          <pc:sldMk cId="2692478915" sldId="261"/>
        </pc:sldMkLst>
        <pc:spChg chg="mod">
          <ac:chgData name="Scott Corio" userId="dbe1492c70b6d8a8" providerId="LiveId" clId="{26B6202C-1B72-4C9C-8F83-0CEA0EB888C8}" dt="2024-08-10T18:16:34.969" v="453" actId="26606"/>
          <ac:spMkLst>
            <pc:docMk/>
            <pc:sldMk cId="2692478915" sldId="261"/>
            <ac:spMk id="2" creationId="{8CB54686-E403-224A-570D-6AD1962FEB8C}"/>
          </ac:spMkLst>
        </pc:spChg>
        <pc:spChg chg="del">
          <ac:chgData name="Scott Corio" userId="dbe1492c70b6d8a8" providerId="LiveId" clId="{26B6202C-1B72-4C9C-8F83-0CEA0EB888C8}" dt="2024-08-10T18:16:34.969" v="453" actId="26606"/>
          <ac:spMkLst>
            <pc:docMk/>
            <pc:sldMk cId="2692478915" sldId="261"/>
            <ac:spMk id="3" creationId="{2E47C443-A519-CA6C-F515-F098DE1D8E32}"/>
          </ac:spMkLst>
        </pc:spChg>
        <pc:graphicFrameChg chg="add mod">
          <ac:chgData name="Scott Corio" userId="dbe1492c70b6d8a8" providerId="LiveId" clId="{26B6202C-1B72-4C9C-8F83-0CEA0EB888C8}" dt="2024-08-10T18:16:34.969" v="453" actId="26606"/>
          <ac:graphicFrameMkLst>
            <pc:docMk/>
            <pc:sldMk cId="2692478915" sldId="261"/>
            <ac:graphicFrameMk id="5" creationId="{975E854C-4654-8554-D25C-F08036FFB0AF}"/>
          </ac:graphicFrameMkLst>
        </pc:graphicFrameChg>
      </pc:sldChg>
      <pc:sldChg chg="modSp mod">
        <pc:chgData name="Scott Corio" userId="dbe1492c70b6d8a8" providerId="LiveId" clId="{26B6202C-1B72-4C9C-8F83-0CEA0EB888C8}" dt="2024-08-10T18:22:08.811" v="469" actId="27636"/>
        <pc:sldMkLst>
          <pc:docMk/>
          <pc:sldMk cId="3665382884" sldId="262"/>
        </pc:sldMkLst>
        <pc:spChg chg="mod">
          <ac:chgData name="Scott Corio" userId="dbe1492c70b6d8a8" providerId="LiveId" clId="{26B6202C-1B72-4C9C-8F83-0CEA0EB888C8}" dt="2024-08-10T18:22:08.811" v="469" actId="27636"/>
          <ac:spMkLst>
            <pc:docMk/>
            <pc:sldMk cId="3665382884" sldId="262"/>
            <ac:spMk id="5" creationId="{581B598A-CB65-7993-3FCF-42623BB7A3BE}"/>
          </ac:spMkLst>
        </pc:spChg>
      </pc:sldChg>
      <pc:sldChg chg="modSp del mod modTransition modClrScheme chgLayout">
        <pc:chgData name="Scott Corio" userId="dbe1492c70b6d8a8" providerId="LiveId" clId="{26B6202C-1B72-4C9C-8F83-0CEA0EB888C8}" dt="2024-08-10T18:16:47.006" v="454" actId="26606"/>
        <pc:sldMkLst>
          <pc:docMk/>
          <pc:sldMk cId="73398426" sldId="264"/>
        </pc:sldMkLst>
        <pc:spChg chg="mod">
          <ac:chgData name="Scott Corio" userId="dbe1492c70b6d8a8" providerId="LiveId" clId="{26B6202C-1B72-4C9C-8F83-0CEA0EB888C8}" dt="2024-08-10T18:16:47.006" v="454" actId="26606"/>
          <ac:spMkLst>
            <pc:docMk/>
            <pc:sldMk cId="73398426" sldId="264"/>
            <ac:spMk id="2" creationId="{CBEEDDE0-0731-7412-CC53-DFED3A87D47D}"/>
          </ac:spMkLst>
        </pc:spChg>
        <pc:graphicFrameChg chg="mod modGraphic">
          <ac:chgData name="Scott Corio" userId="dbe1492c70b6d8a8" providerId="LiveId" clId="{26B6202C-1B72-4C9C-8F83-0CEA0EB888C8}" dt="2024-08-10T18:16:47.006" v="454" actId="26606"/>
          <ac:graphicFrameMkLst>
            <pc:docMk/>
            <pc:sldMk cId="73398426" sldId="264"/>
            <ac:graphicFrameMk id="5" creationId="{C4490039-9136-000C-4326-D0778F987E09}"/>
          </ac:graphicFrameMkLst>
        </pc:graphicFrameChg>
      </pc:sldChg>
      <pc:sldChg chg="modSp mod">
        <pc:chgData name="Scott Corio" userId="dbe1492c70b6d8a8" providerId="LiveId" clId="{26B6202C-1B72-4C9C-8F83-0CEA0EB888C8}" dt="2024-08-10T18:40:28.817" v="1012" actId="1076"/>
        <pc:sldMkLst>
          <pc:docMk/>
          <pc:sldMk cId="1289419393" sldId="272"/>
        </pc:sldMkLst>
        <pc:spChg chg="mod">
          <ac:chgData name="Scott Corio" userId="dbe1492c70b6d8a8" providerId="LiveId" clId="{26B6202C-1B72-4C9C-8F83-0CEA0EB888C8}" dt="2024-08-10T18:40:28.817" v="1012" actId="1076"/>
          <ac:spMkLst>
            <pc:docMk/>
            <pc:sldMk cId="1289419393" sldId="272"/>
            <ac:spMk id="2" creationId="{00000000-0000-0000-0000-000000000000}"/>
          </ac:spMkLst>
        </pc:spChg>
      </pc:sldChg>
      <pc:sldChg chg="modSp mod">
        <pc:chgData name="Scott Corio" userId="dbe1492c70b6d8a8" providerId="LiveId" clId="{26B6202C-1B72-4C9C-8F83-0CEA0EB888C8}" dt="2024-08-10T18:40:12.390" v="1010" actId="207"/>
        <pc:sldMkLst>
          <pc:docMk/>
          <pc:sldMk cId="3559212941" sldId="559"/>
        </pc:sldMkLst>
        <pc:spChg chg="mod">
          <ac:chgData name="Scott Corio" userId="dbe1492c70b6d8a8" providerId="LiveId" clId="{26B6202C-1B72-4C9C-8F83-0CEA0EB888C8}" dt="2024-08-10T18:40:03.143" v="1008" actId="207"/>
          <ac:spMkLst>
            <pc:docMk/>
            <pc:sldMk cId="3559212941" sldId="559"/>
            <ac:spMk id="6" creationId="{E81FFCB2-98C3-404E-95CB-070EFCC2907E}"/>
          </ac:spMkLst>
        </pc:spChg>
        <pc:spChg chg="mod">
          <ac:chgData name="Scott Corio" userId="dbe1492c70b6d8a8" providerId="LiveId" clId="{26B6202C-1B72-4C9C-8F83-0CEA0EB888C8}" dt="2024-08-10T18:40:08.956" v="1009" actId="207"/>
          <ac:spMkLst>
            <pc:docMk/>
            <pc:sldMk cId="3559212941" sldId="559"/>
            <ac:spMk id="8" creationId="{242FF1D6-832A-4103-96F8-11CC169B7DA4}"/>
          </ac:spMkLst>
        </pc:spChg>
        <pc:spChg chg="mod">
          <ac:chgData name="Scott Corio" userId="dbe1492c70b6d8a8" providerId="LiveId" clId="{26B6202C-1B72-4C9C-8F83-0CEA0EB888C8}" dt="2024-08-10T18:40:12.390" v="1010" actId="207"/>
          <ac:spMkLst>
            <pc:docMk/>
            <pc:sldMk cId="3559212941" sldId="559"/>
            <ac:spMk id="9" creationId="{FF86AA7B-A70C-4665-84E8-0C2EBC49F00C}"/>
          </ac:spMkLst>
        </pc:spChg>
      </pc:sldChg>
      <pc:sldChg chg="modSp mod">
        <pc:chgData name="Scott Corio" userId="dbe1492c70b6d8a8" providerId="LiveId" clId="{26B6202C-1B72-4C9C-8F83-0CEA0EB888C8}" dt="2024-08-10T18:38:16.580" v="997" actId="255"/>
        <pc:sldMkLst>
          <pc:docMk/>
          <pc:sldMk cId="2844003012" sldId="743"/>
        </pc:sldMkLst>
        <pc:spChg chg="mod">
          <ac:chgData name="Scott Corio" userId="dbe1492c70b6d8a8" providerId="LiveId" clId="{26B6202C-1B72-4C9C-8F83-0CEA0EB888C8}" dt="2024-08-10T18:38:16.580" v="997" actId="255"/>
          <ac:spMkLst>
            <pc:docMk/>
            <pc:sldMk cId="2844003012" sldId="743"/>
            <ac:spMk id="3" creationId="{00000000-0000-0000-0000-000000000000}"/>
          </ac:spMkLst>
        </pc:spChg>
        <pc:spChg chg="mod">
          <ac:chgData name="Scott Corio" userId="dbe1492c70b6d8a8" providerId="LiveId" clId="{26B6202C-1B72-4C9C-8F83-0CEA0EB888C8}" dt="2024-08-10T18:37:13.299" v="992" actId="207"/>
          <ac:spMkLst>
            <pc:docMk/>
            <pc:sldMk cId="2844003012" sldId="743"/>
            <ac:spMk id="31" creationId="{00000000-0000-0000-0000-000000000000}"/>
          </ac:spMkLst>
        </pc:spChg>
        <pc:spChg chg="mod">
          <ac:chgData name="Scott Corio" userId="dbe1492c70b6d8a8" providerId="LiveId" clId="{26B6202C-1B72-4C9C-8F83-0CEA0EB888C8}" dt="2024-08-10T18:37:13.299" v="992" actId="207"/>
          <ac:spMkLst>
            <pc:docMk/>
            <pc:sldMk cId="2844003012" sldId="743"/>
            <ac:spMk id="39" creationId="{00000000-0000-0000-0000-000000000000}"/>
          </ac:spMkLst>
        </pc:spChg>
        <pc:spChg chg="mod">
          <ac:chgData name="Scott Corio" userId="dbe1492c70b6d8a8" providerId="LiveId" clId="{26B6202C-1B72-4C9C-8F83-0CEA0EB888C8}" dt="2024-08-10T18:37:13.299" v="992" actId="207"/>
          <ac:spMkLst>
            <pc:docMk/>
            <pc:sldMk cId="2844003012" sldId="743"/>
            <ac:spMk id="41" creationId="{00000000-0000-0000-0000-000000000000}"/>
          </ac:spMkLst>
        </pc:spChg>
        <pc:spChg chg="mod">
          <ac:chgData name="Scott Corio" userId="dbe1492c70b6d8a8" providerId="LiveId" clId="{26B6202C-1B72-4C9C-8F83-0CEA0EB888C8}" dt="2024-08-10T18:37:20.814" v="993" actId="207"/>
          <ac:spMkLst>
            <pc:docMk/>
            <pc:sldMk cId="2844003012" sldId="743"/>
            <ac:spMk id="42" creationId="{00000000-0000-0000-0000-000000000000}"/>
          </ac:spMkLst>
        </pc:spChg>
        <pc:spChg chg="mod">
          <ac:chgData name="Scott Corio" userId="dbe1492c70b6d8a8" providerId="LiveId" clId="{26B6202C-1B72-4C9C-8F83-0CEA0EB888C8}" dt="2024-08-10T18:37:20.814" v="993" actId="207"/>
          <ac:spMkLst>
            <pc:docMk/>
            <pc:sldMk cId="2844003012" sldId="743"/>
            <ac:spMk id="44" creationId="{00000000-0000-0000-0000-000000000000}"/>
          </ac:spMkLst>
        </pc:spChg>
        <pc:spChg chg="mod">
          <ac:chgData name="Scott Corio" userId="dbe1492c70b6d8a8" providerId="LiveId" clId="{26B6202C-1B72-4C9C-8F83-0CEA0EB888C8}" dt="2024-08-10T18:37:13.299" v="992" actId="207"/>
          <ac:spMkLst>
            <pc:docMk/>
            <pc:sldMk cId="2844003012" sldId="743"/>
            <ac:spMk id="61" creationId="{00000000-0000-0000-0000-000000000000}"/>
          </ac:spMkLst>
        </pc:spChg>
        <pc:spChg chg="mod">
          <ac:chgData name="Scott Corio" userId="dbe1492c70b6d8a8" providerId="LiveId" clId="{26B6202C-1B72-4C9C-8F83-0CEA0EB888C8}" dt="2024-08-10T18:37:20.814" v="993" actId="207"/>
          <ac:spMkLst>
            <pc:docMk/>
            <pc:sldMk cId="2844003012" sldId="743"/>
            <ac:spMk id="62" creationId="{00000000-0000-0000-0000-000000000000}"/>
          </ac:spMkLst>
        </pc:spChg>
      </pc:sldChg>
      <pc:sldChg chg="modSp del mod">
        <pc:chgData name="Scott Corio" userId="dbe1492c70b6d8a8" providerId="LiveId" clId="{26B6202C-1B72-4C9C-8F83-0CEA0EB888C8}" dt="2024-08-10T18:27:57.118" v="909" actId="11530"/>
        <pc:sldMkLst>
          <pc:docMk/>
          <pc:sldMk cId="1548325381" sldId="1547"/>
        </pc:sldMkLst>
        <pc:spChg chg="mod">
          <ac:chgData name="Scott Corio" userId="dbe1492c70b6d8a8" providerId="LiveId" clId="{26B6202C-1B72-4C9C-8F83-0CEA0EB888C8}" dt="2024-08-10T18:27:49.789" v="908" actId="11530"/>
          <ac:spMkLst>
            <pc:docMk/>
            <pc:sldMk cId="1548325381" sldId="1547"/>
            <ac:spMk id="7" creationId="{0E0311A4-812E-4FE6-B347-B08D6C647F5F}"/>
          </ac:spMkLst>
        </pc:spChg>
        <pc:spChg chg="mod">
          <ac:chgData name="Scott Corio" userId="dbe1492c70b6d8a8" providerId="LiveId" clId="{26B6202C-1B72-4C9C-8F83-0CEA0EB888C8}" dt="2024-08-10T18:27:57.118" v="909" actId="11530"/>
          <ac:spMkLst>
            <pc:docMk/>
            <pc:sldMk cId="1548325381" sldId="1547"/>
            <ac:spMk id="17" creationId="{A7DE70AE-2D11-4162-946F-811468309BE2}"/>
          </ac:spMkLst>
        </pc:spChg>
        <pc:spChg chg="mod">
          <ac:chgData name="Scott Corio" userId="dbe1492c70b6d8a8" providerId="LiveId" clId="{26B6202C-1B72-4C9C-8F83-0CEA0EB888C8}" dt="2024-08-10T18:27:57.118" v="909" actId="11530"/>
          <ac:spMkLst>
            <pc:docMk/>
            <pc:sldMk cId="1548325381" sldId="1547"/>
            <ac:spMk id="19" creationId="{2B91849D-D96F-4C70-8965-7A7D9A91FA5B}"/>
          </ac:spMkLst>
        </pc:spChg>
        <pc:spChg chg="mod">
          <ac:chgData name="Scott Corio" userId="dbe1492c70b6d8a8" providerId="LiveId" clId="{26B6202C-1B72-4C9C-8F83-0CEA0EB888C8}" dt="2024-08-10T18:27:57.118" v="909" actId="11530"/>
          <ac:spMkLst>
            <pc:docMk/>
            <pc:sldMk cId="1548325381" sldId="1547"/>
            <ac:spMk id="21" creationId="{26D8FCA9-F742-41C5-B9CC-D76A66A0970E}"/>
          </ac:spMkLst>
        </pc:spChg>
        <pc:spChg chg="mod">
          <ac:chgData name="Scott Corio" userId="dbe1492c70b6d8a8" providerId="LiveId" clId="{26B6202C-1B72-4C9C-8F83-0CEA0EB888C8}" dt="2024-08-10T18:27:57.118" v="909" actId="11530"/>
          <ac:spMkLst>
            <pc:docMk/>
            <pc:sldMk cId="1548325381" sldId="1547"/>
            <ac:spMk id="23" creationId="{1139CE5B-3576-4681-85EC-8B2CB5619B57}"/>
          </ac:spMkLst>
        </pc:spChg>
      </pc:sldChg>
      <pc:sldChg chg="modSp mod">
        <pc:chgData name="Scott Corio" userId="dbe1492c70b6d8a8" providerId="LiveId" clId="{26B6202C-1B72-4C9C-8F83-0CEA0EB888C8}" dt="2024-08-10T18:30:06.973" v="920" actId="207"/>
        <pc:sldMkLst>
          <pc:docMk/>
          <pc:sldMk cId="2690410705" sldId="1848"/>
        </pc:sldMkLst>
        <pc:spChg chg="mod">
          <ac:chgData name="Scott Corio" userId="dbe1492c70b6d8a8" providerId="LiveId" clId="{26B6202C-1B72-4C9C-8F83-0CEA0EB888C8}" dt="2024-08-10T18:29:51.319" v="919" actId="692"/>
          <ac:spMkLst>
            <pc:docMk/>
            <pc:sldMk cId="2690410705" sldId="1848"/>
            <ac:spMk id="2" creationId="{BF8F6E0F-F90A-00D7-8C04-8AD986409CAA}"/>
          </ac:spMkLst>
        </pc:spChg>
        <pc:spChg chg="mod">
          <ac:chgData name="Scott Corio" userId="dbe1492c70b6d8a8" providerId="LiveId" clId="{26B6202C-1B72-4C9C-8F83-0CEA0EB888C8}" dt="2024-08-10T18:28:54.274" v="912" actId="207"/>
          <ac:spMkLst>
            <pc:docMk/>
            <pc:sldMk cId="2690410705" sldId="1848"/>
            <ac:spMk id="7" creationId="{823238FC-31CF-F76A-9022-FDC3E3A85718}"/>
          </ac:spMkLst>
        </pc:spChg>
        <pc:spChg chg="mod">
          <ac:chgData name="Scott Corio" userId="dbe1492c70b6d8a8" providerId="LiveId" clId="{26B6202C-1B72-4C9C-8F83-0CEA0EB888C8}" dt="2024-08-10T18:28:54.274" v="912" actId="207"/>
          <ac:spMkLst>
            <pc:docMk/>
            <pc:sldMk cId="2690410705" sldId="1848"/>
            <ac:spMk id="8" creationId="{BCCBDF4A-5458-4437-A6A2-CA29259A7E64}"/>
          </ac:spMkLst>
        </pc:spChg>
        <pc:spChg chg="mod">
          <ac:chgData name="Scott Corio" userId="dbe1492c70b6d8a8" providerId="LiveId" clId="{26B6202C-1B72-4C9C-8F83-0CEA0EB888C8}" dt="2024-08-10T18:28:54.274" v="912" actId="207"/>
          <ac:spMkLst>
            <pc:docMk/>
            <pc:sldMk cId="2690410705" sldId="1848"/>
            <ac:spMk id="10" creationId="{D984CDFB-1F4B-4689-B523-F173350376E1}"/>
          </ac:spMkLst>
        </pc:spChg>
        <pc:spChg chg="mod">
          <ac:chgData name="Scott Corio" userId="dbe1492c70b6d8a8" providerId="LiveId" clId="{26B6202C-1B72-4C9C-8F83-0CEA0EB888C8}" dt="2024-08-10T18:28:54.274" v="912" actId="207"/>
          <ac:spMkLst>
            <pc:docMk/>
            <pc:sldMk cId="2690410705" sldId="1848"/>
            <ac:spMk id="11" creationId="{9A9C3065-5B86-4E5C-8E34-A9D08BE27E3A}"/>
          </ac:spMkLst>
        </pc:spChg>
        <pc:spChg chg="mod">
          <ac:chgData name="Scott Corio" userId="dbe1492c70b6d8a8" providerId="LiveId" clId="{26B6202C-1B72-4C9C-8F83-0CEA0EB888C8}" dt="2024-08-10T18:30:06.973" v="920" actId="207"/>
          <ac:spMkLst>
            <pc:docMk/>
            <pc:sldMk cId="2690410705" sldId="1848"/>
            <ac:spMk id="12" creationId="{F22B29C1-7D7B-42A6-B762-2E8107244757}"/>
          </ac:spMkLst>
        </pc:spChg>
        <pc:spChg chg="mod">
          <ac:chgData name="Scott Corio" userId="dbe1492c70b6d8a8" providerId="LiveId" clId="{26B6202C-1B72-4C9C-8F83-0CEA0EB888C8}" dt="2024-08-10T18:28:54.274" v="912" actId="207"/>
          <ac:spMkLst>
            <pc:docMk/>
            <pc:sldMk cId="2690410705" sldId="1848"/>
            <ac:spMk id="13" creationId="{05B2F70A-98AB-45C6-A791-5D2D71A4FDD2}"/>
          </ac:spMkLst>
        </pc:spChg>
        <pc:spChg chg="mod">
          <ac:chgData name="Scott Corio" userId="dbe1492c70b6d8a8" providerId="LiveId" clId="{26B6202C-1B72-4C9C-8F83-0CEA0EB888C8}" dt="2024-08-10T18:30:06.973" v="920" actId="207"/>
          <ac:spMkLst>
            <pc:docMk/>
            <pc:sldMk cId="2690410705" sldId="1848"/>
            <ac:spMk id="14" creationId="{1626014B-1506-4F40-AB9E-73320E6489F9}"/>
          </ac:spMkLst>
        </pc:spChg>
        <pc:spChg chg="mod">
          <ac:chgData name="Scott Corio" userId="dbe1492c70b6d8a8" providerId="LiveId" clId="{26B6202C-1B72-4C9C-8F83-0CEA0EB888C8}" dt="2024-08-10T18:28:54.274" v="912" actId="207"/>
          <ac:spMkLst>
            <pc:docMk/>
            <pc:sldMk cId="2690410705" sldId="1848"/>
            <ac:spMk id="15" creationId="{65C0D492-C1FD-5F81-1E3D-857C88BA9F91}"/>
          </ac:spMkLst>
        </pc:spChg>
        <pc:spChg chg="mod">
          <ac:chgData name="Scott Corio" userId="dbe1492c70b6d8a8" providerId="LiveId" clId="{26B6202C-1B72-4C9C-8F83-0CEA0EB888C8}" dt="2024-08-10T18:28:54.274" v="912" actId="207"/>
          <ac:spMkLst>
            <pc:docMk/>
            <pc:sldMk cId="2690410705" sldId="1848"/>
            <ac:spMk id="29" creationId="{A0F6501E-15AB-9086-44A9-AF78479C30B0}"/>
          </ac:spMkLst>
        </pc:spChg>
        <pc:spChg chg="mod">
          <ac:chgData name="Scott Corio" userId="dbe1492c70b6d8a8" providerId="LiveId" clId="{26B6202C-1B72-4C9C-8F83-0CEA0EB888C8}" dt="2024-08-10T18:28:54.274" v="912" actId="207"/>
          <ac:spMkLst>
            <pc:docMk/>
            <pc:sldMk cId="2690410705" sldId="1848"/>
            <ac:spMk id="31" creationId="{B3901AA0-CD27-45C2-8E19-DE76D5636398}"/>
          </ac:spMkLst>
        </pc:spChg>
        <pc:spChg chg="mod">
          <ac:chgData name="Scott Corio" userId="dbe1492c70b6d8a8" providerId="LiveId" clId="{26B6202C-1B72-4C9C-8F83-0CEA0EB888C8}" dt="2024-08-10T18:28:54.274" v="912" actId="207"/>
          <ac:spMkLst>
            <pc:docMk/>
            <pc:sldMk cId="2690410705" sldId="1848"/>
            <ac:spMk id="32" creationId="{A4A1F239-66D3-431C-9F78-E94BC335584D}"/>
          </ac:spMkLst>
        </pc:spChg>
        <pc:spChg chg="mod">
          <ac:chgData name="Scott Corio" userId="dbe1492c70b6d8a8" providerId="LiveId" clId="{26B6202C-1B72-4C9C-8F83-0CEA0EB888C8}" dt="2024-08-10T18:28:54.274" v="912" actId="207"/>
          <ac:spMkLst>
            <pc:docMk/>
            <pc:sldMk cId="2690410705" sldId="1848"/>
            <ac:spMk id="47" creationId="{0D2B432E-6E06-40A0-ACC8-10500D901A2C}"/>
          </ac:spMkLst>
        </pc:spChg>
        <pc:spChg chg="mod">
          <ac:chgData name="Scott Corio" userId="dbe1492c70b6d8a8" providerId="LiveId" clId="{26B6202C-1B72-4C9C-8F83-0CEA0EB888C8}" dt="2024-08-10T18:28:54.274" v="912" actId="207"/>
          <ac:spMkLst>
            <pc:docMk/>
            <pc:sldMk cId="2690410705" sldId="1848"/>
            <ac:spMk id="52" creationId="{808AFC7A-7CAE-40FF-B178-77FEC263641E}"/>
          </ac:spMkLst>
        </pc:spChg>
        <pc:spChg chg="mod">
          <ac:chgData name="Scott Corio" userId="dbe1492c70b6d8a8" providerId="LiveId" clId="{26B6202C-1B72-4C9C-8F83-0CEA0EB888C8}" dt="2024-08-10T18:28:54.274" v="912" actId="207"/>
          <ac:spMkLst>
            <pc:docMk/>
            <pc:sldMk cId="2690410705" sldId="1848"/>
            <ac:spMk id="54" creationId="{B89E27DB-B402-47C8-912C-EC633E8A0F53}"/>
          </ac:spMkLst>
        </pc:spChg>
        <pc:spChg chg="mod">
          <ac:chgData name="Scott Corio" userId="dbe1492c70b6d8a8" providerId="LiveId" clId="{26B6202C-1B72-4C9C-8F83-0CEA0EB888C8}" dt="2024-08-10T18:28:54.274" v="912" actId="207"/>
          <ac:spMkLst>
            <pc:docMk/>
            <pc:sldMk cId="2690410705" sldId="1848"/>
            <ac:spMk id="56" creationId="{5981B0D5-7C87-47FF-A730-47B11CEB1EEE}"/>
          </ac:spMkLst>
        </pc:spChg>
        <pc:spChg chg="mod">
          <ac:chgData name="Scott Corio" userId="dbe1492c70b6d8a8" providerId="LiveId" clId="{26B6202C-1B72-4C9C-8F83-0CEA0EB888C8}" dt="2024-08-10T18:28:54.274" v="912" actId="207"/>
          <ac:spMkLst>
            <pc:docMk/>
            <pc:sldMk cId="2690410705" sldId="1848"/>
            <ac:spMk id="57" creationId="{20E1EFB6-862D-43D9-8036-0EEA2291A85C}"/>
          </ac:spMkLst>
        </pc:spChg>
        <pc:spChg chg="mod">
          <ac:chgData name="Scott Corio" userId="dbe1492c70b6d8a8" providerId="LiveId" clId="{26B6202C-1B72-4C9C-8F83-0CEA0EB888C8}" dt="2024-08-10T18:28:54.274" v="912" actId="207"/>
          <ac:spMkLst>
            <pc:docMk/>
            <pc:sldMk cId="2690410705" sldId="1848"/>
            <ac:spMk id="58" creationId="{8B344C3E-33D4-4801-8C5C-C69342836FAF}"/>
          </ac:spMkLst>
        </pc:spChg>
        <pc:spChg chg="mod">
          <ac:chgData name="Scott Corio" userId="dbe1492c70b6d8a8" providerId="LiveId" clId="{26B6202C-1B72-4C9C-8F83-0CEA0EB888C8}" dt="2024-08-10T18:30:06.973" v="920" actId="207"/>
          <ac:spMkLst>
            <pc:docMk/>
            <pc:sldMk cId="2690410705" sldId="1848"/>
            <ac:spMk id="59" creationId="{674ABB39-B72C-495F-A3B1-84F7DC0B4A23}"/>
          </ac:spMkLst>
        </pc:spChg>
        <pc:spChg chg="mod">
          <ac:chgData name="Scott Corio" userId="dbe1492c70b6d8a8" providerId="LiveId" clId="{26B6202C-1B72-4C9C-8F83-0CEA0EB888C8}" dt="2024-08-10T18:28:54.274" v="912" actId="207"/>
          <ac:spMkLst>
            <pc:docMk/>
            <pc:sldMk cId="2690410705" sldId="1848"/>
            <ac:spMk id="66" creationId="{75FC7D3E-7986-4DAA-8DEC-C0C0411956C1}"/>
          </ac:spMkLst>
        </pc:spChg>
        <pc:spChg chg="mod">
          <ac:chgData name="Scott Corio" userId="dbe1492c70b6d8a8" providerId="LiveId" clId="{26B6202C-1B72-4C9C-8F83-0CEA0EB888C8}" dt="2024-08-10T18:28:54.274" v="912" actId="207"/>
          <ac:spMkLst>
            <pc:docMk/>
            <pc:sldMk cId="2690410705" sldId="1848"/>
            <ac:spMk id="67" creationId="{DB3FB828-CAD7-4C39-A926-509E0729CA2F}"/>
          </ac:spMkLst>
        </pc:spChg>
        <pc:spChg chg="mod">
          <ac:chgData name="Scott Corio" userId="dbe1492c70b6d8a8" providerId="LiveId" clId="{26B6202C-1B72-4C9C-8F83-0CEA0EB888C8}" dt="2024-08-10T18:28:54.274" v="912" actId="207"/>
          <ac:spMkLst>
            <pc:docMk/>
            <pc:sldMk cId="2690410705" sldId="1848"/>
            <ac:spMk id="69" creationId="{3DF13097-8A7D-4907-8A6D-CFFE86B13D9B}"/>
          </ac:spMkLst>
        </pc:spChg>
        <pc:spChg chg="mod">
          <ac:chgData name="Scott Corio" userId="dbe1492c70b6d8a8" providerId="LiveId" clId="{26B6202C-1B72-4C9C-8F83-0CEA0EB888C8}" dt="2024-08-10T18:29:21.378" v="914" actId="692"/>
          <ac:spMkLst>
            <pc:docMk/>
            <pc:sldMk cId="2690410705" sldId="1848"/>
            <ac:spMk id="71" creationId="{6547449E-60F9-4D63-BE8A-552C94A0C71F}"/>
          </ac:spMkLst>
        </pc:spChg>
        <pc:spChg chg="mod">
          <ac:chgData name="Scott Corio" userId="dbe1492c70b6d8a8" providerId="LiveId" clId="{26B6202C-1B72-4C9C-8F83-0CEA0EB888C8}" dt="2024-08-10T18:29:01.873" v="913" actId="692"/>
          <ac:spMkLst>
            <pc:docMk/>
            <pc:sldMk cId="2690410705" sldId="1848"/>
            <ac:spMk id="72" creationId="{2E656DE6-67AD-45F5-86FD-60969EB5264F}"/>
          </ac:spMkLst>
        </pc:spChg>
        <pc:spChg chg="mod">
          <ac:chgData name="Scott Corio" userId="dbe1492c70b6d8a8" providerId="LiveId" clId="{26B6202C-1B72-4C9C-8F83-0CEA0EB888C8}" dt="2024-08-10T18:28:54.274" v="912" actId="207"/>
          <ac:spMkLst>
            <pc:docMk/>
            <pc:sldMk cId="2690410705" sldId="1848"/>
            <ac:spMk id="83" creationId="{FC9A53B8-1806-472B-9643-3B3BD165E061}"/>
          </ac:spMkLst>
        </pc:spChg>
        <pc:spChg chg="mod">
          <ac:chgData name="Scott Corio" userId="dbe1492c70b6d8a8" providerId="LiveId" clId="{26B6202C-1B72-4C9C-8F83-0CEA0EB888C8}" dt="2024-08-10T18:28:54.274" v="912" actId="207"/>
          <ac:spMkLst>
            <pc:docMk/>
            <pc:sldMk cId="2690410705" sldId="1848"/>
            <ac:spMk id="86" creationId="{09273B26-E20E-49F0-863D-AE720109BAFE}"/>
          </ac:spMkLst>
        </pc:spChg>
        <pc:spChg chg="mod">
          <ac:chgData name="Scott Corio" userId="dbe1492c70b6d8a8" providerId="LiveId" clId="{26B6202C-1B72-4C9C-8F83-0CEA0EB888C8}" dt="2024-08-10T18:28:54.274" v="912" actId="207"/>
          <ac:spMkLst>
            <pc:docMk/>
            <pc:sldMk cId="2690410705" sldId="1848"/>
            <ac:spMk id="87" creationId="{80A8D0E4-2B8E-47C3-B1C5-F5B2721049FC}"/>
          </ac:spMkLst>
        </pc:spChg>
        <pc:spChg chg="mod">
          <ac:chgData name="Scott Corio" userId="dbe1492c70b6d8a8" providerId="LiveId" clId="{26B6202C-1B72-4C9C-8F83-0CEA0EB888C8}" dt="2024-08-10T18:28:54.274" v="912" actId="207"/>
          <ac:spMkLst>
            <pc:docMk/>
            <pc:sldMk cId="2690410705" sldId="1848"/>
            <ac:spMk id="88" creationId="{55DE9E23-EA41-4A24-BDA7-D864063F1E35}"/>
          </ac:spMkLst>
        </pc:spChg>
        <pc:spChg chg="mod">
          <ac:chgData name="Scott Corio" userId="dbe1492c70b6d8a8" providerId="LiveId" clId="{26B6202C-1B72-4C9C-8F83-0CEA0EB888C8}" dt="2024-08-10T18:30:06.973" v="920" actId="207"/>
          <ac:spMkLst>
            <pc:docMk/>
            <pc:sldMk cId="2690410705" sldId="1848"/>
            <ac:spMk id="90" creationId="{77FBBF06-FB76-4B05-BAC6-D71F36145F13}"/>
          </ac:spMkLst>
        </pc:spChg>
        <pc:grpChg chg="mod">
          <ac:chgData name="Scott Corio" userId="dbe1492c70b6d8a8" providerId="LiveId" clId="{26B6202C-1B72-4C9C-8F83-0CEA0EB888C8}" dt="2024-08-10T18:28:54.274" v="912" actId="207"/>
          <ac:grpSpMkLst>
            <pc:docMk/>
            <pc:sldMk cId="2690410705" sldId="1848"/>
            <ac:grpSpMk id="17" creationId="{BFC41A13-2B66-2C86-A9A8-9479171C2AE4}"/>
          </ac:grpSpMkLst>
        </pc:grpChg>
        <pc:grpChg chg="mod">
          <ac:chgData name="Scott Corio" userId="dbe1492c70b6d8a8" providerId="LiveId" clId="{26B6202C-1B72-4C9C-8F83-0CEA0EB888C8}" dt="2024-08-10T18:28:54.274" v="912" actId="207"/>
          <ac:grpSpMkLst>
            <pc:docMk/>
            <pc:sldMk cId="2690410705" sldId="1848"/>
            <ac:grpSpMk id="43" creationId="{86E78866-9F11-4C88-8C35-EE7C84B5EB6D}"/>
          </ac:grpSpMkLst>
        </pc:grpChg>
        <pc:grpChg chg="mod">
          <ac:chgData name="Scott Corio" userId="dbe1492c70b6d8a8" providerId="LiveId" clId="{26B6202C-1B72-4C9C-8F83-0CEA0EB888C8}" dt="2024-08-10T18:28:54.274" v="912" actId="207"/>
          <ac:grpSpMkLst>
            <pc:docMk/>
            <pc:sldMk cId="2690410705" sldId="1848"/>
            <ac:grpSpMk id="45" creationId="{C11FE4BD-1405-4AD9-86B6-862F0BE066DB}"/>
          </ac:grpSpMkLst>
        </pc:grpChg>
        <pc:grpChg chg="mod">
          <ac:chgData name="Scott Corio" userId="dbe1492c70b6d8a8" providerId="LiveId" clId="{26B6202C-1B72-4C9C-8F83-0CEA0EB888C8}" dt="2024-08-10T18:28:54.274" v="912" actId="207"/>
          <ac:grpSpMkLst>
            <pc:docMk/>
            <pc:sldMk cId="2690410705" sldId="1848"/>
            <ac:grpSpMk id="48" creationId="{9B193814-F2ED-4773-B509-C64F68304963}"/>
          </ac:grpSpMkLst>
        </pc:grpChg>
        <pc:grpChg chg="mod">
          <ac:chgData name="Scott Corio" userId="dbe1492c70b6d8a8" providerId="LiveId" clId="{26B6202C-1B72-4C9C-8F83-0CEA0EB888C8}" dt="2024-08-10T18:28:54.274" v="912" actId="207"/>
          <ac:grpSpMkLst>
            <pc:docMk/>
            <pc:sldMk cId="2690410705" sldId="1848"/>
            <ac:grpSpMk id="53" creationId="{BE8B7D97-64ED-492E-9D04-EEB20C4A642B}"/>
          </ac:grpSpMkLst>
        </pc:grpChg>
        <pc:picChg chg="mod">
          <ac:chgData name="Scott Corio" userId="dbe1492c70b6d8a8" providerId="LiveId" clId="{26B6202C-1B72-4C9C-8F83-0CEA0EB888C8}" dt="2024-08-10T18:28:54.274" v="912" actId="207"/>
          <ac:picMkLst>
            <pc:docMk/>
            <pc:sldMk cId="2690410705" sldId="1848"/>
            <ac:picMk id="6" creationId="{5719CC15-35A5-8990-BDE1-CA9B3BC72506}"/>
          </ac:picMkLst>
        </pc:picChg>
        <pc:picChg chg="mod">
          <ac:chgData name="Scott Corio" userId="dbe1492c70b6d8a8" providerId="LiveId" clId="{26B6202C-1B72-4C9C-8F83-0CEA0EB888C8}" dt="2024-08-10T18:28:54.274" v="912" actId="207"/>
          <ac:picMkLst>
            <pc:docMk/>
            <pc:sldMk cId="2690410705" sldId="1848"/>
            <ac:picMk id="70" creationId="{2BB850BE-DE95-4061-9EEF-D1403F388C30}"/>
          </ac:picMkLst>
        </pc:picChg>
      </pc:sldChg>
      <pc:sldChg chg="add">
        <pc:chgData name="Scott Corio" userId="dbe1492c70b6d8a8" providerId="LiveId" clId="{26B6202C-1B72-4C9C-8F83-0CEA0EB888C8}" dt="2024-08-10T18:44:45.879" v="1353"/>
        <pc:sldMkLst>
          <pc:docMk/>
          <pc:sldMk cId="1873872537" sldId="1879"/>
        </pc:sldMkLst>
      </pc:sldChg>
      <pc:sldChg chg="addSp delSp modSp mod modClrScheme chgLayout">
        <pc:chgData name="Scott Corio" userId="dbe1492c70b6d8a8" providerId="LiveId" clId="{26B6202C-1B72-4C9C-8F83-0CEA0EB888C8}" dt="2024-08-10T18:36:51.375" v="991" actId="1076"/>
        <pc:sldMkLst>
          <pc:docMk/>
          <pc:sldMk cId="109247074" sldId="4422"/>
        </pc:sldMkLst>
        <pc:spChg chg="mod ord">
          <ac:chgData name="Scott Corio" userId="dbe1492c70b6d8a8" providerId="LiveId" clId="{26B6202C-1B72-4C9C-8F83-0CEA0EB888C8}" dt="2024-08-10T18:36:25.133" v="988" actId="2711"/>
          <ac:spMkLst>
            <pc:docMk/>
            <pc:sldMk cId="109247074" sldId="4422"/>
            <ac:spMk id="2" creationId="{3B424EC2-D06B-404A-95B3-C54F1D0B2BEC}"/>
          </ac:spMkLst>
        </pc:spChg>
        <pc:spChg chg="add del mod ord">
          <ac:chgData name="Scott Corio" userId="dbe1492c70b6d8a8" providerId="LiveId" clId="{26B6202C-1B72-4C9C-8F83-0CEA0EB888C8}" dt="2024-08-10T18:36:42.718" v="990" actId="478"/>
          <ac:spMkLst>
            <pc:docMk/>
            <pc:sldMk cId="109247074" sldId="4422"/>
            <ac:spMk id="4" creationId="{77C36CE6-6A93-CF2F-B2BD-1227DC0A2713}"/>
          </ac:spMkLst>
        </pc:spChg>
        <pc:grpChg chg="del">
          <ac:chgData name="Scott Corio" userId="dbe1492c70b6d8a8" providerId="LiveId" clId="{26B6202C-1B72-4C9C-8F83-0CEA0EB888C8}" dt="2024-08-10T18:36:36.639" v="989" actId="478"/>
          <ac:grpSpMkLst>
            <pc:docMk/>
            <pc:sldMk cId="109247074" sldId="4422"/>
            <ac:grpSpMk id="5" creationId="{359FE2CD-C43B-4B32-B131-1068D0CE3BB7}"/>
          </ac:grpSpMkLst>
        </pc:grpChg>
        <pc:picChg chg="mod">
          <ac:chgData name="Scott Corio" userId="dbe1492c70b6d8a8" providerId="LiveId" clId="{26B6202C-1B72-4C9C-8F83-0CEA0EB888C8}" dt="2024-08-10T18:36:51.375" v="991" actId="1076"/>
          <ac:picMkLst>
            <pc:docMk/>
            <pc:sldMk cId="109247074" sldId="4422"/>
            <ac:picMk id="8196" creationId="{3FB88BB7-815B-4F99-9448-6F79152CDCCC}"/>
          </ac:picMkLst>
        </pc:picChg>
      </pc:sldChg>
      <pc:sldChg chg="modSp mod">
        <pc:chgData name="Scott Corio" userId="dbe1492c70b6d8a8" providerId="LiveId" clId="{26B6202C-1B72-4C9C-8F83-0CEA0EB888C8}" dt="2024-08-10T18:39:13.592" v="1000" actId="2711"/>
        <pc:sldMkLst>
          <pc:docMk/>
          <pc:sldMk cId="3696622689" sldId="4436"/>
        </pc:sldMkLst>
        <pc:spChg chg="mod">
          <ac:chgData name="Scott Corio" userId="dbe1492c70b6d8a8" providerId="LiveId" clId="{26B6202C-1B72-4C9C-8F83-0CEA0EB888C8}" dt="2024-08-10T18:39:13.592" v="1000" actId="2711"/>
          <ac:spMkLst>
            <pc:docMk/>
            <pc:sldMk cId="3696622689" sldId="4436"/>
            <ac:spMk id="2" creationId="{3B424EC2-D06B-404A-95B3-C54F1D0B2BEC}"/>
          </ac:spMkLst>
        </pc:spChg>
        <pc:spChg chg="mod">
          <ac:chgData name="Scott Corio" userId="dbe1492c70b6d8a8" providerId="LiveId" clId="{26B6202C-1B72-4C9C-8F83-0CEA0EB888C8}" dt="2024-08-10T18:39:03.298" v="999" actId="207"/>
          <ac:spMkLst>
            <pc:docMk/>
            <pc:sldMk cId="3696622689" sldId="4436"/>
            <ac:spMk id="3" creationId="{7F0FD0B9-C6E0-4034-BBD0-5D48022CBFE9}"/>
          </ac:spMkLst>
        </pc:spChg>
      </pc:sldChg>
      <pc:sldChg chg="modSp mod">
        <pc:chgData name="Scott Corio" userId="dbe1492c70b6d8a8" providerId="LiveId" clId="{26B6202C-1B72-4C9C-8F83-0CEA0EB888C8}" dt="2024-08-10T18:38:24.645" v="998" actId="2711"/>
        <pc:sldMkLst>
          <pc:docMk/>
          <pc:sldMk cId="4057743388" sldId="4439"/>
        </pc:sldMkLst>
        <pc:spChg chg="mod">
          <ac:chgData name="Scott Corio" userId="dbe1492c70b6d8a8" providerId="LiveId" clId="{26B6202C-1B72-4C9C-8F83-0CEA0EB888C8}" dt="2024-08-10T18:38:24.645" v="998" actId="2711"/>
          <ac:spMkLst>
            <pc:docMk/>
            <pc:sldMk cId="4057743388" sldId="4439"/>
            <ac:spMk id="2" creationId="{3B424EC2-D06B-404A-95B3-C54F1D0B2BEC}"/>
          </ac:spMkLst>
        </pc:spChg>
        <pc:spChg chg="mod">
          <ac:chgData name="Scott Corio" userId="dbe1492c70b6d8a8" providerId="LiveId" clId="{26B6202C-1B72-4C9C-8F83-0CEA0EB888C8}" dt="2024-08-10T18:37:55.580" v="995" actId="207"/>
          <ac:spMkLst>
            <pc:docMk/>
            <pc:sldMk cId="4057743388" sldId="4439"/>
            <ac:spMk id="3" creationId="{7F0FD0B9-C6E0-4034-BBD0-5D48022CBFE9}"/>
          </ac:spMkLst>
        </pc:spChg>
      </pc:sldChg>
      <pc:sldChg chg="modSp mod">
        <pc:chgData name="Scott Corio" userId="dbe1492c70b6d8a8" providerId="LiveId" clId="{26B6202C-1B72-4C9C-8F83-0CEA0EB888C8}" dt="2024-08-10T18:39:42.854" v="1004" actId="2711"/>
        <pc:sldMkLst>
          <pc:docMk/>
          <pc:sldMk cId="2622541658" sldId="4449"/>
        </pc:sldMkLst>
        <pc:spChg chg="mod">
          <ac:chgData name="Scott Corio" userId="dbe1492c70b6d8a8" providerId="LiveId" clId="{26B6202C-1B72-4C9C-8F83-0CEA0EB888C8}" dt="2024-08-10T18:39:42.854" v="1004" actId="2711"/>
          <ac:spMkLst>
            <pc:docMk/>
            <pc:sldMk cId="2622541658" sldId="4449"/>
            <ac:spMk id="2" creationId="{3B424EC2-D06B-404A-95B3-C54F1D0B2BEC}"/>
          </ac:spMkLst>
        </pc:spChg>
        <pc:spChg chg="mod">
          <ac:chgData name="Scott Corio" userId="dbe1492c70b6d8a8" providerId="LiveId" clId="{26B6202C-1B72-4C9C-8F83-0CEA0EB888C8}" dt="2024-08-10T18:39:37.607" v="1003" actId="207"/>
          <ac:spMkLst>
            <pc:docMk/>
            <pc:sldMk cId="2622541658" sldId="4449"/>
            <ac:spMk id="3" creationId="{7F0FD0B9-C6E0-4034-BBD0-5D48022CBFE9}"/>
          </ac:spMkLst>
        </pc:spChg>
      </pc:sldChg>
      <pc:sldChg chg="modSp mod">
        <pc:chgData name="Scott Corio" userId="dbe1492c70b6d8a8" providerId="LiveId" clId="{26B6202C-1B72-4C9C-8F83-0CEA0EB888C8}" dt="2024-08-10T18:39:27.993" v="1002" actId="207"/>
        <pc:sldMkLst>
          <pc:docMk/>
          <pc:sldMk cId="315113853" sldId="4450"/>
        </pc:sldMkLst>
        <pc:spChg chg="mod">
          <ac:chgData name="Scott Corio" userId="dbe1492c70b6d8a8" providerId="LiveId" clId="{26B6202C-1B72-4C9C-8F83-0CEA0EB888C8}" dt="2024-08-10T18:39:21.110" v="1001" actId="2711"/>
          <ac:spMkLst>
            <pc:docMk/>
            <pc:sldMk cId="315113853" sldId="4450"/>
            <ac:spMk id="2" creationId="{3B424EC2-D06B-404A-95B3-C54F1D0B2BEC}"/>
          </ac:spMkLst>
        </pc:spChg>
        <pc:spChg chg="mod">
          <ac:chgData name="Scott Corio" userId="dbe1492c70b6d8a8" providerId="LiveId" clId="{26B6202C-1B72-4C9C-8F83-0CEA0EB888C8}" dt="2024-08-10T18:39:27.993" v="1002" actId="207"/>
          <ac:spMkLst>
            <pc:docMk/>
            <pc:sldMk cId="315113853" sldId="4450"/>
            <ac:spMk id="3" creationId="{7F0FD0B9-C6E0-4034-BBD0-5D48022CBFE9}"/>
          </ac:spMkLst>
        </pc:spChg>
      </pc:sldChg>
      <pc:sldChg chg="modSp mod">
        <pc:chgData name="Scott Corio" userId="dbe1492c70b6d8a8" providerId="LiveId" clId="{26B6202C-1B72-4C9C-8F83-0CEA0EB888C8}" dt="2024-08-10T18:47:18.628" v="1487" actId="207"/>
        <pc:sldMkLst>
          <pc:docMk/>
          <pc:sldMk cId="1182007089" sldId="4503"/>
        </pc:sldMkLst>
        <pc:spChg chg="mod">
          <ac:chgData name="Scott Corio" userId="dbe1492c70b6d8a8" providerId="LiveId" clId="{26B6202C-1B72-4C9C-8F83-0CEA0EB888C8}" dt="2024-08-10T18:47:18.628" v="1487" actId="207"/>
          <ac:spMkLst>
            <pc:docMk/>
            <pc:sldMk cId="1182007089" sldId="4503"/>
            <ac:spMk id="4" creationId="{894188E4-CDDE-4663-97CB-D27371F219AF}"/>
          </ac:spMkLst>
        </pc:spChg>
      </pc:sldChg>
      <pc:sldChg chg="modSp mod">
        <pc:chgData name="Scott Corio" userId="dbe1492c70b6d8a8" providerId="LiveId" clId="{26B6202C-1B72-4C9C-8F83-0CEA0EB888C8}" dt="2024-08-10T18:46:56.531" v="1486" actId="207"/>
        <pc:sldMkLst>
          <pc:docMk/>
          <pc:sldMk cId="3589966220" sldId="4507"/>
        </pc:sldMkLst>
        <pc:spChg chg="mod">
          <ac:chgData name="Scott Corio" userId="dbe1492c70b6d8a8" providerId="LiveId" clId="{26B6202C-1B72-4C9C-8F83-0CEA0EB888C8}" dt="2024-08-10T18:46:56.531" v="1486" actId="207"/>
          <ac:spMkLst>
            <pc:docMk/>
            <pc:sldMk cId="3589966220" sldId="4507"/>
            <ac:spMk id="3" creationId="{08628C12-3DB1-4A5C-A32E-983A6CF7E0C1}"/>
          </ac:spMkLst>
        </pc:spChg>
      </pc:sldChg>
      <pc:sldChg chg="modSp mod">
        <pc:chgData name="Scott Corio" userId="dbe1492c70b6d8a8" providerId="LiveId" clId="{26B6202C-1B72-4C9C-8F83-0CEA0EB888C8}" dt="2024-08-10T18:46:43.100" v="1485" actId="207"/>
        <pc:sldMkLst>
          <pc:docMk/>
          <pc:sldMk cId="2546259398" sldId="4548"/>
        </pc:sldMkLst>
        <pc:spChg chg="mod">
          <ac:chgData name="Scott Corio" userId="dbe1492c70b6d8a8" providerId="LiveId" clId="{26B6202C-1B72-4C9C-8F83-0CEA0EB888C8}" dt="2024-08-10T18:46:30.660" v="1482" actId="27636"/>
          <ac:spMkLst>
            <pc:docMk/>
            <pc:sldMk cId="2546259398" sldId="4548"/>
            <ac:spMk id="2" creationId="{BC94A292-8D3C-431E-9CEA-006C3AD19277}"/>
          </ac:spMkLst>
        </pc:spChg>
        <pc:spChg chg="mod">
          <ac:chgData name="Scott Corio" userId="dbe1492c70b6d8a8" providerId="LiveId" clId="{26B6202C-1B72-4C9C-8F83-0CEA0EB888C8}" dt="2024-08-10T18:46:37.591" v="1484" actId="207"/>
          <ac:spMkLst>
            <pc:docMk/>
            <pc:sldMk cId="2546259398" sldId="4548"/>
            <ac:spMk id="3" creationId="{FC1C6480-721D-4C9A-B0DA-75480B59CF29}"/>
          </ac:spMkLst>
        </pc:spChg>
        <pc:spChg chg="mod">
          <ac:chgData name="Scott Corio" userId="dbe1492c70b6d8a8" providerId="LiveId" clId="{26B6202C-1B72-4C9C-8F83-0CEA0EB888C8}" dt="2024-08-10T18:46:43.100" v="1485" actId="207"/>
          <ac:spMkLst>
            <pc:docMk/>
            <pc:sldMk cId="2546259398" sldId="4548"/>
            <ac:spMk id="31" creationId="{A92627DB-486D-4E73-91B6-CD99AF5515B0}"/>
          </ac:spMkLst>
        </pc:spChg>
        <pc:spChg chg="mod">
          <ac:chgData name="Scott Corio" userId="dbe1492c70b6d8a8" providerId="LiveId" clId="{26B6202C-1B72-4C9C-8F83-0CEA0EB888C8}" dt="2024-08-10T18:46:43.100" v="1485" actId="207"/>
          <ac:spMkLst>
            <pc:docMk/>
            <pc:sldMk cId="2546259398" sldId="4548"/>
            <ac:spMk id="32" creationId="{514A5B28-7FF5-467A-B92D-FDD24B164EAA}"/>
          </ac:spMkLst>
        </pc:spChg>
        <pc:spChg chg="mod">
          <ac:chgData name="Scott Corio" userId="dbe1492c70b6d8a8" providerId="LiveId" clId="{26B6202C-1B72-4C9C-8F83-0CEA0EB888C8}" dt="2024-08-10T18:46:43.100" v="1485" actId="207"/>
          <ac:spMkLst>
            <pc:docMk/>
            <pc:sldMk cId="2546259398" sldId="4548"/>
            <ac:spMk id="34" creationId="{6FCC83FD-BFF3-4082-A049-02B166001032}"/>
          </ac:spMkLst>
        </pc:spChg>
        <pc:spChg chg="mod">
          <ac:chgData name="Scott Corio" userId="dbe1492c70b6d8a8" providerId="LiveId" clId="{26B6202C-1B72-4C9C-8F83-0CEA0EB888C8}" dt="2024-08-10T18:46:43.100" v="1485" actId="207"/>
          <ac:spMkLst>
            <pc:docMk/>
            <pc:sldMk cId="2546259398" sldId="4548"/>
            <ac:spMk id="36" creationId="{A6CE4AEA-5599-4592-B847-80E9401F527F}"/>
          </ac:spMkLst>
        </pc:spChg>
        <pc:spChg chg="mod">
          <ac:chgData name="Scott Corio" userId="dbe1492c70b6d8a8" providerId="LiveId" clId="{26B6202C-1B72-4C9C-8F83-0CEA0EB888C8}" dt="2024-08-10T18:46:43.100" v="1485" actId="207"/>
          <ac:spMkLst>
            <pc:docMk/>
            <pc:sldMk cId="2546259398" sldId="4548"/>
            <ac:spMk id="38" creationId="{F2B70689-E743-4D97-A29C-233BDA38970F}"/>
          </ac:spMkLst>
        </pc:spChg>
        <pc:spChg chg="mod">
          <ac:chgData name="Scott Corio" userId="dbe1492c70b6d8a8" providerId="LiveId" clId="{26B6202C-1B72-4C9C-8F83-0CEA0EB888C8}" dt="2024-08-10T18:46:43.100" v="1485" actId="207"/>
          <ac:spMkLst>
            <pc:docMk/>
            <pc:sldMk cId="2546259398" sldId="4548"/>
            <ac:spMk id="39" creationId="{57F349A7-7F0A-4FE6-943A-61E24410BFA4}"/>
          </ac:spMkLst>
        </pc:spChg>
        <pc:spChg chg="mod">
          <ac:chgData name="Scott Corio" userId="dbe1492c70b6d8a8" providerId="LiveId" clId="{26B6202C-1B72-4C9C-8F83-0CEA0EB888C8}" dt="2024-08-10T18:46:43.100" v="1485" actId="207"/>
          <ac:spMkLst>
            <pc:docMk/>
            <pc:sldMk cId="2546259398" sldId="4548"/>
            <ac:spMk id="42" creationId="{8B5C0D30-85DC-47AE-AB16-F4EC9F9FCF18}"/>
          </ac:spMkLst>
        </pc:spChg>
        <pc:spChg chg="mod">
          <ac:chgData name="Scott Corio" userId="dbe1492c70b6d8a8" providerId="LiveId" clId="{26B6202C-1B72-4C9C-8F83-0CEA0EB888C8}" dt="2024-08-10T18:46:43.100" v="1485" actId="207"/>
          <ac:spMkLst>
            <pc:docMk/>
            <pc:sldMk cId="2546259398" sldId="4548"/>
            <ac:spMk id="43" creationId="{3664B67A-2CB8-4E73-A30C-F3133D832A24}"/>
          </ac:spMkLst>
        </pc:spChg>
        <pc:spChg chg="mod">
          <ac:chgData name="Scott Corio" userId="dbe1492c70b6d8a8" providerId="LiveId" clId="{26B6202C-1B72-4C9C-8F83-0CEA0EB888C8}" dt="2024-08-10T18:46:43.100" v="1485" actId="207"/>
          <ac:spMkLst>
            <pc:docMk/>
            <pc:sldMk cId="2546259398" sldId="4548"/>
            <ac:spMk id="45" creationId="{962AACFF-677E-4F6A-A6AB-BA4DBE7E5B63}"/>
          </ac:spMkLst>
        </pc:spChg>
        <pc:spChg chg="mod">
          <ac:chgData name="Scott Corio" userId="dbe1492c70b6d8a8" providerId="LiveId" clId="{26B6202C-1B72-4C9C-8F83-0CEA0EB888C8}" dt="2024-08-10T18:46:43.100" v="1485" actId="207"/>
          <ac:spMkLst>
            <pc:docMk/>
            <pc:sldMk cId="2546259398" sldId="4548"/>
            <ac:spMk id="46" creationId="{D747B9F3-CFDC-4019-B1EA-5B77E9B77A97}"/>
          </ac:spMkLst>
        </pc:spChg>
        <pc:spChg chg="mod">
          <ac:chgData name="Scott Corio" userId="dbe1492c70b6d8a8" providerId="LiveId" clId="{26B6202C-1B72-4C9C-8F83-0CEA0EB888C8}" dt="2024-08-10T18:46:43.100" v="1485" actId="207"/>
          <ac:spMkLst>
            <pc:docMk/>
            <pc:sldMk cId="2546259398" sldId="4548"/>
            <ac:spMk id="47" creationId="{1F6C2E0C-36CB-4031-849F-E3A1D4FCD4B3}"/>
          </ac:spMkLst>
        </pc:spChg>
        <pc:spChg chg="mod">
          <ac:chgData name="Scott Corio" userId="dbe1492c70b6d8a8" providerId="LiveId" clId="{26B6202C-1B72-4C9C-8F83-0CEA0EB888C8}" dt="2024-08-10T18:46:43.100" v="1485" actId="207"/>
          <ac:spMkLst>
            <pc:docMk/>
            <pc:sldMk cId="2546259398" sldId="4548"/>
            <ac:spMk id="48" creationId="{DD19B463-4A92-46AA-89E1-4A942A3FAD09}"/>
          </ac:spMkLst>
        </pc:spChg>
        <pc:spChg chg="mod">
          <ac:chgData name="Scott Corio" userId="dbe1492c70b6d8a8" providerId="LiveId" clId="{26B6202C-1B72-4C9C-8F83-0CEA0EB888C8}" dt="2024-08-10T18:46:43.100" v="1485" actId="207"/>
          <ac:spMkLst>
            <pc:docMk/>
            <pc:sldMk cId="2546259398" sldId="4548"/>
            <ac:spMk id="49" creationId="{B5F09D4C-3941-445F-AA5B-0382C2CFC8E3}"/>
          </ac:spMkLst>
        </pc:spChg>
        <pc:spChg chg="mod">
          <ac:chgData name="Scott Corio" userId="dbe1492c70b6d8a8" providerId="LiveId" clId="{26B6202C-1B72-4C9C-8F83-0CEA0EB888C8}" dt="2024-08-10T18:46:43.100" v="1485" actId="207"/>
          <ac:spMkLst>
            <pc:docMk/>
            <pc:sldMk cId="2546259398" sldId="4548"/>
            <ac:spMk id="50" creationId="{C12E7EF4-1411-4A75-AB1A-AA66FB93D80E}"/>
          </ac:spMkLst>
        </pc:spChg>
        <pc:spChg chg="mod">
          <ac:chgData name="Scott Corio" userId="dbe1492c70b6d8a8" providerId="LiveId" clId="{26B6202C-1B72-4C9C-8F83-0CEA0EB888C8}" dt="2024-08-10T18:46:43.100" v="1485" actId="207"/>
          <ac:spMkLst>
            <pc:docMk/>
            <pc:sldMk cId="2546259398" sldId="4548"/>
            <ac:spMk id="52" creationId="{D128273D-93C5-4FCE-A202-30D574C422DF}"/>
          </ac:spMkLst>
        </pc:spChg>
        <pc:spChg chg="mod">
          <ac:chgData name="Scott Corio" userId="dbe1492c70b6d8a8" providerId="LiveId" clId="{26B6202C-1B72-4C9C-8F83-0CEA0EB888C8}" dt="2024-08-10T18:46:43.100" v="1485" actId="207"/>
          <ac:spMkLst>
            <pc:docMk/>
            <pc:sldMk cId="2546259398" sldId="4548"/>
            <ac:spMk id="53" creationId="{6FFD5FC9-568D-42CC-AB36-3595D0B1D9CD}"/>
          </ac:spMkLst>
        </pc:spChg>
        <pc:spChg chg="mod">
          <ac:chgData name="Scott Corio" userId="dbe1492c70b6d8a8" providerId="LiveId" clId="{26B6202C-1B72-4C9C-8F83-0CEA0EB888C8}" dt="2024-08-10T18:46:43.100" v="1485" actId="207"/>
          <ac:spMkLst>
            <pc:docMk/>
            <pc:sldMk cId="2546259398" sldId="4548"/>
            <ac:spMk id="54" creationId="{4E92B05D-9D06-456B-BFCD-F82DB571BA69}"/>
          </ac:spMkLst>
        </pc:spChg>
        <pc:spChg chg="mod">
          <ac:chgData name="Scott Corio" userId="dbe1492c70b6d8a8" providerId="LiveId" clId="{26B6202C-1B72-4C9C-8F83-0CEA0EB888C8}" dt="2024-08-10T18:46:43.100" v="1485" actId="207"/>
          <ac:spMkLst>
            <pc:docMk/>
            <pc:sldMk cId="2546259398" sldId="4548"/>
            <ac:spMk id="56" creationId="{53307209-93F8-463F-9F14-738CC980A788}"/>
          </ac:spMkLst>
        </pc:spChg>
        <pc:spChg chg="mod">
          <ac:chgData name="Scott Corio" userId="dbe1492c70b6d8a8" providerId="LiveId" clId="{26B6202C-1B72-4C9C-8F83-0CEA0EB888C8}" dt="2024-08-10T18:46:43.100" v="1485" actId="207"/>
          <ac:spMkLst>
            <pc:docMk/>
            <pc:sldMk cId="2546259398" sldId="4548"/>
            <ac:spMk id="57" creationId="{1AEF47F4-5FF8-4ACE-AA2A-3F37BC427299}"/>
          </ac:spMkLst>
        </pc:spChg>
        <pc:spChg chg="mod">
          <ac:chgData name="Scott Corio" userId="dbe1492c70b6d8a8" providerId="LiveId" clId="{26B6202C-1B72-4C9C-8F83-0CEA0EB888C8}" dt="2024-08-10T18:46:43.100" v="1485" actId="207"/>
          <ac:spMkLst>
            <pc:docMk/>
            <pc:sldMk cId="2546259398" sldId="4548"/>
            <ac:spMk id="58" creationId="{88AF83E5-EDAC-4CE3-8472-3B68376F8CE8}"/>
          </ac:spMkLst>
        </pc:spChg>
        <pc:spChg chg="mod">
          <ac:chgData name="Scott Corio" userId="dbe1492c70b6d8a8" providerId="LiveId" clId="{26B6202C-1B72-4C9C-8F83-0CEA0EB888C8}" dt="2024-08-10T18:46:43.100" v="1485" actId="207"/>
          <ac:spMkLst>
            <pc:docMk/>
            <pc:sldMk cId="2546259398" sldId="4548"/>
            <ac:spMk id="59" creationId="{C9763441-3346-4882-9E58-369CB137B7AE}"/>
          </ac:spMkLst>
        </pc:spChg>
        <pc:spChg chg="mod">
          <ac:chgData name="Scott Corio" userId="dbe1492c70b6d8a8" providerId="LiveId" clId="{26B6202C-1B72-4C9C-8F83-0CEA0EB888C8}" dt="2024-08-10T18:46:43.100" v="1485" actId="207"/>
          <ac:spMkLst>
            <pc:docMk/>
            <pc:sldMk cId="2546259398" sldId="4548"/>
            <ac:spMk id="61" creationId="{B081A7D9-1371-4985-9BD1-67610F934F4C}"/>
          </ac:spMkLst>
        </pc:spChg>
        <pc:spChg chg="mod">
          <ac:chgData name="Scott Corio" userId="dbe1492c70b6d8a8" providerId="LiveId" clId="{26B6202C-1B72-4C9C-8F83-0CEA0EB888C8}" dt="2024-08-10T18:46:43.100" v="1485" actId="207"/>
          <ac:spMkLst>
            <pc:docMk/>
            <pc:sldMk cId="2546259398" sldId="4548"/>
            <ac:spMk id="62" creationId="{DF235BEA-93F9-41F2-8B5C-FFF2BAB11334}"/>
          </ac:spMkLst>
        </pc:spChg>
        <pc:spChg chg="mod">
          <ac:chgData name="Scott Corio" userId="dbe1492c70b6d8a8" providerId="LiveId" clId="{26B6202C-1B72-4C9C-8F83-0CEA0EB888C8}" dt="2024-08-10T18:46:43.100" v="1485" actId="207"/>
          <ac:spMkLst>
            <pc:docMk/>
            <pc:sldMk cId="2546259398" sldId="4548"/>
            <ac:spMk id="63" creationId="{A789B79B-6E46-4B65-BE84-8855D7EB2111}"/>
          </ac:spMkLst>
        </pc:spChg>
        <pc:spChg chg="mod">
          <ac:chgData name="Scott Corio" userId="dbe1492c70b6d8a8" providerId="LiveId" clId="{26B6202C-1B72-4C9C-8F83-0CEA0EB888C8}" dt="2024-08-10T18:46:43.100" v="1485" actId="207"/>
          <ac:spMkLst>
            <pc:docMk/>
            <pc:sldMk cId="2546259398" sldId="4548"/>
            <ac:spMk id="64" creationId="{739118E8-6373-448A-A681-03603C12FE78}"/>
          </ac:spMkLst>
        </pc:spChg>
        <pc:spChg chg="mod">
          <ac:chgData name="Scott Corio" userId="dbe1492c70b6d8a8" providerId="LiveId" clId="{26B6202C-1B72-4C9C-8F83-0CEA0EB888C8}" dt="2024-08-10T18:46:43.100" v="1485" actId="207"/>
          <ac:spMkLst>
            <pc:docMk/>
            <pc:sldMk cId="2546259398" sldId="4548"/>
            <ac:spMk id="66" creationId="{12A64C21-E633-4AF5-96AE-99D8229DB45C}"/>
          </ac:spMkLst>
        </pc:spChg>
        <pc:spChg chg="mod">
          <ac:chgData name="Scott Corio" userId="dbe1492c70b6d8a8" providerId="LiveId" clId="{26B6202C-1B72-4C9C-8F83-0CEA0EB888C8}" dt="2024-08-10T18:46:43.100" v="1485" actId="207"/>
          <ac:spMkLst>
            <pc:docMk/>
            <pc:sldMk cId="2546259398" sldId="4548"/>
            <ac:spMk id="67" creationId="{E7AA87CC-AE97-4B5B-B646-B2D8EEEE4ABF}"/>
          </ac:spMkLst>
        </pc:spChg>
      </pc:sldChg>
      <pc:sldChg chg="modSp del mod">
        <pc:chgData name="Scott Corio" userId="dbe1492c70b6d8a8" providerId="LiveId" clId="{26B6202C-1B72-4C9C-8F83-0CEA0EB888C8}" dt="2024-08-10T18:32:14.210" v="931" actId="692"/>
        <pc:sldMkLst>
          <pc:docMk/>
          <pc:sldMk cId="2296464489" sldId="4633"/>
        </pc:sldMkLst>
        <pc:spChg chg="mod">
          <ac:chgData name="Scott Corio" userId="dbe1492c70b6d8a8" providerId="LiveId" clId="{26B6202C-1B72-4C9C-8F83-0CEA0EB888C8}" dt="2024-08-10T18:30:36.342" v="921" actId="207"/>
          <ac:spMkLst>
            <pc:docMk/>
            <pc:sldMk cId="2296464489" sldId="4633"/>
            <ac:spMk id="75" creationId="{45DF9B33-C2A9-4DE0-AB03-904C9256D946}"/>
          </ac:spMkLst>
        </pc:spChg>
        <pc:spChg chg="mod">
          <ac:chgData name="Scott Corio" userId="dbe1492c70b6d8a8" providerId="LiveId" clId="{26B6202C-1B72-4C9C-8F83-0CEA0EB888C8}" dt="2024-08-10T18:30:36.342" v="921" actId="207"/>
          <ac:spMkLst>
            <pc:docMk/>
            <pc:sldMk cId="2296464489" sldId="4633"/>
            <ac:spMk id="78" creationId="{C25A013C-35AB-433D-B693-ABE379B66BAC}"/>
          </ac:spMkLst>
        </pc:spChg>
        <pc:spChg chg="mod">
          <ac:chgData name="Scott Corio" userId="dbe1492c70b6d8a8" providerId="LiveId" clId="{26B6202C-1B72-4C9C-8F83-0CEA0EB888C8}" dt="2024-08-10T18:30:36.342" v="921" actId="207"/>
          <ac:spMkLst>
            <pc:docMk/>
            <pc:sldMk cId="2296464489" sldId="4633"/>
            <ac:spMk id="80" creationId="{55299C8C-C667-4DF1-ADCE-A77ABE3CF8CD}"/>
          </ac:spMkLst>
        </pc:spChg>
        <pc:spChg chg="mod">
          <ac:chgData name="Scott Corio" userId="dbe1492c70b6d8a8" providerId="LiveId" clId="{26B6202C-1B72-4C9C-8F83-0CEA0EB888C8}" dt="2024-08-10T18:30:36.342" v="921" actId="207"/>
          <ac:spMkLst>
            <pc:docMk/>
            <pc:sldMk cId="2296464489" sldId="4633"/>
            <ac:spMk id="81" creationId="{2601826F-31C2-40B6-B8BA-10C8169D7C2F}"/>
          </ac:spMkLst>
        </pc:spChg>
        <pc:spChg chg="mod">
          <ac:chgData name="Scott Corio" userId="dbe1492c70b6d8a8" providerId="LiveId" clId="{26B6202C-1B72-4C9C-8F83-0CEA0EB888C8}" dt="2024-08-10T18:30:36.342" v="921" actId="207"/>
          <ac:spMkLst>
            <pc:docMk/>
            <pc:sldMk cId="2296464489" sldId="4633"/>
            <ac:spMk id="82" creationId="{972281EA-3DA2-4C96-A9E5-AD83E6629FF8}"/>
          </ac:spMkLst>
        </pc:spChg>
        <pc:spChg chg="mod">
          <ac:chgData name="Scott Corio" userId="dbe1492c70b6d8a8" providerId="LiveId" clId="{26B6202C-1B72-4C9C-8F83-0CEA0EB888C8}" dt="2024-08-10T18:30:36.342" v="921" actId="207"/>
          <ac:spMkLst>
            <pc:docMk/>
            <pc:sldMk cId="2296464489" sldId="4633"/>
            <ac:spMk id="83" creationId="{794B4FB9-E649-4FD0-908A-774676D34962}"/>
          </ac:spMkLst>
        </pc:spChg>
        <pc:spChg chg="mod">
          <ac:chgData name="Scott Corio" userId="dbe1492c70b6d8a8" providerId="LiveId" clId="{26B6202C-1B72-4C9C-8F83-0CEA0EB888C8}" dt="2024-08-10T18:30:36.342" v="921" actId="207"/>
          <ac:spMkLst>
            <pc:docMk/>
            <pc:sldMk cId="2296464489" sldId="4633"/>
            <ac:spMk id="84" creationId="{A624BE72-7B26-491F-941C-C6528C5D4D2E}"/>
          </ac:spMkLst>
        </pc:spChg>
        <pc:spChg chg="mod">
          <ac:chgData name="Scott Corio" userId="dbe1492c70b6d8a8" providerId="LiveId" clId="{26B6202C-1B72-4C9C-8F83-0CEA0EB888C8}" dt="2024-08-10T18:30:36.342" v="921" actId="207"/>
          <ac:spMkLst>
            <pc:docMk/>
            <pc:sldMk cId="2296464489" sldId="4633"/>
            <ac:spMk id="85" creationId="{63035035-BBEB-41A6-8A5E-6CAAAE841C0E}"/>
          </ac:spMkLst>
        </pc:spChg>
        <pc:spChg chg="mod">
          <ac:chgData name="Scott Corio" userId="dbe1492c70b6d8a8" providerId="LiveId" clId="{26B6202C-1B72-4C9C-8F83-0CEA0EB888C8}" dt="2024-08-10T18:30:36.342" v="921" actId="207"/>
          <ac:spMkLst>
            <pc:docMk/>
            <pc:sldMk cId="2296464489" sldId="4633"/>
            <ac:spMk id="86" creationId="{57218F53-EC44-462C-B76B-C9A22B60F680}"/>
          </ac:spMkLst>
        </pc:spChg>
        <pc:spChg chg="mod">
          <ac:chgData name="Scott Corio" userId="dbe1492c70b6d8a8" providerId="LiveId" clId="{26B6202C-1B72-4C9C-8F83-0CEA0EB888C8}" dt="2024-08-10T18:30:36.342" v="921" actId="207"/>
          <ac:spMkLst>
            <pc:docMk/>
            <pc:sldMk cId="2296464489" sldId="4633"/>
            <ac:spMk id="89" creationId="{166BB0DB-1CF5-44C0-B424-9DE4F270F2CB}"/>
          </ac:spMkLst>
        </pc:spChg>
        <pc:spChg chg="mod">
          <ac:chgData name="Scott Corio" userId="dbe1492c70b6d8a8" providerId="LiveId" clId="{26B6202C-1B72-4C9C-8F83-0CEA0EB888C8}" dt="2024-08-10T18:30:36.342" v="921" actId="207"/>
          <ac:spMkLst>
            <pc:docMk/>
            <pc:sldMk cId="2296464489" sldId="4633"/>
            <ac:spMk id="90" creationId="{14F43D63-9CF2-47A4-9BE2-1D612A18F04F}"/>
          </ac:spMkLst>
        </pc:spChg>
        <pc:spChg chg="mod">
          <ac:chgData name="Scott Corio" userId="dbe1492c70b6d8a8" providerId="LiveId" clId="{26B6202C-1B72-4C9C-8F83-0CEA0EB888C8}" dt="2024-08-10T18:30:36.342" v="921" actId="207"/>
          <ac:spMkLst>
            <pc:docMk/>
            <pc:sldMk cId="2296464489" sldId="4633"/>
            <ac:spMk id="91" creationId="{422D5035-E54C-4CF2-93EA-20BCE11E777E}"/>
          </ac:spMkLst>
        </pc:spChg>
        <pc:spChg chg="mod">
          <ac:chgData name="Scott Corio" userId="dbe1492c70b6d8a8" providerId="LiveId" clId="{26B6202C-1B72-4C9C-8F83-0CEA0EB888C8}" dt="2024-08-10T18:30:36.342" v="921" actId="207"/>
          <ac:spMkLst>
            <pc:docMk/>
            <pc:sldMk cId="2296464489" sldId="4633"/>
            <ac:spMk id="94" creationId="{35A8998D-0006-49B0-B6F0-6AD4BAD02C15}"/>
          </ac:spMkLst>
        </pc:spChg>
        <pc:spChg chg="mod">
          <ac:chgData name="Scott Corio" userId="dbe1492c70b6d8a8" providerId="LiveId" clId="{26B6202C-1B72-4C9C-8F83-0CEA0EB888C8}" dt="2024-08-10T18:30:36.342" v="921" actId="207"/>
          <ac:spMkLst>
            <pc:docMk/>
            <pc:sldMk cId="2296464489" sldId="4633"/>
            <ac:spMk id="95" creationId="{CB713FBA-B089-45FC-96F4-647839161AEE}"/>
          </ac:spMkLst>
        </pc:spChg>
        <pc:spChg chg="mod">
          <ac:chgData name="Scott Corio" userId="dbe1492c70b6d8a8" providerId="LiveId" clId="{26B6202C-1B72-4C9C-8F83-0CEA0EB888C8}" dt="2024-08-10T18:30:36.342" v="921" actId="207"/>
          <ac:spMkLst>
            <pc:docMk/>
            <pc:sldMk cId="2296464489" sldId="4633"/>
            <ac:spMk id="96" creationId="{EB600475-3002-46FE-99AC-87A9F184324E}"/>
          </ac:spMkLst>
        </pc:spChg>
        <pc:spChg chg="mod">
          <ac:chgData name="Scott Corio" userId="dbe1492c70b6d8a8" providerId="LiveId" clId="{26B6202C-1B72-4C9C-8F83-0CEA0EB888C8}" dt="2024-08-10T18:30:36.342" v="921" actId="207"/>
          <ac:spMkLst>
            <pc:docMk/>
            <pc:sldMk cId="2296464489" sldId="4633"/>
            <ac:spMk id="97" creationId="{D30F47B5-8B64-47C4-82D7-2745326393E7}"/>
          </ac:spMkLst>
        </pc:spChg>
        <pc:spChg chg="mod">
          <ac:chgData name="Scott Corio" userId="dbe1492c70b6d8a8" providerId="LiveId" clId="{26B6202C-1B72-4C9C-8F83-0CEA0EB888C8}" dt="2024-08-10T18:30:36.342" v="921" actId="207"/>
          <ac:spMkLst>
            <pc:docMk/>
            <pc:sldMk cId="2296464489" sldId="4633"/>
            <ac:spMk id="98" creationId="{CAE0D037-02A3-42EB-9455-9F1F41AC271D}"/>
          </ac:spMkLst>
        </pc:spChg>
        <pc:spChg chg="mod">
          <ac:chgData name="Scott Corio" userId="dbe1492c70b6d8a8" providerId="LiveId" clId="{26B6202C-1B72-4C9C-8F83-0CEA0EB888C8}" dt="2024-08-10T18:30:36.342" v="921" actId="207"/>
          <ac:spMkLst>
            <pc:docMk/>
            <pc:sldMk cId="2296464489" sldId="4633"/>
            <ac:spMk id="99" creationId="{E5E8C526-A2C0-4BA3-8D3D-AD7DAB7724AE}"/>
          </ac:spMkLst>
        </pc:spChg>
        <pc:spChg chg="mod">
          <ac:chgData name="Scott Corio" userId="dbe1492c70b6d8a8" providerId="LiveId" clId="{26B6202C-1B72-4C9C-8F83-0CEA0EB888C8}" dt="2024-08-10T18:30:36.342" v="921" actId="207"/>
          <ac:spMkLst>
            <pc:docMk/>
            <pc:sldMk cId="2296464489" sldId="4633"/>
            <ac:spMk id="100" creationId="{B831B248-4BF1-4228-A8E1-F275090780D8}"/>
          </ac:spMkLst>
        </pc:spChg>
        <pc:spChg chg="mod">
          <ac:chgData name="Scott Corio" userId="dbe1492c70b6d8a8" providerId="LiveId" clId="{26B6202C-1B72-4C9C-8F83-0CEA0EB888C8}" dt="2024-08-10T18:30:36.342" v="921" actId="207"/>
          <ac:spMkLst>
            <pc:docMk/>
            <pc:sldMk cId="2296464489" sldId="4633"/>
            <ac:spMk id="101" creationId="{CF6E44B0-ADA0-444A-91F7-0F7E29163BAF}"/>
          </ac:spMkLst>
        </pc:spChg>
        <pc:spChg chg="mod">
          <ac:chgData name="Scott Corio" userId="dbe1492c70b6d8a8" providerId="LiveId" clId="{26B6202C-1B72-4C9C-8F83-0CEA0EB888C8}" dt="2024-08-10T18:30:36.342" v="921" actId="207"/>
          <ac:spMkLst>
            <pc:docMk/>
            <pc:sldMk cId="2296464489" sldId="4633"/>
            <ac:spMk id="102" creationId="{F7C7C93C-9963-4E5D-9EC4-9619B9C1E940}"/>
          </ac:spMkLst>
        </pc:spChg>
        <pc:spChg chg="mod">
          <ac:chgData name="Scott Corio" userId="dbe1492c70b6d8a8" providerId="LiveId" clId="{26B6202C-1B72-4C9C-8F83-0CEA0EB888C8}" dt="2024-08-10T18:30:36.342" v="921" actId="207"/>
          <ac:spMkLst>
            <pc:docMk/>
            <pc:sldMk cId="2296464489" sldId="4633"/>
            <ac:spMk id="103" creationId="{92508B7C-E5B2-4B36-B880-10D989BBD18C}"/>
          </ac:spMkLst>
        </pc:spChg>
        <pc:spChg chg="mod">
          <ac:chgData name="Scott Corio" userId="dbe1492c70b6d8a8" providerId="LiveId" clId="{26B6202C-1B72-4C9C-8F83-0CEA0EB888C8}" dt="2024-08-10T18:30:36.342" v="921" actId="207"/>
          <ac:spMkLst>
            <pc:docMk/>
            <pc:sldMk cId="2296464489" sldId="4633"/>
            <ac:spMk id="106" creationId="{BD3A3075-45DA-4339-9BAD-713E6A75C539}"/>
          </ac:spMkLst>
        </pc:spChg>
        <pc:spChg chg="mod">
          <ac:chgData name="Scott Corio" userId="dbe1492c70b6d8a8" providerId="LiveId" clId="{26B6202C-1B72-4C9C-8F83-0CEA0EB888C8}" dt="2024-08-10T18:30:36.342" v="921" actId="207"/>
          <ac:spMkLst>
            <pc:docMk/>
            <pc:sldMk cId="2296464489" sldId="4633"/>
            <ac:spMk id="107" creationId="{828896E5-DF17-47C9-BA02-F8EFEDD40A49}"/>
          </ac:spMkLst>
        </pc:spChg>
        <pc:spChg chg="mod">
          <ac:chgData name="Scott Corio" userId="dbe1492c70b6d8a8" providerId="LiveId" clId="{26B6202C-1B72-4C9C-8F83-0CEA0EB888C8}" dt="2024-08-10T18:30:36.342" v="921" actId="207"/>
          <ac:spMkLst>
            <pc:docMk/>
            <pc:sldMk cId="2296464489" sldId="4633"/>
            <ac:spMk id="108" creationId="{9C888DB7-9613-48C2-AB8C-185AFBBAB679}"/>
          </ac:spMkLst>
        </pc:spChg>
        <pc:spChg chg="mod">
          <ac:chgData name="Scott Corio" userId="dbe1492c70b6d8a8" providerId="LiveId" clId="{26B6202C-1B72-4C9C-8F83-0CEA0EB888C8}" dt="2024-08-10T18:30:41.428" v="922" actId="207"/>
          <ac:spMkLst>
            <pc:docMk/>
            <pc:sldMk cId="2296464489" sldId="4633"/>
            <ac:spMk id="113" creationId="{B641657D-9592-41E2-BD04-1847742DE4BF}"/>
          </ac:spMkLst>
        </pc:spChg>
        <pc:spChg chg="mod">
          <ac:chgData name="Scott Corio" userId="dbe1492c70b6d8a8" providerId="LiveId" clId="{26B6202C-1B72-4C9C-8F83-0CEA0EB888C8}" dt="2024-08-10T18:31:05.686" v="926" actId="207"/>
          <ac:spMkLst>
            <pc:docMk/>
            <pc:sldMk cId="2296464489" sldId="4633"/>
            <ac:spMk id="129" creationId="{A44360BB-4271-435E-92AF-1908A4F32883}"/>
          </ac:spMkLst>
        </pc:spChg>
        <pc:grpChg chg="mod">
          <ac:chgData name="Scott Corio" userId="dbe1492c70b6d8a8" providerId="LiveId" clId="{26B6202C-1B72-4C9C-8F83-0CEA0EB888C8}" dt="2024-08-10T18:30:41.428" v="922" actId="207"/>
          <ac:grpSpMkLst>
            <pc:docMk/>
            <pc:sldMk cId="2296464489" sldId="4633"/>
            <ac:grpSpMk id="5" creationId="{F20E1B21-FF0D-4A8C-8825-B8AA753DA981}"/>
          </ac:grpSpMkLst>
        </pc:grpChg>
        <pc:grpChg chg="mod">
          <ac:chgData name="Scott Corio" userId="dbe1492c70b6d8a8" providerId="LiveId" clId="{26B6202C-1B72-4C9C-8F83-0CEA0EB888C8}" dt="2024-08-10T18:30:41.428" v="922" actId="207"/>
          <ac:grpSpMkLst>
            <pc:docMk/>
            <pc:sldMk cId="2296464489" sldId="4633"/>
            <ac:grpSpMk id="51" creationId="{142E3C94-9CCA-42BB-BE92-4E465166018A}"/>
          </ac:grpSpMkLst>
        </pc:grpChg>
        <pc:grpChg chg="mod">
          <ac:chgData name="Scott Corio" userId="dbe1492c70b6d8a8" providerId="LiveId" clId="{26B6202C-1B72-4C9C-8F83-0CEA0EB888C8}" dt="2024-08-10T18:30:41.428" v="922" actId="207"/>
          <ac:grpSpMkLst>
            <pc:docMk/>
            <pc:sldMk cId="2296464489" sldId="4633"/>
            <ac:grpSpMk id="59" creationId="{EBCAEC20-A063-48D5-82F5-2CA08762CE4B}"/>
          </ac:grpSpMkLst>
        </pc:grpChg>
        <pc:grpChg chg="mod">
          <ac:chgData name="Scott Corio" userId="dbe1492c70b6d8a8" providerId="LiveId" clId="{26B6202C-1B72-4C9C-8F83-0CEA0EB888C8}" dt="2024-08-10T18:30:41.428" v="922" actId="207"/>
          <ac:grpSpMkLst>
            <pc:docMk/>
            <pc:sldMk cId="2296464489" sldId="4633"/>
            <ac:grpSpMk id="74" creationId="{66336B80-81F3-4EF6-B7EE-1828FA3DF696}"/>
          </ac:grpSpMkLst>
        </pc:grpChg>
        <pc:grpChg chg="mod">
          <ac:chgData name="Scott Corio" userId="dbe1492c70b6d8a8" providerId="LiveId" clId="{26B6202C-1B72-4C9C-8F83-0CEA0EB888C8}" dt="2024-08-10T18:30:46.625" v="923" actId="692"/>
          <ac:grpSpMkLst>
            <pc:docMk/>
            <pc:sldMk cId="2296464489" sldId="4633"/>
            <ac:grpSpMk id="79" creationId="{A45F87F9-1466-4DC3-96EE-7D2AD863B716}"/>
          </ac:grpSpMkLst>
        </pc:grpChg>
        <pc:grpChg chg="mod">
          <ac:chgData name="Scott Corio" userId="dbe1492c70b6d8a8" providerId="LiveId" clId="{26B6202C-1B72-4C9C-8F83-0CEA0EB888C8}" dt="2024-08-10T18:30:41.428" v="922" actId="207"/>
          <ac:grpSpMkLst>
            <pc:docMk/>
            <pc:sldMk cId="2296464489" sldId="4633"/>
            <ac:grpSpMk id="93" creationId="{A6719386-2CBB-4542-B63C-B4B8738336E5}"/>
          </ac:grpSpMkLst>
        </pc:grpChg>
        <pc:cxnChg chg="mod">
          <ac:chgData name="Scott Corio" userId="dbe1492c70b6d8a8" providerId="LiveId" clId="{26B6202C-1B72-4C9C-8F83-0CEA0EB888C8}" dt="2024-08-10T18:31:24.495" v="928" actId="692"/>
          <ac:cxnSpMkLst>
            <pc:docMk/>
            <pc:sldMk cId="2296464489" sldId="4633"/>
            <ac:cxnSpMk id="67" creationId="{8AC784B3-A31F-4040-A48D-C12FBDB55D35}"/>
          </ac:cxnSpMkLst>
        </pc:cxnChg>
        <pc:cxnChg chg="mod">
          <ac:chgData name="Scott Corio" userId="dbe1492c70b6d8a8" providerId="LiveId" clId="{26B6202C-1B72-4C9C-8F83-0CEA0EB888C8}" dt="2024-08-10T18:31:19.356" v="927" actId="692"/>
          <ac:cxnSpMkLst>
            <pc:docMk/>
            <pc:sldMk cId="2296464489" sldId="4633"/>
            <ac:cxnSpMk id="68" creationId="{A6026B5E-4838-40ED-B6B7-D44441FFBCA7}"/>
          </ac:cxnSpMkLst>
        </pc:cxnChg>
        <pc:cxnChg chg="mod">
          <ac:chgData name="Scott Corio" userId="dbe1492c70b6d8a8" providerId="LiveId" clId="{26B6202C-1B72-4C9C-8F83-0CEA0EB888C8}" dt="2024-08-10T18:30:36.342" v="921" actId="207"/>
          <ac:cxnSpMkLst>
            <pc:docMk/>
            <pc:sldMk cId="2296464489" sldId="4633"/>
            <ac:cxnSpMk id="87" creationId="{FC9A083C-1B7D-4AD6-BF75-B62AA331B9A5}"/>
          </ac:cxnSpMkLst>
        </pc:cxnChg>
        <pc:cxnChg chg="mod">
          <ac:chgData name="Scott Corio" userId="dbe1492c70b6d8a8" providerId="LiveId" clId="{26B6202C-1B72-4C9C-8F83-0CEA0EB888C8}" dt="2024-08-10T18:30:36.342" v="921" actId="207"/>
          <ac:cxnSpMkLst>
            <pc:docMk/>
            <pc:sldMk cId="2296464489" sldId="4633"/>
            <ac:cxnSpMk id="88" creationId="{8D7C42A3-7250-4E6D-90F1-FB6EDFDF51A4}"/>
          </ac:cxnSpMkLst>
        </pc:cxnChg>
        <pc:cxnChg chg="mod">
          <ac:chgData name="Scott Corio" userId="dbe1492c70b6d8a8" providerId="LiveId" clId="{26B6202C-1B72-4C9C-8F83-0CEA0EB888C8}" dt="2024-08-10T18:31:43.122" v="929" actId="692"/>
          <ac:cxnSpMkLst>
            <pc:docMk/>
            <pc:sldMk cId="2296464489" sldId="4633"/>
            <ac:cxnSpMk id="92" creationId="{81487A44-A08F-4616-A47F-D9413F42528F}"/>
          </ac:cxnSpMkLst>
        </pc:cxnChg>
        <pc:cxnChg chg="mod">
          <ac:chgData name="Scott Corio" userId="dbe1492c70b6d8a8" providerId="LiveId" clId="{26B6202C-1B72-4C9C-8F83-0CEA0EB888C8}" dt="2024-08-10T18:30:36.342" v="921" actId="207"/>
          <ac:cxnSpMkLst>
            <pc:docMk/>
            <pc:sldMk cId="2296464489" sldId="4633"/>
            <ac:cxnSpMk id="104" creationId="{3EE60250-6C82-4C21-BE97-2EFE0AC98265}"/>
          </ac:cxnSpMkLst>
        </pc:cxnChg>
        <pc:cxnChg chg="mod">
          <ac:chgData name="Scott Corio" userId="dbe1492c70b6d8a8" providerId="LiveId" clId="{26B6202C-1B72-4C9C-8F83-0CEA0EB888C8}" dt="2024-08-10T18:30:36.342" v="921" actId="207"/>
          <ac:cxnSpMkLst>
            <pc:docMk/>
            <pc:sldMk cId="2296464489" sldId="4633"/>
            <ac:cxnSpMk id="105" creationId="{B492FA03-D4D4-42DC-9DD2-7B95DC802B16}"/>
          </ac:cxnSpMkLst>
        </pc:cxnChg>
        <pc:cxnChg chg="mod">
          <ac:chgData name="Scott Corio" userId="dbe1492c70b6d8a8" providerId="LiveId" clId="{26B6202C-1B72-4C9C-8F83-0CEA0EB888C8}" dt="2024-08-10T18:30:36.342" v="921" actId="207"/>
          <ac:cxnSpMkLst>
            <pc:docMk/>
            <pc:sldMk cId="2296464489" sldId="4633"/>
            <ac:cxnSpMk id="109" creationId="{6278A635-FCF9-49C1-91AA-E6DB6CDAC763}"/>
          </ac:cxnSpMkLst>
        </pc:cxnChg>
        <pc:cxnChg chg="mod">
          <ac:chgData name="Scott Corio" userId="dbe1492c70b6d8a8" providerId="LiveId" clId="{26B6202C-1B72-4C9C-8F83-0CEA0EB888C8}" dt="2024-08-10T18:31:49.622" v="930" actId="692"/>
          <ac:cxnSpMkLst>
            <pc:docMk/>
            <pc:sldMk cId="2296464489" sldId="4633"/>
            <ac:cxnSpMk id="110" creationId="{80272A20-00B5-4E36-9658-57A7325D8313}"/>
          </ac:cxnSpMkLst>
        </pc:cxnChg>
        <pc:cxnChg chg="mod">
          <ac:chgData name="Scott Corio" userId="dbe1492c70b6d8a8" providerId="LiveId" clId="{26B6202C-1B72-4C9C-8F83-0CEA0EB888C8}" dt="2024-08-10T18:32:14.210" v="931" actId="692"/>
          <ac:cxnSpMkLst>
            <pc:docMk/>
            <pc:sldMk cId="2296464489" sldId="4633"/>
            <ac:cxnSpMk id="122" creationId="{47E43308-AB48-423D-93E8-2288E60B132C}"/>
          </ac:cxnSpMkLst>
        </pc:cxnChg>
        <pc:cxnChg chg="mod">
          <ac:chgData name="Scott Corio" userId="dbe1492c70b6d8a8" providerId="LiveId" clId="{26B6202C-1B72-4C9C-8F83-0CEA0EB888C8}" dt="2024-08-10T18:32:14.210" v="931" actId="692"/>
          <ac:cxnSpMkLst>
            <pc:docMk/>
            <pc:sldMk cId="2296464489" sldId="4633"/>
            <ac:cxnSpMk id="127" creationId="{A5C8B8D0-8E00-412C-8E98-CFCD586B8A9F}"/>
          </ac:cxnSpMkLst>
        </pc:cxnChg>
        <pc:cxnChg chg="mod">
          <ac:chgData name="Scott Corio" userId="dbe1492c70b6d8a8" providerId="LiveId" clId="{26B6202C-1B72-4C9C-8F83-0CEA0EB888C8}" dt="2024-08-10T18:32:14.210" v="931" actId="692"/>
          <ac:cxnSpMkLst>
            <pc:docMk/>
            <pc:sldMk cId="2296464489" sldId="4633"/>
            <ac:cxnSpMk id="128" creationId="{D432D72F-2353-4173-A6C7-D044E9A75342}"/>
          </ac:cxnSpMkLst>
        </pc:cxnChg>
      </pc:sldChg>
      <pc:sldChg chg="modSp mod">
        <pc:chgData name="Scott Corio" userId="dbe1492c70b6d8a8" providerId="LiveId" clId="{26B6202C-1B72-4C9C-8F83-0CEA0EB888C8}" dt="2024-08-10T18:20:33.541" v="464" actId="27349"/>
        <pc:sldMkLst>
          <pc:docMk/>
          <pc:sldMk cId="3091175655" sldId="8330"/>
        </pc:sldMkLst>
        <pc:spChg chg="mod">
          <ac:chgData name="Scott Corio" userId="dbe1492c70b6d8a8" providerId="LiveId" clId="{26B6202C-1B72-4C9C-8F83-0CEA0EB888C8}" dt="2024-08-10T18:20:15.532" v="463" actId="207"/>
          <ac:spMkLst>
            <pc:docMk/>
            <pc:sldMk cId="3091175655" sldId="8330"/>
            <ac:spMk id="52" creationId="{FA830AA3-39F7-40F5-A2F2-74BFE08CCAB3}"/>
          </ac:spMkLst>
        </pc:spChg>
        <pc:spChg chg="mod">
          <ac:chgData name="Scott Corio" userId="dbe1492c70b6d8a8" providerId="LiveId" clId="{26B6202C-1B72-4C9C-8F83-0CEA0EB888C8}" dt="2024-08-10T18:20:10.301" v="462" actId="207"/>
          <ac:spMkLst>
            <pc:docMk/>
            <pc:sldMk cId="3091175655" sldId="8330"/>
            <ac:spMk id="53" creationId="{969AB5EB-B921-450B-B183-7EF8E6152640}"/>
          </ac:spMkLst>
        </pc:spChg>
        <pc:picChg chg="mod">
          <ac:chgData name="Scott Corio" userId="dbe1492c70b6d8a8" providerId="LiveId" clId="{26B6202C-1B72-4C9C-8F83-0CEA0EB888C8}" dt="2024-08-10T18:20:33.541" v="464" actId="27349"/>
          <ac:picMkLst>
            <pc:docMk/>
            <pc:sldMk cId="3091175655" sldId="8330"/>
            <ac:picMk id="50" creationId="{9504D257-32FF-4CF6-83D7-899BD7F767EC}"/>
          </ac:picMkLst>
        </pc:picChg>
      </pc:sldChg>
      <pc:sldChg chg="modSp del mod modTransition chgLayout">
        <pc:chgData name="Scott Corio" userId="dbe1492c70b6d8a8" providerId="LiveId" clId="{26B6202C-1B72-4C9C-8F83-0CEA0EB888C8}" dt="2024-08-10T18:16:58.331" v="455" actId="26606"/>
        <pc:sldMkLst>
          <pc:docMk/>
          <pc:sldMk cId="3194235365" sldId="8334"/>
        </pc:sldMkLst>
        <pc:spChg chg="mod">
          <ac:chgData name="Scott Corio" userId="dbe1492c70b6d8a8" providerId="LiveId" clId="{26B6202C-1B72-4C9C-8F83-0CEA0EB888C8}" dt="2024-08-10T18:16:58.331" v="455" actId="26606"/>
          <ac:spMkLst>
            <pc:docMk/>
            <pc:sldMk cId="3194235365" sldId="8334"/>
            <ac:spMk id="4" creationId="{D2E60581-FB3A-7713-4BC2-899398FC63C7}"/>
          </ac:spMkLst>
        </pc:spChg>
        <pc:spChg chg="mod">
          <ac:chgData name="Scott Corio" userId="dbe1492c70b6d8a8" providerId="LiveId" clId="{26B6202C-1B72-4C9C-8F83-0CEA0EB888C8}" dt="2024-08-10T18:16:58.331" v="455" actId="26606"/>
          <ac:spMkLst>
            <pc:docMk/>
            <pc:sldMk cId="3194235365" sldId="8334"/>
            <ac:spMk id="5" creationId="{FDB93552-00DB-C23C-1280-B2D5CB684EA2}"/>
          </ac:spMkLst>
        </pc:spChg>
      </pc:sldChg>
      <pc:sldChg chg="modSp mod">
        <pc:chgData name="Scott Corio" userId="dbe1492c70b6d8a8" providerId="LiveId" clId="{26B6202C-1B72-4C9C-8F83-0CEA0EB888C8}" dt="2024-08-10T18:22:30.709" v="470" actId="207"/>
        <pc:sldMkLst>
          <pc:docMk/>
          <pc:sldMk cId="1023354307" sldId="8338"/>
        </pc:sldMkLst>
        <pc:spChg chg="mod">
          <ac:chgData name="Scott Corio" userId="dbe1492c70b6d8a8" providerId="LiveId" clId="{26B6202C-1B72-4C9C-8F83-0CEA0EB888C8}" dt="2024-08-10T18:22:30.709" v="470" actId="207"/>
          <ac:spMkLst>
            <pc:docMk/>
            <pc:sldMk cId="1023354307" sldId="8338"/>
            <ac:spMk id="6" creationId="{9128C7D5-A5EF-CA95-530C-76CA930A37F6}"/>
          </ac:spMkLst>
        </pc:spChg>
      </pc:sldChg>
      <pc:sldChg chg="modSp mod">
        <pc:chgData name="Scott Corio" userId="dbe1492c70b6d8a8" providerId="LiveId" clId="{26B6202C-1B72-4C9C-8F83-0CEA0EB888C8}" dt="2024-08-10T18:22:58.514" v="475" actId="14100"/>
        <pc:sldMkLst>
          <pc:docMk/>
          <pc:sldMk cId="1130039307" sldId="8339"/>
        </pc:sldMkLst>
        <pc:spChg chg="mod">
          <ac:chgData name="Scott Corio" userId="dbe1492c70b6d8a8" providerId="LiveId" clId="{26B6202C-1B72-4C9C-8F83-0CEA0EB888C8}" dt="2024-08-10T18:22:48.752" v="473" actId="14100"/>
          <ac:spMkLst>
            <pc:docMk/>
            <pc:sldMk cId="1130039307" sldId="8339"/>
            <ac:spMk id="2" creationId="{E19AEFF7-C8B3-A916-96C3-E7FE565B2099}"/>
          </ac:spMkLst>
        </pc:spChg>
        <pc:spChg chg="mod">
          <ac:chgData name="Scott Corio" userId="dbe1492c70b6d8a8" providerId="LiveId" clId="{26B6202C-1B72-4C9C-8F83-0CEA0EB888C8}" dt="2024-08-10T18:22:58.514" v="475" actId="14100"/>
          <ac:spMkLst>
            <pc:docMk/>
            <pc:sldMk cId="1130039307" sldId="8339"/>
            <ac:spMk id="19" creationId="{869A0986-56F5-9DDF-00D0-DB0163E85D06}"/>
          </ac:spMkLst>
        </pc:spChg>
        <pc:spChg chg="mod">
          <ac:chgData name="Scott Corio" userId="dbe1492c70b6d8a8" providerId="LiveId" clId="{26B6202C-1B72-4C9C-8F83-0CEA0EB888C8}" dt="2024-08-10T18:22:48.752" v="473" actId="14100"/>
          <ac:spMkLst>
            <pc:docMk/>
            <pc:sldMk cId="1130039307" sldId="8339"/>
            <ac:spMk id="20" creationId="{9B056067-CF59-FA77-856C-3D0BA541029C}"/>
          </ac:spMkLst>
        </pc:spChg>
        <pc:spChg chg="mod">
          <ac:chgData name="Scott Corio" userId="dbe1492c70b6d8a8" providerId="LiveId" clId="{26B6202C-1B72-4C9C-8F83-0CEA0EB888C8}" dt="2024-08-10T18:22:48.752" v="473" actId="14100"/>
          <ac:spMkLst>
            <pc:docMk/>
            <pc:sldMk cId="1130039307" sldId="8339"/>
            <ac:spMk id="21" creationId="{24EE49B5-1585-BD80-1122-7CED3B19980C}"/>
          </ac:spMkLst>
        </pc:spChg>
        <pc:spChg chg="mod">
          <ac:chgData name="Scott Corio" userId="dbe1492c70b6d8a8" providerId="LiveId" clId="{26B6202C-1B72-4C9C-8F83-0CEA0EB888C8}" dt="2024-08-10T18:22:48.752" v="473" actId="14100"/>
          <ac:spMkLst>
            <pc:docMk/>
            <pc:sldMk cId="1130039307" sldId="8339"/>
            <ac:spMk id="22" creationId="{F49884A8-9E4E-4E53-430E-AAE36B94E92B}"/>
          </ac:spMkLst>
        </pc:spChg>
        <pc:spChg chg="mod">
          <ac:chgData name="Scott Corio" userId="dbe1492c70b6d8a8" providerId="LiveId" clId="{26B6202C-1B72-4C9C-8F83-0CEA0EB888C8}" dt="2024-08-10T18:22:48.752" v="473" actId="14100"/>
          <ac:spMkLst>
            <pc:docMk/>
            <pc:sldMk cId="1130039307" sldId="8339"/>
            <ac:spMk id="23" creationId="{9E3F30C6-A6C1-0B28-752B-39D1A6318D3E}"/>
          </ac:spMkLst>
        </pc:spChg>
        <pc:spChg chg="mod">
          <ac:chgData name="Scott Corio" userId="dbe1492c70b6d8a8" providerId="LiveId" clId="{26B6202C-1B72-4C9C-8F83-0CEA0EB888C8}" dt="2024-08-10T18:22:58.514" v="475" actId="14100"/>
          <ac:spMkLst>
            <pc:docMk/>
            <pc:sldMk cId="1130039307" sldId="8339"/>
            <ac:spMk id="24" creationId="{BA715F1D-B3AA-02CA-AC65-3BF48A4E40A9}"/>
          </ac:spMkLst>
        </pc:spChg>
        <pc:spChg chg="mod">
          <ac:chgData name="Scott Corio" userId="dbe1492c70b6d8a8" providerId="LiveId" clId="{26B6202C-1B72-4C9C-8F83-0CEA0EB888C8}" dt="2024-08-10T18:22:58.514" v="475" actId="14100"/>
          <ac:spMkLst>
            <pc:docMk/>
            <pc:sldMk cId="1130039307" sldId="8339"/>
            <ac:spMk id="25" creationId="{238E36C5-AAD2-6461-B8ED-7354C52112F5}"/>
          </ac:spMkLst>
        </pc:spChg>
        <pc:spChg chg="mod">
          <ac:chgData name="Scott Corio" userId="dbe1492c70b6d8a8" providerId="LiveId" clId="{26B6202C-1B72-4C9C-8F83-0CEA0EB888C8}" dt="2024-08-10T18:22:58.514" v="475" actId="14100"/>
          <ac:spMkLst>
            <pc:docMk/>
            <pc:sldMk cId="1130039307" sldId="8339"/>
            <ac:spMk id="26" creationId="{1B7D129B-C754-0796-6111-EAA78C6A6696}"/>
          </ac:spMkLst>
        </pc:spChg>
        <pc:spChg chg="mod">
          <ac:chgData name="Scott Corio" userId="dbe1492c70b6d8a8" providerId="LiveId" clId="{26B6202C-1B72-4C9C-8F83-0CEA0EB888C8}" dt="2024-08-10T18:22:58.514" v="475" actId="14100"/>
          <ac:spMkLst>
            <pc:docMk/>
            <pc:sldMk cId="1130039307" sldId="8339"/>
            <ac:spMk id="27" creationId="{09FE83A5-C7FC-BDA3-386F-C1E037FDD1C0}"/>
          </ac:spMkLst>
        </pc:spChg>
        <pc:spChg chg="mod">
          <ac:chgData name="Scott Corio" userId="dbe1492c70b6d8a8" providerId="LiveId" clId="{26B6202C-1B72-4C9C-8F83-0CEA0EB888C8}" dt="2024-08-10T18:22:48.752" v="473" actId="14100"/>
          <ac:spMkLst>
            <pc:docMk/>
            <pc:sldMk cId="1130039307" sldId="8339"/>
            <ac:spMk id="50" creationId="{46381A8B-93AD-E82C-B0E9-BBE071C796C3}"/>
          </ac:spMkLst>
        </pc:spChg>
        <pc:picChg chg="mod">
          <ac:chgData name="Scott Corio" userId="dbe1492c70b6d8a8" providerId="LiveId" clId="{26B6202C-1B72-4C9C-8F83-0CEA0EB888C8}" dt="2024-08-10T18:22:48.752" v="473" actId="14100"/>
          <ac:picMkLst>
            <pc:docMk/>
            <pc:sldMk cId="1130039307" sldId="8339"/>
            <ac:picMk id="4" creationId="{2168921C-F9CC-B207-C70E-9ABA0BB0D138}"/>
          </ac:picMkLst>
        </pc:picChg>
        <pc:picChg chg="mod">
          <ac:chgData name="Scott Corio" userId="dbe1492c70b6d8a8" providerId="LiveId" clId="{26B6202C-1B72-4C9C-8F83-0CEA0EB888C8}" dt="2024-08-10T18:22:48.752" v="473" actId="14100"/>
          <ac:picMkLst>
            <pc:docMk/>
            <pc:sldMk cId="1130039307" sldId="8339"/>
            <ac:picMk id="6" creationId="{A10B482B-17DA-852D-3A31-6A96885C1B80}"/>
          </ac:picMkLst>
        </pc:picChg>
        <pc:picChg chg="mod">
          <ac:chgData name="Scott Corio" userId="dbe1492c70b6d8a8" providerId="LiveId" clId="{26B6202C-1B72-4C9C-8F83-0CEA0EB888C8}" dt="2024-08-10T18:22:48.752" v="473" actId="14100"/>
          <ac:picMkLst>
            <pc:docMk/>
            <pc:sldMk cId="1130039307" sldId="8339"/>
            <ac:picMk id="8" creationId="{A7C1A1D7-9E8D-CB85-A4D2-6C296449D1C1}"/>
          </ac:picMkLst>
        </pc:picChg>
        <pc:picChg chg="mod">
          <ac:chgData name="Scott Corio" userId="dbe1492c70b6d8a8" providerId="LiveId" clId="{26B6202C-1B72-4C9C-8F83-0CEA0EB888C8}" dt="2024-08-10T18:22:48.752" v="473" actId="14100"/>
          <ac:picMkLst>
            <pc:docMk/>
            <pc:sldMk cId="1130039307" sldId="8339"/>
            <ac:picMk id="10" creationId="{5280738E-4B13-920F-B941-5DDFEDA516F1}"/>
          </ac:picMkLst>
        </pc:picChg>
        <pc:picChg chg="mod">
          <ac:chgData name="Scott Corio" userId="dbe1492c70b6d8a8" providerId="LiveId" clId="{26B6202C-1B72-4C9C-8F83-0CEA0EB888C8}" dt="2024-08-10T18:22:48.752" v="473" actId="14100"/>
          <ac:picMkLst>
            <pc:docMk/>
            <pc:sldMk cId="1130039307" sldId="8339"/>
            <ac:picMk id="11" creationId="{0259C42C-76DA-C254-A381-E946F0FCD181}"/>
          </ac:picMkLst>
        </pc:picChg>
        <pc:picChg chg="mod">
          <ac:chgData name="Scott Corio" userId="dbe1492c70b6d8a8" providerId="LiveId" clId="{26B6202C-1B72-4C9C-8F83-0CEA0EB888C8}" dt="2024-08-10T18:22:48.752" v="473" actId="14100"/>
          <ac:picMkLst>
            <pc:docMk/>
            <pc:sldMk cId="1130039307" sldId="8339"/>
            <ac:picMk id="12" creationId="{B28682D9-C8CB-CE7B-1B18-82FF6148EA8F}"/>
          </ac:picMkLst>
        </pc:picChg>
        <pc:picChg chg="mod">
          <ac:chgData name="Scott Corio" userId="dbe1492c70b6d8a8" providerId="LiveId" clId="{26B6202C-1B72-4C9C-8F83-0CEA0EB888C8}" dt="2024-08-10T18:22:48.752" v="473" actId="14100"/>
          <ac:picMkLst>
            <pc:docMk/>
            <pc:sldMk cId="1130039307" sldId="8339"/>
            <ac:picMk id="14" creationId="{8186741F-EF6A-A490-BC42-231C2F793324}"/>
          </ac:picMkLst>
        </pc:picChg>
        <pc:picChg chg="mod">
          <ac:chgData name="Scott Corio" userId="dbe1492c70b6d8a8" providerId="LiveId" clId="{26B6202C-1B72-4C9C-8F83-0CEA0EB888C8}" dt="2024-08-10T18:22:48.752" v="473" actId="14100"/>
          <ac:picMkLst>
            <pc:docMk/>
            <pc:sldMk cId="1130039307" sldId="8339"/>
            <ac:picMk id="18" creationId="{DD00E234-83EB-BB3A-2BA1-9E861ADD57E1}"/>
          </ac:picMkLst>
        </pc:picChg>
        <pc:cxnChg chg="mod">
          <ac:chgData name="Scott Corio" userId="dbe1492c70b6d8a8" providerId="LiveId" clId="{26B6202C-1B72-4C9C-8F83-0CEA0EB888C8}" dt="2024-08-10T18:22:48.752" v="473" actId="14100"/>
          <ac:cxnSpMkLst>
            <pc:docMk/>
            <pc:sldMk cId="1130039307" sldId="8339"/>
            <ac:cxnSpMk id="29" creationId="{B667FDC3-2D78-32EB-E2E3-524F1E63A54C}"/>
          </ac:cxnSpMkLst>
        </pc:cxnChg>
        <pc:cxnChg chg="mod">
          <ac:chgData name="Scott Corio" userId="dbe1492c70b6d8a8" providerId="LiveId" clId="{26B6202C-1B72-4C9C-8F83-0CEA0EB888C8}" dt="2024-08-10T18:22:48.752" v="473" actId="14100"/>
          <ac:cxnSpMkLst>
            <pc:docMk/>
            <pc:sldMk cId="1130039307" sldId="8339"/>
            <ac:cxnSpMk id="31" creationId="{B23530F7-FDC4-ABDE-84A4-D1D384436444}"/>
          </ac:cxnSpMkLst>
        </pc:cxnChg>
        <pc:cxnChg chg="mod">
          <ac:chgData name="Scott Corio" userId="dbe1492c70b6d8a8" providerId="LiveId" clId="{26B6202C-1B72-4C9C-8F83-0CEA0EB888C8}" dt="2024-08-10T18:22:48.752" v="473" actId="14100"/>
          <ac:cxnSpMkLst>
            <pc:docMk/>
            <pc:sldMk cId="1130039307" sldId="8339"/>
            <ac:cxnSpMk id="33" creationId="{1ADAA895-2642-8FB4-20BB-D72EBA49EC57}"/>
          </ac:cxnSpMkLst>
        </pc:cxnChg>
        <pc:cxnChg chg="mod">
          <ac:chgData name="Scott Corio" userId="dbe1492c70b6d8a8" providerId="LiveId" clId="{26B6202C-1B72-4C9C-8F83-0CEA0EB888C8}" dt="2024-08-10T18:22:48.752" v="473" actId="14100"/>
          <ac:cxnSpMkLst>
            <pc:docMk/>
            <pc:sldMk cId="1130039307" sldId="8339"/>
            <ac:cxnSpMk id="52" creationId="{E2B783C5-E135-1BFC-1398-32529636BE92}"/>
          </ac:cxnSpMkLst>
        </pc:cxnChg>
      </pc:sldChg>
      <pc:sldChg chg="modSp mod chgLayout">
        <pc:chgData name="Scott Corio" userId="dbe1492c70b6d8a8" providerId="LiveId" clId="{26B6202C-1B72-4C9C-8F83-0CEA0EB888C8}" dt="2024-08-10T18:34:17.724" v="962" actId="26606"/>
        <pc:sldMkLst>
          <pc:docMk/>
          <pc:sldMk cId="4062594162" sldId="8340"/>
        </pc:sldMkLst>
        <pc:spChg chg="mod ord">
          <ac:chgData name="Scott Corio" userId="dbe1492c70b6d8a8" providerId="LiveId" clId="{26B6202C-1B72-4C9C-8F83-0CEA0EB888C8}" dt="2024-08-10T18:34:17.724" v="962" actId="26606"/>
          <ac:spMkLst>
            <pc:docMk/>
            <pc:sldMk cId="4062594162" sldId="8340"/>
            <ac:spMk id="3" creationId="{F5B299AA-BAE6-9970-9AE1-0795DCB9640F}"/>
          </ac:spMkLst>
        </pc:spChg>
        <pc:spChg chg="mod ord">
          <ac:chgData name="Scott Corio" userId="dbe1492c70b6d8a8" providerId="LiveId" clId="{26B6202C-1B72-4C9C-8F83-0CEA0EB888C8}" dt="2024-08-10T18:34:17.724" v="962" actId="26606"/>
          <ac:spMkLst>
            <pc:docMk/>
            <pc:sldMk cId="4062594162" sldId="8340"/>
            <ac:spMk id="4" creationId="{ABBAE6A8-A214-7F93-DBB4-9DA69B6C5E42}"/>
          </ac:spMkLst>
        </pc:spChg>
      </pc:sldChg>
      <pc:sldChg chg="del">
        <pc:chgData name="Scott Corio" userId="dbe1492c70b6d8a8" providerId="LiveId" clId="{26B6202C-1B72-4C9C-8F83-0CEA0EB888C8}" dt="2024-08-10T18:25:55.749" v="902"/>
        <pc:sldMkLst>
          <pc:docMk/>
          <pc:sldMk cId="3887879634" sldId="9936"/>
        </pc:sldMkLst>
      </pc:sldChg>
      <pc:sldChg chg="modSp del mod modTransition chgLayout">
        <pc:chgData name="Scott Corio" userId="dbe1492c70b6d8a8" providerId="LiveId" clId="{26B6202C-1B72-4C9C-8F83-0CEA0EB888C8}" dt="2024-08-10T18:34:00.771" v="945" actId="27636"/>
        <pc:sldMkLst>
          <pc:docMk/>
          <pc:sldMk cId="1662371395" sldId="9937"/>
        </pc:sldMkLst>
        <pc:spChg chg="mod ord">
          <ac:chgData name="Scott Corio" userId="dbe1492c70b6d8a8" providerId="LiveId" clId="{26B6202C-1B72-4C9C-8F83-0CEA0EB888C8}" dt="2024-08-10T18:34:00.771" v="945" actId="27636"/>
          <ac:spMkLst>
            <pc:docMk/>
            <pc:sldMk cId="1662371395" sldId="9937"/>
            <ac:spMk id="3" creationId="{AB979E0B-E038-9C7B-E137-972CC00305E5}"/>
          </ac:spMkLst>
        </pc:spChg>
        <pc:spChg chg="mod ord">
          <ac:chgData name="Scott Corio" userId="dbe1492c70b6d8a8" providerId="LiveId" clId="{26B6202C-1B72-4C9C-8F83-0CEA0EB888C8}" dt="2024-08-10T18:34:00.667" v="944" actId="700"/>
          <ac:spMkLst>
            <pc:docMk/>
            <pc:sldMk cId="1662371395" sldId="9937"/>
            <ac:spMk id="4" creationId="{D25881E0-25B3-E020-7B0D-659457D093FD}"/>
          </ac:spMkLst>
        </pc:spChg>
      </pc:sldChg>
      <pc:sldChg chg="mod modShow">
        <pc:chgData name="Scott Corio" userId="dbe1492c70b6d8a8" providerId="LiveId" clId="{26B6202C-1B72-4C9C-8F83-0CEA0EB888C8}" dt="2024-08-10T18:33:22.602" v="940" actId="729"/>
        <pc:sldMkLst>
          <pc:docMk/>
          <pc:sldMk cId="1059462186" sldId="9938"/>
        </pc:sldMkLst>
      </pc:sldChg>
      <pc:sldChg chg="delSp modSp mod chgLayout">
        <pc:chgData name="Scott Corio" userId="dbe1492c70b6d8a8" providerId="LiveId" clId="{26B6202C-1B72-4C9C-8F83-0CEA0EB888C8}" dt="2024-08-10T18:37:47.015" v="994" actId="700"/>
        <pc:sldMkLst>
          <pc:docMk/>
          <pc:sldMk cId="4274313315" sldId="9939"/>
        </pc:sldMkLst>
        <pc:spChg chg="mod ord">
          <ac:chgData name="Scott Corio" userId="dbe1492c70b6d8a8" providerId="LiveId" clId="{26B6202C-1B72-4C9C-8F83-0CEA0EB888C8}" dt="2024-08-10T18:37:47.015" v="994" actId="700"/>
          <ac:spMkLst>
            <pc:docMk/>
            <pc:sldMk cId="4274313315" sldId="9939"/>
            <ac:spMk id="3" creationId="{C3620511-3BAF-8F8D-62A1-392EE154D456}"/>
          </ac:spMkLst>
        </pc:spChg>
        <pc:spChg chg="del">
          <ac:chgData name="Scott Corio" userId="dbe1492c70b6d8a8" providerId="LiveId" clId="{26B6202C-1B72-4C9C-8F83-0CEA0EB888C8}" dt="2024-08-10T18:37:47.015" v="994" actId="700"/>
          <ac:spMkLst>
            <pc:docMk/>
            <pc:sldMk cId="4274313315" sldId="9939"/>
            <ac:spMk id="4" creationId="{34C7379B-27EF-8C64-9791-471204DD16D3}"/>
          </ac:spMkLst>
        </pc:spChg>
      </pc:sldChg>
      <pc:sldChg chg="modSp mod chgLayout">
        <pc:chgData name="Scott Corio" userId="dbe1492c70b6d8a8" providerId="LiveId" clId="{26B6202C-1B72-4C9C-8F83-0CEA0EB888C8}" dt="2024-08-10T18:40:47.500" v="1013" actId="700"/>
        <pc:sldMkLst>
          <pc:docMk/>
          <pc:sldMk cId="1250563167" sldId="9940"/>
        </pc:sldMkLst>
        <pc:spChg chg="mod ord">
          <ac:chgData name="Scott Corio" userId="dbe1492c70b6d8a8" providerId="LiveId" clId="{26B6202C-1B72-4C9C-8F83-0CEA0EB888C8}" dt="2024-08-10T18:40:47.500" v="1013" actId="700"/>
          <ac:spMkLst>
            <pc:docMk/>
            <pc:sldMk cId="1250563167" sldId="9940"/>
            <ac:spMk id="3" creationId="{EC018137-0126-53E7-96C8-2F204D4E626A}"/>
          </ac:spMkLst>
        </pc:spChg>
        <pc:spChg chg="mod ord">
          <ac:chgData name="Scott Corio" userId="dbe1492c70b6d8a8" providerId="LiveId" clId="{26B6202C-1B72-4C9C-8F83-0CEA0EB888C8}" dt="2024-08-10T18:40:47.500" v="1013" actId="700"/>
          <ac:spMkLst>
            <pc:docMk/>
            <pc:sldMk cId="1250563167" sldId="9940"/>
            <ac:spMk id="4" creationId="{150CC451-B5A8-351B-13FD-E0D0EE2CE32C}"/>
          </ac:spMkLst>
        </pc:spChg>
      </pc:sldChg>
      <pc:sldChg chg="modSp mod">
        <pc:chgData name="Scott Corio" userId="dbe1492c70b6d8a8" providerId="LiveId" clId="{26B6202C-1B72-4C9C-8F83-0CEA0EB888C8}" dt="2024-08-10T18:25:24.944" v="901" actId="20577"/>
        <pc:sldMkLst>
          <pc:docMk/>
          <pc:sldMk cId="3505503532" sldId="9944"/>
        </pc:sldMkLst>
        <pc:spChg chg="mod">
          <ac:chgData name="Scott Corio" userId="dbe1492c70b6d8a8" providerId="LiveId" clId="{26B6202C-1B72-4C9C-8F83-0CEA0EB888C8}" dt="2024-08-10T18:23:33.262" v="483" actId="20577"/>
          <ac:spMkLst>
            <pc:docMk/>
            <pc:sldMk cId="3505503532" sldId="9944"/>
            <ac:spMk id="2" creationId="{6B1D9405-BC82-AD92-AD85-DF2A94CE2058}"/>
          </ac:spMkLst>
        </pc:spChg>
        <pc:spChg chg="mod">
          <ac:chgData name="Scott Corio" userId="dbe1492c70b6d8a8" providerId="LiveId" clId="{26B6202C-1B72-4C9C-8F83-0CEA0EB888C8}" dt="2024-08-10T18:25:24.944" v="901" actId="20577"/>
          <ac:spMkLst>
            <pc:docMk/>
            <pc:sldMk cId="3505503532" sldId="9944"/>
            <ac:spMk id="3" creationId="{A5E7E432-D35F-DD14-DCE8-2E67DE258124}"/>
          </ac:spMkLst>
        </pc:spChg>
      </pc:sldChg>
      <pc:sldChg chg="modSp mod">
        <pc:chgData name="Scott Corio" userId="dbe1492c70b6d8a8" providerId="LiveId" clId="{26B6202C-1B72-4C9C-8F83-0CEA0EB888C8}" dt="2024-08-10T18:18:19.369" v="461" actId="1036"/>
        <pc:sldMkLst>
          <pc:docMk/>
          <pc:sldMk cId="1227670318" sldId="2147483507"/>
        </pc:sldMkLst>
        <pc:spChg chg="mod">
          <ac:chgData name="Scott Corio" userId="dbe1492c70b6d8a8" providerId="LiveId" clId="{26B6202C-1B72-4C9C-8F83-0CEA0EB888C8}" dt="2024-08-10T18:18:19.369" v="461" actId="1036"/>
          <ac:spMkLst>
            <pc:docMk/>
            <pc:sldMk cId="1227670318" sldId="2147483507"/>
            <ac:spMk id="564" creationId="{DB1195C2-B1A8-CEB1-6207-F369435669C7}"/>
          </ac:spMkLst>
        </pc:spChg>
      </pc:sldChg>
      <pc:sldChg chg="modSp mod modTransition chgLayout">
        <pc:chgData name="Scott Corio" userId="dbe1492c70b6d8a8" providerId="LiveId" clId="{26B6202C-1B72-4C9C-8F83-0CEA0EB888C8}" dt="2024-08-10T18:34:43.379" v="982" actId="27636"/>
        <pc:sldMkLst>
          <pc:docMk/>
          <pc:sldMk cId="2998567692" sldId="2147483508"/>
        </pc:sldMkLst>
        <pc:spChg chg="mod ord">
          <ac:chgData name="Scott Corio" userId="dbe1492c70b6d8a8" providerId="LiveId" clId="{26B6202C-1B72-4C9C-8F83-0CEA0EB888C8}" dt="2024-08-10T18:34:43.379" v="982" actId="27636"/>
          <ac:spMkLst>
            <pc:docMk/>
            <pc:sldMk cId="2998567692" sldId="2147483508"/>
            <ac:spMk id="4" creationId="{526BC2B6-AE2C-3E1D-788D-592ABCDC14E7}"/>
          </ac:spMkLst>
        </pc:spChg>
        <pc:spChg chg="mod ord">
          <ac:chgData name="Scott Corio" userId="dbe1492c70b6d8a8" providerId="LiveId" clId="{26B6202C-1B72-4C9C-8F83-0CEA0EB888C8}" dt="2024-08-10T18:34:43.350" v="981" actId="700"/>
          <ac:spMkLst>
            <pc:docMk/>
            <pc:sldMk cId="2998567692" sldId="2147483508"/>
            <ac:spMk id="5" creationId="{CE5050AF-7D60-7B16-0E17-6467A67E504A}"/>
          </ac:spMkLst>
        </pc:spChg>
      </pc:sldChg>
      <pc:sldChg chg="del">
        <pc:chgData name="Scott Corio" userId="dbe1492c70b6d8a8" providerId="LiveId" clId="{26B6202C-1B72-4C9C-8F83-0CEA0EB888C8}" dt="2024-08-10T18:28:20.829" v="910"/>
        <pc:sldMkLst>
          <pc:docMk/>
          <pc:sldMk cId="634716275" sldId="2147483509"/>
        </pc:sldMkLst>
      </pc:sldChg>
      <pc:sldChg chg="addSp delSp modSp new mod chgLayout">
        <pc:chgData name="Scott Corio" userId="dbe1492c70b6d8a8" providerId="LiveId" clId="{26B6202C-1B72-4C9C-8F83-0CEA0EB888C8}" dt="2024-08-10T18:34:08.178" v="961" actId="20577"/>
        <pc:sldMkLst>
          <pc:docMk/>
          <pc:sldMk cId="797084639" sldId="2147483509"/>
        </pc:sldMkLst>
        <pc:spChg chg="del mod ord">
          <ac:chgData name="Scott Corio" userId="dbe1492c70b6d8a8" providerId="LiveId" clId="{26B6202C-1B72-4C9C-8F83-0CEA0EB888C8}" dt="2024-08-10T18:33:31.312" v="942" actId="700"/>
          <ac:spMkLst>
            <pc:docMk/>
            <pc:sldMk cId="797084639" sldId="2147483509"/>
            <ac:spMk id="2" creationId="{51B097E6-FA8D-19A7-D55E-1A04E28A310F}"/>
          </ac:spMkLst>
        </pc:spChg>
        <pc:spChg chg="del mod ord">
          <ac:chgData name="Scott Corio" userId="dbe1492c70b6d8a8" providerId="LiveId" clId="{26B6202C-1B72-4C9C-8F83-0CEA0EB888C8}" dt="2024-08-10T18:33:31.312" v="942" actId="700"/>
          <ac:spMkLst>
            <pc:docMk/>
            <pc:sldMk cId="797084639" sldId="2147483509"/>
            <ac:spMk id="3" creationId="{CCCC206E-D4E0-C368-EAA2-7DF2D07475C1}"/>
          </ac:spMkLst>
        </pc:spChg>
        <pc:spChg chg="add del mod ord">
          <ac:chgData name="Scott Corio" userId="dbe1492c70b6d8a8" providerId="LiveId" clId="{26B6202C-1B72-4C9C-8F83-0CEA0EB888C8}" dt="2024-08-10T18:33:53.586" v="943" actId="700"/>
          <ac:spMkLst>
            <pc:docMk/>
            <pc:sldMk cId="797084639" sldId="2147483509"/>
            <ac:spMk id="4" creationId="{7030AD43-F63B-617B-41BC-C974F749920C}"/>
          </ac:spMkLst>
        </pc:spChg>
        <pc:spChg chg="add del mod ord">
          <ac:chgData name="Scott Corio" userId="dbe1492c70b6d8a8" providerId="LiveId" clId="{26B6202C-1B72-4C9C-8F83-0CEA0EB888C8}" dt="2024-08-10T18:33:53.586" v="943" actId="700"/>
          <ac:spMkLst>
            <pc:docMk/>
            <pc:sldMk cId="797084639" sldId="2147483509"/>
            <ac:spMk id="5" creationId="{E843F6A4-8727-81FE-9395-D9EA6770C754}"/>
          </ac:spMkLst>
        </pc:spChg>
        <pc:spChg chg="add mod ord">
          <ac:chgData name="Scott Corio" userId="dbe1492c70b6d8a8" providerId="LiveId" clId="{26B6202C-1B72-4C9C-8F83-0CEA0EB888C8}" dt="2024-08-10T18:34:08.178" v="961" actId="20577"/>
          <ac:spMkLst>
            <pc:docMk/>
            <pc:sldMk cId="797084639" sldId="2147483509"/>
            <ac:spMk id="6" creationId="{985F5A9E-8C71-5C04-E549-6455C8C7E065}"/>
          </ac:spMkLst>
        </pc:spChg>
      </pc:sldChg>
      <pc:sldChg chg="del">
        <pc:chgData name="Scott Corio" userId="dbe1492c70b6d8a8" providerId="LiveId" clId="{26B6202C-1B72-4C9C-8F83-0CEA0EB888C8}" dt="2024-08-10T18:25:55.749" v="902"/>
        <pc:sldMkLst>
          <pc:docMk/>
          <pc:sldMk cId="3282189791" sldId="2147483509"/>
        </pc:sldMkLst>
      </pc:sldChg>
      <pc:sldChg chg="del">
        <pc:chgData name="Scott Corio" userId="dbe1492c70b6d8a8" providerId="LiveId" clId="{26B6202C-1B72-4C9C-8F83-0CEA0EB888C8}" dt="2024-08-10T18:25:55.749" v="902"/>
        <pc:sldMkLst>
          <pc:docMk/>
          <pc:sldMk cId="808906921" sldId="2147483510"/>
        </pc:sldMkLst>
      </pc:sldChg>
      <pc:sldChg chg="addSp delSp modSp new mod modClrScheme chgLayout">
        <pc:chgData name="Scott Corio" userId="dbe1492c70b6d8a8" providerId="LiveId" clId="{26B6202C-1B72-4C9C-8F83-0CEA0EB888C8}" dt="2024-08-10T18:34:36.557" v="980" actId="20577"/>
        <pc:sldMkLst>
          <pc:docMk/>
          <pc:sldMk cId="1250996458" sldId="2147483510"/>
        </pc:sldMkLst>
        <pc:spChg chg="del mod ord">
          <ac:chgData name="Scott Corio" userId="dbe1492c70b6d8a8" providerId="LiveId" clId="{26B6202C-1B72-4C9C-8F83-0CEA0EB888C8}" dt="2024-08-10T18:34:31.817" v="964" actId="700"/>
          <ac:spMkLst>
            <pc:docMk/>
            <pc:sldMk cId="1250996458" sldId="2147483510"/>
            <ac:spMk id="2" creationId="{1CCBF04F-5187-09C8-012B-404808E30DAB}"/>
          </ac:spMkLst>
        </pc:spChg>
        <pc:spChg chg="del">
          <ac:chgData name="Scott Corio" userId="dbe1492c70b6d8a8" providerId="LiveId" clId="{26B6202C-1B72-4C9C-8F83-0CEA0EB888C8}" dt="2024-08-10T18:34:31.817" v="964" actId="700"/>
          <ac:spMkLst>
            <pc:docMk/>
            <pc:sldMk cId="1250996458" sldId="2147483510"/>
            <ac:spMk id="3" creationId="{00E5B16B-4537-22A5-B9D0-9E39CC3A3953}"/>
          </ac:spMkLst>
        </pc:spChg>
        <pc:spChg chg="add mod ord">
          <ac:chgData name="Scott Corio" userId="dbe1492c70b6d8a8" providerId="LiveId" clId="{26B6202C-1B72-4C9C-8F83-0CEA0EB888C8}" dt="2024-08-10T18:34:36.557" v="980" actId="20577"/>
          <ac:spMkLst>
            <pc:docMk/>
            <pc:sldMk cId="1250996458" sldId="2147483510"/>
            <ac:spMk id="4" creationId="{008BD3A9-215F-FFCC-C1A7-0C1D02803A51}"/>
          </ac:spMkLst>
        </pc:spChg>
      </pc:sldChg>
      <pc:sldChg chg="del">
        <pc:chgData name="Scott Corio" userId="dbe1492c70b6d8a8" providerId="LiveId" clId="{26B6202C-1B72-4C9C-8F83-0CEA0EB888C8}" dt="2024-08-10T18:28:20.829" v="910"/>
        <pc:sldMkLst>
          <pc:docMk/>
          <pc:sldMk cId="4155227610" sldId="2147483510"/>
        </pc:sldMkLst>
      </pc:sldChg>
      <pc:sldChg chg="del">
        <pc:chgData name="Scott Corio" userId="dbe1492c70b6d8a8" providerId="LiveId" clId="{26B6202C-1B72-4C9C-8F83-0CEA0EB888C8}" dt="2024-08-10T18:28:20.829" v="910"/>
        <pc:sldMkLst>
          <pc:docMk/>
          <pc:sldMk cId="1403414998" sldId="2147483511"/>
        </pc:sldMkLst>
      </pc:sldChg>
      <pc:sldChg chg="del">
        <pc:chgData name="Scott Corio" userId="dbe1492c70b6d8a8" providerId="LiveId" clId="{26B6202C-1B72-4C9C-8F83-0CEA0EB888C8}" dt="2024-08-10T18:25:55.749" v="902"/>
        <pc:sldMkLst>
          <pc:docMk/>
          <pc:sldMk cId="2545525951" sldId="2147483511"/>
        </pc:sldMkLst>
      </pc:sldChg>
      <pc:sldChg chg="addSp delSp modSp new mod chgLayout">
        <pc:chgData name="Scott Corio" userId="dbe1492c70b6d8a8" providerId="LiveId" clId="{26B6202C-1B72-4C9C-8F83-0CEA0EB888C8}" dt="2024-08-10T18:41:14.547" v="1041" actId="20577"/>
        <pc:sldMkLst>
          <pc:docMk/>
          <pc:sldMk cId="3659417936" sldId="2147483511"/>
        </pc:sldMkLst>
        <pc:spChg chg="del mod ord">
          <ac:chgData name="Scott Corio" userId="dbe1492c70b6d8a8" providerId="LiveId" clId="{26B6202C-1B72-4C9C-8F83-0CEA0EB888C8}" dt="2024-08-10T18:41:06.315" v="1015" actId="700"/>
          <ac:spMkLst>
            <pc:docMk/>
            <pc:sldMk cId="3659417936" sldId="2147483511"/>
            <ac:spMk id="2" creationId="{4DA8741C-44F3-1923-604C-E71146C2DE54}"/>
          </ac:spMkLst>
        </pc:spChg>
        <pc:spChg chg="del">
          <ac:chgData name="Scott Corio" userId="dbe1492c70b6d8a8" providerId="LiveId" clId="{26B6202C-1B72-4C9C-8F83-0CEA0EB888C8}" dt="2024-08-10T18:41:06.315" v="1015" actId="700"/>
          <ac:spMkLst>
            <pc:docMk/>
            <pc:sldMk cId="3659417936" sldId="2147483511"/>
            <ac:spMk id="3" creationId="{B2F2B10B-AC53-C814-D051-8AA5646A3035}"/>
          </ac:spMkLst>
        </pc:spChg>
        <pc:spChg chg="add mod ord">
          <ac:chgData name="Scott Corio" userId="dbe1492c70b6d8a8" providerId="LiveId" clId="{26B6202C-1B72-4C9C-8F83-0CEA0EB888C8}" dt="2024-08-10T18:41:14.547" v="1041" actId="20577"/>
          <ac:spMkLst>
            <pc:docMk/>
            <pc:sldMk cId="3659417936" sldId="2147483511"/>
            <ac:spMk id="4" creationId="{AC723D5E-29B1-5733-90EF-AF8B867FB2E8}"/>
          </ac:spMkLst>
        </pc:spChg>
      </pc:sldChg>
      <pc:sldChg chg="addSp delSp modSp new mod modClrScheme chgLayout">
        <pc:chgData name="Scott Corio" userId="dbe1492c70b6d8a8" providerId="LiveId" clId="{26B6202C-1B72-4C9C-8F83-0CEA0EB888C8}" dt="2024-08-10T18:44:28.525" v="1351" actId="20577"/>
        <pc:sldMkLst>
          <pc:docMk/>
          <pc:sldMk cId="2307917506" sldId="2147483512"/>
        </pc:sldMkLst>
        <pc:spChg chg="del">
          <ac:chgData name="Scott Corio" userId="dbe1492c70b6d8a8" providerId="LiveId" clId="{26B6202C-1B72-4C9C-8F83-0CEA0EB888C8}" dt="2024-08-10T18:41:47.195" v="1043" actId="700"/>
          <ac:spMkLst>
            <pc:docMk/>
            <pc:sldMk cId="2307917506" sldId="2147483512"/>
            <ac:spMk id="2" creationId="{AD42DD89-B31C-C25A-20C7-B904DD72254E}"/>
          </ac:spMkLst>
        </pc:spChg>
        <pc:spChg chg="add mod">
          <ac:chgData name="Scott Corio" userId="dbe1492c70b6d8a8" providerId="LiveId" clId="{26B6202C-1B72-4C9C-8F83-0CEA0EB888C8}" dt="2024-08-10T18:42:20.347" v="1095" actId="20577"/>
          <ac:spMkLst>
            <pc:docMk/>
            <pc:sldMk cId="2307917506" sldId="2147483512"/>
            <ac:spMk id="3" creationId="{47A0A7D4-8CE1-9CB1-F7FC-F99883E02DC8}"/>
          </ac:spMkLst>
        </pc:spChg>
        <pc:spChg chg="add mod">
          <ac:chgData name="Scott Corio" userId="dbe1492c70b6d8a8" providerId="LiveId" clId="{26B6202C-1B72-4C9C-8F83-0CEA0EB888C8}" dt="2024-08-10T18:44:28.525" v="1351" actId="20577"/>
          <ac:spMkLst>
            <pc:docMk/>
            <pc:sldMk cId="2307917506" sldId="2147483512"/>
            <ac:spMk id="4" creationId="{22BEF636-E0C6-4004-9F17-88416F53BE95}"/>
          </ac:spMkLst>
        </pc:spChg>
        <pc:spChg chg="add mod">
          <ac:chgData name="Scott Corio" userId="dbe1492c70b6d8a8" providerId="LiveId" clId="{26B6202C-1B72-4C9C-8F83-0CEA0EB888C8}" dt="2024-08-10T18:43:49.654" v="1294" actId="207"/>
          <ac:spMkLst>
            <pc:docMk/>
            <pc:sldMk cId="2307917506" sldId="2147483512"/>
            <ac:spMk id="5" creationId="{E3E71DE2-C044-3C46-E436-7E9BC55A972E}"/>
          </ac:spMkLst>
        </pc:spChg>
      </pc:sldChg>
      <pc:sldChg chg="del">
        <pc:chgData name="Scott Corio" userId="dbe1492c70b6d8a8" providerId="LiveId" clId="{26B6202C-1B72-4C9C-8F83-0CEA0EB888C8}" dt="2024-08-10T18:25:55.749" v="902"/>
        <pc:sldMkLst>
          <pc:docMk/>
          <pc:sldMk cId="3464323786" sldId="2147483512"/>
        </pc:sldMkLst>
      </pc:sldChg>
      <pc:sldChg chg="del">
        <pc:chgData name="Scott Corio" userId="dbe1492c70b6d8a8" providerId="LiveId" clId="{26B6202C-1B72-4C9C-8F83-0CEA0EB888C8}" dt="2024-08-10T18:25:55.749" v="902"/>
        <pc:sldMkLst>
          <pc:docMk/>
          <pc:sldMk cId="2225038531" sldId="2147483513"/>
        </pc:sldMkLst>
      </pc:sldChg>
      <pc:sldChg chg="new del">
        <pc:chgData name="Scott Corio" userId="dbe1492c70b6d8a8" providerId="LiveId" clId="{26B6202C-1B72-4C9C-8F83-0CEA0EB888C8}" dt="2024-08-10T18:44:48.819" v="1354" actId="47"/>
        <pc:sldMkLst>
          <pc:docMk/>
          <pc:sldMk cId="3425393361" sldId="2147483513"/>
        </pc:sldMkLst>
      </pc:sldChg>
      <pc:sldChg chg="addSp delSp modSp new mod chgLayout">
        <pc:chgData name="Scott Corio" userId="dbe1492c70b6d8a8" providerId="LiveId" clId="{26B6202C-1B72-4C9C-8F83-0CEA0EB888C8}" dt="2024-08-10T18:45:42.503" v="1456" actId="5793"/>
        <pc:sldMkLst>
          <pc:docMk/>
          <pc:sldMk cId="3451904636" sldId="2147483513"/>
        </pc:sldMkLst>
        <pc:spChg chg="del mod ord">
          <ac:chgData name="Scott Corio" userId="dbe1492c70b6d8a8" providerId="LiveId" clId="{26B6202C-1B72-4C9C-8F83-0CEA0EB888C8}" dt="2024-08-10T18:45:05.575" v="1356" actId="700"/>
          <ac:spMkLst>
            <pc:docMk/>
            <pc:sldMk cId="3451904636" sldId="2147483513"/>
            <ac:spMk id="2" creationId="{BABA9191-F963-0999-B812-45871911D35F}"/>
          </ac:spMkLst>
        </pc:spChg>
        <pc:spChg chg="del mod ord">
          <ac:chgData name="Scott Corio" userId="dbe1492c70b6d8a8" providerId="LiveId" clId="{26B6202C-1B72-4C9C-8F83-0CEA0EB888C8}" dt="2024-08-10T18:45:05.575" v="1356" actId="700"/>
          <ac:spMkLst>
            <pc:docMk/>
            <pc:sldMk cId="3451904636" sldId="2147483513"/>
            <ac:spMk id="3" creationId="{D86EB746-846B-635F-6BA1-F61E5FC0DDCE}"/>
          </ac:spMkLst>
        </pc:spChg>
        <pc:spChg chg="add mod ord">
          <ac:chgData name="Scott Corio" userId="dbe1492c70b6d8a8" providerId="LiveId" clId="{26B6202C-1B72-4C9C-8F83-0CEA0EB888C8}" dt="2024-08-10T18:45:27.127" v="1410" actId="20577"/>
          <ac:spMkLst>
            <pc:docMk/>
            <pc:sldMk cId="3451904636" sldId="2147483513"/>
            <ac:spMk id="4" creationId="{092BB545-079C-ABBB-FE18-033E8099B899}"/>
          </ac:spMkLst>
        </pc:spChg>
        <pc:spChg chg="add mod ord">
          <ac:chgData name="Scott Corio" userId="dbe1492c70b6d8a8" providerId="LiveId" clId="{26B6202C-1B72-4C9C-8F83-0CEA0EB888C8}" dt="2024-08-10T18:45:42.503" v="1456" actId="5793"/>
          <ac:spMkLst>
            <pc:docMk/>
            <pc:sldMk cId="3451904636" sldId="2147483513"/>
            <ac:spMk id="5" creationId="{4ECE522F-6409-FA35-1B71-2C828762C7B1}"/>
          </ac:spMkLst>
        </pc:spChg>
      </pc:sldChg>
      <pc:sldChg chg="addSp delSp modSp new mod chgLayout">
        <pc:chgData name="Scott Corio" userId="dbe1492c70b6d8a8" providerId="LiveId" clId="{26B6202C-1B72-4C9C-8F83-0CEA0EB888C8}" dt="2024-08-10T18:46:07.082" v="1481" actId="20577"/>
        <pc:sldMkLst>
          <pc:docMk/>
          <pc:sldMk cId="3441406077" sldId="2147483514"/>
        </pc:sldMkLst>
        <pc:spChg chg="del mod ord">
          <ac:chgData name="Scott Corio" userId="dbe1492c70b6d8a8" providerId="LiveId" clId="{26B6202C-1B72-4C9C-8F83-0CEA0EB888C8}" dt="2024-08-10T18:46:01.922" v="1458" actId="700"/>
          <ac:spMkLst>
            <pc:docMk/>
            <pc:sldMk cId="3441406077" sldId="2147483514"/>
            <ac:spMk id="2" creationId="{546F51AD-8597-9993-0B51-0CF788D06BBE}"/>
          </ac:spMkLst>
        </pc:spChg>
        <pc:spChg chg="del">
          <ac:chgData name="Scott Corio" userId="dbe1492c70b6d8a8" providerId="LiveId" clId="{26B6202C-1B72-4C9C-8F83-0CEA0EB888C8}" dt="2024-08-10T18:46:01.922" v="1458" actId="700"/>
          <ac:spMkLst>
            <pc:docMk/>
            <pc:sldMk cId="3441406077" sldId="2147483514"/>
            <ac:spMk id="3" creationId="{05BE3333-31BD-BC8D-B9C4-7CE42B78E754}"/>
          </ac:spMkLst>
        </pc:spChg>
        <pc:spChg chg="add mod ord">
          <ac:chgData name="Scott Corio" userId="dbe1492c70b6d8a8" providerId="LiveId" clId="{26B6202C-1B72-4C9C-8F83-0CEA0EB888C8}" dt="2024-08-10T18:46:07.082" v="1481" actId="20577"/>
          <ac:spMkLst>
            <pc:docMk/>
            <pc:sldMk cId="3441406077" sldId="2147483514"/>
            <ac:spMk id="4" creationId="{A40AC657-93D6-8CC5-EF5C-216010D0211D}"/>
          </ac:spMkLst>
        </pc:spChg>
      </pc:sldChg>
      <pc:sldChg chg="del">
        <pc:chgData name="Scott Corio" userId="dbe1492c70b6d8a8" providerId="LiveId" clId="{26B6202C-1B72-4C9C-8F83-0CEA0EB888C8}" dt="2024-08-10T18:46:32.352" v="1483" actId="47"/>
        <pc:sldMkLst>
          <pc:docMk/>
          <pc:sldMk cId="486775256" sldId="2147483515"/>
        </pc:sldMkLst>
      </pc:sldChg>
      <pc:sldChg chg="addSp delSp modSp new mod chgLayout">
        <pc:chgData name="Scott Corio" userId="dbe1492c70b6d8a8" providerId="LiveId" clId="{26B6202C-1B72-4C9C-8F83-0CEA0EB888C8}" dt="2024-08-10T18:48:09.713" v="1647" actId="20577"/>
        <pc:sldMkLst>
          <pc:docMk/>
          <pc:sldMk cId="4275305724" sldId="2147483515"/>
        </pc:sldMkLst>
        <pc:spChg chg="del mod ord">
          <ac:chgData name="Scott Corio" userId="dbe1492c70b6d8a8" providerId="LiveId" clId="{26B6202C-1B72-4C9C-8F83-0CEA0EB888C8}" dt="2024-08-10T18:47:28.409" v="1489" actId="700"/>
          <ac:spMkLst>
            <pc:docMk/>
            <pc:sldMk cId="4275305724" sldId="2147483515"/>
            <ac:spMk id="2" creationId="{AA1B270E-0033-059A-296E-D2D0356667B4}"/>
          </ac:spMkLst>
        </pc:spChg>
        <pc:spChg chg="add mod ord">
          <ac:chgData name="Scott Corio" userId="dbe1492c70b6d8a8" providerId="LiveId" clId="{26B6202C-1B72-4C9C-8F83-0CEA0EB888C8}" dt="2024-08-10T18:47:31.520" v="1497" actId="20577"/>
          <ac:spMkLst>
            <pc:docMk/>
            <pc:sldMk cId="4275305724" sldId="2147483515"/>
            <ac:spMk id="3" creationId="{A7EA1BC7-EE96-B648-A71C-BB2FB84C653E}"/>
          </ac:spMkLst>
        </pc:spChg>
        <pc:spChg chg="add mod ord">
          <ac:chgData name="Scott Corio" userId="dbe1492c70b6d8a8" providerId="LiveId" clId="{26B6202C-1B72-4C9C-8F83-0CEA0EB888C8}" dt="2024-08-10T18:48:09.713" v="1647" actId="20577"/>
          <ac:spMkLst>
            <pc:docMk/>
            <pc:sldMk cId="4275305724" sldId="2147483515"/>
            <ac:spMk id="4" creationId="{F2CFE375-4506-3419-8BED-B4D7245197C6}"/>
          </ac:spMkLst>
        </pc:spChg>
      </pc:sldChg>
      <pc:sldChg chg="addSp delSp modSp new mod chgLayout">
        <pc:chgData name="Scott Corio" userId="dbe1492c70b6d8a8" providerId="LiveId" clId="{26B6202C-1B72-4C9C-8F83-0CEA0EB888C8}" dt="2024-08-10T18:48:58.683" v="1674" actId="6549"/>
        <pc:sldMkLst>
          <pc:docMk/>
          <pc:sldMk cId="2344549084" sldId="2147483516"/>
        </pc:sldMkLst>
        <pc:spChg chg="del mod ord">
          <ac:chgData name="Scott Corio" userId="dbe1492c70b6d8a8" providerId="LiveId" clId="{26B6202C-1B72-4C9C-8F83-0CEA0EB888C8}" dt="2024-08-10T18:48:19.370" v="1649" actId="700"/>
          <ac:spMkLst>
            <pc:docMk/>
            <pc:sldMk cId="2344549084" sldId="2147483516"/>
            <ac:spMk id="2" creationId="{702A94EB-FF61-178B-E8B2-599E7D0EF2EA}"/>
          </ac:spMkLst>
        </pc:spChg>
        <pc:spChg chg="del mod ord">
          <ac:chgData name="Scott Corio" userId="dbe1492c70b6d8a8" providerId="LiveId" clId="{26B6202C-1B72-4C9C-8F83-0CEA0EB888C8}" dt="2024-08-10T18:48:19.370" v="1649" actId="700"/>
          <ac:spMkLst>
            <pc:docMk/>
            <pc:sldMk cId="2344549084" sldId="2147483516"/>
            <ac:spMk id="3" creationId="{17830898-96FF-073E-6794-30620800CBC2}"/>
          </ac:spMkLst>
        </pc:spChg>
        <pc:spChg chg="add mod ord">
          <ac:chgData name="Scott Corio" userId="dbe1492c70b6d8a8" providerId="LiveId" clId="{26B6202C-1B72-4C9C-8F83-0CEA0EB888C8}" dt="2024-08-10T18:48:58.683" v="1674" actId="6549"/>
          <ac:spMkLst>
            <pc:docMk/>
            <pc:sldMk cId="2344549084" sldId="2147483516"/>
            <ac:spMk id="4" creationId="{D3580EA1-442E-8831-FE97-3D94425F881C}"/>
          </ac:spMkLst>
        </pc:spChg>
        <pc:spChg chg="add del mod ord">
          <ac:chgData name="Scott Corio" userId="dbe1492c70b6d8a8" providerId="LiveId" clId="{26B6202C-1B72-4C9C-8F83-0CEA0EB888C8}" dt="2024-08-10T18:48:42.202" v="1653" actId="478"/>
          <ac:spMkLst>
            <pc:docMk/>
            <pc:sldMk cId="2344549084" sldId="2147483516"/>
            <ac:spMk id="5" creationId="{1D54F0A1-5CCA-B69C-0E97-209D7551457B}"/>
          </ac:spMkLst>
        </pc:spChg>
        <pc:spChg chg="add del mod ord">
          <ac:chgData name="Scott Corio" userId="dbe1492c70b6d8a8" providerId="LiveId" clId="{26B6202C-1B72-4C9C-8F83-0CEA0EB888C8}" dt="2024-08-10T18:48:43.425" v="1654" actId="478"/>
          <ac:spMkLst>
            <pc:docMk/>
            <pc:sldMk cId="2344549084" sldId="2147483516"/>
            <ac:spMk id="6" creationId="{267F8BBE-DB06-6B5D-C3CD-C9BACA0D7B8D}"/>
          </ac:spMkLst>
        </pc:spChg>
      </pc:sldChg>
      <pc:sldMasterChg chg="modSldLayout">
        <pc:chgData name="Scott Corio" userId="dbe1492c70b6d8a8" providerId="LiveId" clId="{26B6202C-1B72-4C9C-8F83-0CEA0EB888C8}" dt="2024-08-10T18:11:25.953" v="130" actId="20577"/>
        <pc:sldMasterMkLst>
          <pc:docMk/>
          <pc:sldMasterMk cId="2229270353" sldId="2147483660"/>
        </pc:sldMasterMkLst>
        <pc:sldLayoutChg chg="addSp delSp modSp mod">
          <pc:chgData name="Scott Corio" userId="dbe1492c70b6d8a8" providerId="LiveId" clId="{26B6202C-1B72-4C9C-8F83-0CEA0EB888C8}" dt="2024-08-10T18:11:25.953" v="130" actId="20577"/>
          <pc:sldLayoutMkLst>
            <pc:docMk/>
            <pc:sldMasterMk cId="2229270353" sldId="2147483660"/>
            <pc:sldLayoutMk cId="2193802512" sldId="2147483892"/>
          </pc:sldLayoutMkLst>
          <pc:spChg chg="del">
            <ac:chgData name="Scott Corio" userId="dbe1492c70b6d8a8" providerId="LiveId" clId="{26B6202C-1B72-4C9C-8F83-0CEA0EB888C8}" dt="2024-08-10T18:07:35.840" v="47" actId="478"/>
            <ac:spMkLst>
              <pc:docMk/>
              <pc:sldMasterMk cId="2229270353" sldId="2147483660"/>
              <pc:sldLayoutMk cId="2193802512" sldId="2147483892"/>
              <ac:spMk id="2" creationId="{F31AFE06-1FC8-BFD9-2A7D-9221E226351C}"/>
            </ac:spMkLst>
          </pc:spChg>
          <pc:spChg chg="add mod ord">
            <ac:chgData name="Scott Corio" userId="dbe1492c70b6d8a8" providerId="LiveId" clId="{26B6202C-1B72-4C9C-8F83-0CEA0EB888C8}" dt="2024-08-10T18:09:47.265" v="112" actId="167"/>
            <ac:spMkLst>
              <pc:docMk/>
              <pc:sldMasterMk cId="2229270353" sldId="2147483660"/>
              <pc:sldLayoutMk cId="2193802512" sldId="2147483892"/>
              <ac:spMk id="3" creationId="{7FF3B1D4-3D40-2348-FC3B-F469F167656E}"/>
            </ac:spMkLst>
          </pc:spChg>
          <pc:spChg chg="add mod">
            <ac:chgData name="Scott Corio" userId="dbe1492c70b6d8a8" providerId="LiveId" clId="{26B6202C-1B72-4C9C-8F83-0CEA0EB888C8}" dt="2024-08-10T18:11:16.697" v="125" actId="20577"/>
            <ac:spMkLst>
              <pc:docMk/>
              <pc:sldMasterMk cId="2229270353" sldId="2147483660"/>
              <pc:sldLayoutMk cId="2193802512" sldId="2147483892"/>
              <ac:spMk id="4" creationId="{DF085D5B-50D1-3A88-D52B-E03123524662}"/>
            </ac:spMkLst>
          </pc:spChg>
          <pc:spChg chg="add mod">
            <ac:chgData name="Scott Corio" userId="dbe1492c70b6d8a8" providerId="LiveId" clId="{26B6202C-1B72-4C9C-8F83-0CEA0EB888C8}" dt="2024-08-10T18:11:21.754" v="128" actId="20577"/>
            <ac:spMkLst>
              <pc:docMk/>
              <pc:sldMasterMk cId="2229270353" sldId="2147483660"/>
              <pc:sldLayoutMk cId="2193802512" sldId="2147483892"/>
              <ac:spMk id="5" creationId="{5B8BF086-D51D-1736-492D-C622310959AC}"/>
            </ac:spMkLst>
          </pc:spChg>
          <pc:spChg chg="add mod">
            <ac:chgData name="Scott Corio" userId="dbe1492c70b6d8a8" providerId="LiveId" clId="{26B6202C-1B72-4C9C-8F83-0CEA0EB888C8}" dt="2024-08-10T18:11:25.953" v="130" actId="20577"/>
            <ac:spMkLst>
              <pc:docMk/>
              <pc:sldMasterMk cId="2229270353" sldId="2147483660"/>
              <pc:sldLayoutMk cId="2193802512" sldId="2147483892"/>
              <ac:spMk id="10" creationId="{9FC5AAA1-155D-802D-D692-7F7F17C1A3DC}"/>
            </ac:spMkLst>
          </pc:spChg>
          <pc:spChg chg="add mod">
            <ac:chgData name="Scott Corio" userId="dbe1492c70b6d8a8" providerId="LiveId" clId="{26B6202C-1B72-4C9C-8F83-0CEA0EB888C8}" dt="2024-08-10T18:11:24.479" v="129" actId="20577"/>
            <ac:spMkLst>
              <pc:docMk/>
              <pc:sldMasterMk cId="2229270353" sldId="2147483660"/>
              <pc:sldLayoutMk cId="2193802512" sldId="2147483892"/>
              <ac:spMk id="12" creationId="{90482558-FAF5-5F86-17DE-B416A1071A2F}"/>
            </ac:spMkLst>
          </pc:spChg>
          <pc:spChg chg="mod">
            <ac:chgData name="Scott Corio" userId="dbe1492c70b6d8a8" providerId="LiveId" clId="{26B6202C-1B72-4C9C-8F83-0CEA0EB888C8}" dt="2024-08-10T18:10:50.755" v="119" actId="404"/>
            <ac:spMkLst>
              <pc:docMk/>
              <pc:sldMasterMk cId="2229270353" sldId="2147483660"/>
              <pc:sldLayoutMk cId="2193802512" sldId="2147483892"/>
              <ac:spMk id="14" creationId="{9F8AEAC0-EA47-3E03-DD03-32BFF97DDDE3}"/>
            </ac:spMkLst>
          </pc:spChg>
          <pc:spChg chg="add mod">
            <ac:chgData name="Scott Corio" userId="dbe1492c70b6d8a8" providerId="LiveId" clId="{26B6202C-1B72-4C9C-8F83-0CEA0EB888C8}" dt="2024-08-10T18:11:19.551" v="126" actId="20577"/>
            <ac:spMkLst>
              <pc:docMk/>
              <pc:sldMasterMk cId="2229270353" sldId="2147483660"/>
              <pc:sldLayoutMk cId="2193802512" sldId="2147483892"/>
              <ac:spMk id="17" creationId="{E01BB1AD-73D0-D4F1-8962-9BBB501B09B4}"/>
            </ac:spMkLst>
          </pc:spChg>
          <pc:spChg chg="mod">
            <ac:chgData name="Scott Corio" userId="dbe1492c70b6d8a8" providerId="LiveId" clId="{26B6202C-1B72-4C9C-8F83-0CEA0EB888C8}" dt="2024-08-10T18:10:50.755" v="119" actId="404"/>
            <ac:spMkLst>
              <pc:docMk/>
              <pc:sldMasterMk cId="2229270353" sldId="2147483660"/>
              <pc:sldLayoutMk cId="2193802512" sldId="2147483892"/>
              <ac:spMk id="21" creationId="{C35EB7F6-3DCE-E6C1-E3C1-9C2D1E1BF4C6}"/>
            </ac:spMkLst>
          </pc:spChg>
          <pc:spChg chg="mod">
            <ac:chgData name="Scott Corio" userId="dbe1492c70b6d8a8" providerId="LiveId" clId="{26B6202C-1B72-4C9C-8F83-0CEA0EB888C8}" dt="2024-08-10T18:10:50.755" v="119" actId="404"/>
            <ac:spMkLst>
              <pc:docMk/>
              <pc:sldMasterMk cId="2229270353" sldId="2147483660"/>
              <pc:sldLayoutMk cId="2193802512" sldId="2147483892"/>
              <ac:spMk id="22" creationId="{5AB2E75E-8CD8-70D8-6272-625FFD135430}"/>
            </ac:spMkLst>
          </pc:spChg>
          <pc:spChg chg="del">
            <ac:chgData name="Scott Corio" userId="dbe1492c70b6d8a8" providerId="LiveId" clId="{26B6202C-1B72-4C9C-8F83-0CEA0EB888C8}" dt="2024-08-10T18:10:59.808" v="120" actId="478"/>
            <ac:spMkLst>
              <pc:docMk/>
              <pc:sldMasterMk cId="2229270353" sldId="2147483660"/>
              <pc:sldLayoutMk cId="2193802512" sldId="2147483892"/>
              <ac:spMk id="25" creationId="{ED595CDF-DC95-43CB-908A-C88CC1023C03}"/>
            </ac:spMkLst>
          </pc:spChg>
          <pc:spChg chg="del">
            <ac:chgData name="Scott Corio" userId="dbe1492c70b6d8a8" providerId="LiveId" clId="{26B6202C-1B72-4C9C-8F83-0CEA0EB888C8}" dt="2024-08-10T18:10:59.808" v="120" actId="478"/>
            <ac:spMkLst>
              <pc:docMk/>
              <pc:sldMasterMk cId="2229270353" sldId="2147483660"/>
              <pc:sldLayoutMk cId="2193802512" sldId="2147483892"/>
              <ac:spMk id="26" creationId="{A653FB1D-90FD-0A78-79E3-21ECC36993AF}"/>
            </ac:spMkLst>
          </pc:spChg>
          <pc:spChg chg="del">
            <ac:chgData name="Scott Corio" userId="dbe1492c70b6d8a8" providerId="LiveId" clId="{26B6202C-1B72-4C9C-8F83-0CEA0EB888C8}" dt="2024-08-10T18:10:59.808" v="120" actId="478"/>
            <ac:spMkLst>
              <pc:docMk/>
              <pc:sldMasterMk cId="2229270353" sldId="2147483660"/>
              <pc:sldLayoutMk cId="2193802512" sldId="2147483892"/>
              <ac:spMk id="29" creationId="{73D24C55-431B-BDD2-3579-E4AFC8539F25}"/>
            </ac:spMkLst>
          </pc:spChg>
          <pc:spChg chg="del">
            <ac:chgData name="Scott Corio" userId="dbe1492c70b6d8a8" providerId="LiveId" clId="{26B6202C-1B72-4C9C-8F83-0CEA0EB888C8}" dt="2024-08-10T18:10:59.808" v="120" actId="478"/>
            <ac:spMkLst>
              <pc:docMk/>
              <pc:sldMasterMk cId="2229270353" sldId="2147483660"/>
              <pc:sldLayoutMk cId="2193802512" sldId="2147483892"/>
              <ac:spMk id="30" creationId="{9A97AB54-0302-903C-6857-7C77A771DFE4}"/>
            </ac:spMkLst>
          </pc:spChg>
          <pc:spChg chg="mod">
            <ac:chgData name="Scott Corio" userId="dbe1492c70b6d8a8" providerId="LiveId" clId="{26B6202C-1B72-4C9C-8F83-0CEA0EB888C8}" dt="2024-08-10T18:09:13.632" v="105" actId="14100"/>
            <ac:spMkLst>
              <pc:docMk/>
              <pc:sldMasterMk cId="2229270353" sldId="2147483660"/>
              <pc:sldLayoutMk cId="2193802512" sldId="2147483892"/>
              <ac:spMk id="33" creationId="{7D7D6964-E6E2-63BA-68C3-075D9DB47097}"/>
            </ac:spMkLst>
          </pc:spChg>
          <pc:spChg chg="del">
            <ac:chgData name="Scott Corio" userId="dbe1492c70b6d8a8" providerId="LiveId" clId="{26B6202C-1B72-4C9C-8F83-0CEA0EB888C8}" dt="2024-08-10T18:11:01.324" v="121" actId="478"/>
            <ac:spMkLst>
              <pc:docMk/>
              <pc:sldMasterMk cId="2229270353" sldId="2147483660"/>
              <pc:sldLayoutMk cId="2193802512" sldId="2147483892"/>
              <ac:spMk id="34" creationId="{8A78A548-12E5-A386-6CBA-0C7718FC9CA4}"/>
            </ac:spMkLst>
          </pc:spChg>
          <pc:picChg chg="mod">
            <ac:chgData name="Scott Corio" userId="dbe1492c70b6d8a8" providerId="LiveId" clId="{26B6202C-1B72-4C9C-8F83-0CEA0EB888C8}" dt="2024-08-10T18:08:59.423" v="102" actId="1036"/>
            <ac:picMkLst>
              <pc:docMk/>
              <pc:sldMasterMk cId="2229270353" sldId="2147483660"/>
              <pc:sldLayoutMk cId="2193802512" sldId="2147483892"/>
              <ac:picMk id="6" creationId="{312C10F7-7ECE-0C86-D0E2-235DD512D0A7}"/>
            </ac:picMkLst>
          </pc:picChg>
          <pc:picChg chg="add mod">
            <ac:chgData name="Scott Corio" userId="dbe1492c70b6d8a8" providerId="LiveId" clId="{26B6202C-1B72-4C9C-8F83-0CEA0EB888C8}" dt="2024-08-10T18:11:13.929" v="123" actId="1076"/>
            <ac:picMkLst>
              <pc:docMk/>
              <pc:sldMasterMk cId="2229270353" sldId="2147483660"/>
              <pc:sldLayoutMk cId="2193802512" sldId="2147483892"/>
              <ac:picMk id="7" creationId="{56259C76-A1A9-7120-FC95-E64FBA5EA98A}"/>
            </ac:picMkLst>
          </pc:picChg>
          <pc:picChg chg="add mod">
            <ac:chgData name="Scott Corio" userId="dbe1492c70b6d8a8" providerId="LiveId" clId="{26B6202C-1B72-4C9C-8F83-0CEA0EB888C8}" dt="2024-08-10T18:11:13.929" v="123" actId="1076"/>
            <ac:picMkLst>
              <pc:docMk/>
              <pc:sldMasterMk cId="2229270353" sldId="2147483660"/>
              <pc:sldLayoutMk cId="2193802512" sldId="2147483892"/>
              <ac:picMk id="9" creationId="{285ABDB4-8155-ECBE-DA62-BFA545892FC3}"/>
            </ac:picMkLst>
          </pc:picChg>
          <pc:picChg chg="add mod">
            <ac:chgData name="Scott Corio" userId="dbe1492c70b6d8a8" providerId="LiveId" clId="{26B6202C-1B72-4C9C-8F83-0CEA0EB888C8}" dt="2024-08-10T18:11:13.929" v="123" actId="1076"/>
            <ac:picMkLst>
              <pc:docMk/>
              <pc:sldMasterMk cId="2229270353" sldId="2147483660"/>
              <pc:sldLayoutMk cId="2193802512" sldId="2147483892"/>
              <ac:picMk id="15" creationId="{E56367F6-F95F-74E4-E6EE-44BE049C2506}"/>
            </ac:picMkLst>
          </pc:picChg>
          <pc:picChg chg="mod">
            <ac:chgData name="Scott Corio" userId="dbe1492c70b6d8a8" providerId="LiveId" clId="{26B6202C-1B72-4C9C-8F83-0CEA0EB888C8}" dt="2024-08-10T18:09:19.990" v="106" actId="1076"/>
            <ac:picMkLst>
              <pc:docMk/>
              <pc:sldMasterMk cId="2229270353" sldId="2147483660"/>
              <pc:sldLayoutMk cId="2193802512" sldId="2147483892"/>
              <ac:picMk id="16" creationId="{C3B26DB9-BF54-C163-6558-F62991BC265E}"/>
            </ac:picMkLst>
          </pc:picChg>
          <pc:picChg chg="mod">
            <ac:chgData name="Scott Corio" userId="dbe1492c70b6d8a8" providerId="LiveId" clId="{26B6202C-1B72-4C9C-8F83-0CEA0EB888C8}" dt="2024-08-10T18:10:08.387" v="114" actId="465"/>
            <ac:picMkLst>
              <pc:docMk/>
              <pc:sldMasterMk cId="2229270353" sldId="2147483660"/>
              <pc:sldLayoutMk cId="2193802512" sldId="2147483892"/>
              <ac:picMk id="19" creationId="{9F5FED04-8878-5591-3722-82DB08ABDF90}"/>
            </ac:picMkLst>
          </pc:picChg>
          <pc:picChg chg="mod">
            <ac:chgData name="Scott Corio" userId="dbe1492c70b6d8a8" providerId="LiveId" clId="{26B6202C-1B72-4C9C-8F83-0CEA0EB888C8}" dt="2024-08-10T18:09:35.776" v="109" actId="1076"/>
            <ac:picMkLst>
              <pc:docMk/>
              <pc:sldMasterMk cId="2229270353" sldId="2147483660"/>
              <pc:sldLayoutMk cId="2193802512" sldId="2147483892"/>
              <ac:picMk id="24" creationId="{70D69CE4-FCD3-B522-42FB-6B9D49BC0EFA}"/>
            </ac:picMkLst>
          </pc:picChg>
          <pc:picChg chg="del">
            <ac:chgData name="Scott Corio" userId="dbe1492c70b6d8a8" providerId="LiveId" clId="{26B6202C-1B72-4C9C-8F83-0CEA0EB888C8}" dt="2024-08-10T18:10:59.808" v="120" actId="478"/>
            <ac:picMkLst>
              <pc:docMk/>
              <pc:sldMasterMk cId="2229270353" sldId="2147483660"/>
              <pc:sldLayoutMk cId="2193802512" sldId="2147483892"/>
              <ac:picMk id="27" creationId="{1B42DAAD-1298-4983-5A3B-38EA12C6CFCF}"/>
            </ac:picMkLst>
          </pc:picChg>
          <pc:picChg chg="del">
            <ac:chgData name="Scott Corio" userId="dbe1492c70b6d8a8" providerId="LiveId" clId="{26B6202C-1B72-4C9C-8F83-0CEA0EB888C8}" dt="2024-08-10T18:10:59.808" v="120" actId="478"/>
            <ac:picMkLst>
              <pc:docMk/>
              <pc:sldMasterMk cId="2229270353" sldId="2147483660"/>
              <pc:sldLayoutMk cId="2193802512" sldId="2147483892"/>
              <ac:picMk id="28" creationId="{53D24741-A19F-D8EB-EF82-6BC6C6520534}"/>
            </ac:picMkLst>
          </pc:picChg>
          <pc:picChg chg="del">
            <ac:chgData name="Scott Corio" userId="dbe1492c70b6d8a8" providerId="LiveId" clId="{26B6202C-1B72-4C9C-8F83-0CEA0EB888C8}" dt="2024-08-10T18:10:59.808" v="120" actId="478"/>
            <ac:picMkLst>
              <pc:docMk/>
              <pc:sldMasterMk cId="2229270353" sldId="2147483660"/>
              <pc:sldLayoutMk cId="2193802512" sldId="2147483892"/>
              <ac:picMk id="31" creationId="{FEE97408-0B9B-F4B4-9FCF-7D5D9EC130F6}"/>
            </ac:picMkLst>
          </pc:picChg>
        </pc:sldLayoutChg>
      </pc:sldMasterChg>
      <pc:sldMasterChg chg="modSldLayout">
        <pc:chgData name="Scott Corio" userId="dbe1492c70b6d8a8" providerId="LiveId" clId="{26B6202C-1B72-4C9C-8F83-0CEA0EB888C8}" dt="2024-08-10T18:48:36.801" v="1652" actId="478"/>
        <pc:sldMasterMkLst>
          <pc:docMk/>
          <pc:sldMasterMk cId="2834435735" sldId="2147483956"/>
        </pc:sldMasterMkLst>
        <pc:sldLayoutChg chg="delSp mod">
          <pc:chgData name="Scott Corio" userId="dbe1492c70b6d8a8" providerId="LiveId" clId="{26B6202C-1B72-4C9C-8F83-0CEA0EB888C8}" dt="2024-08-10T18:48:36.801" v="1652" actId="478"/>
          <pc:sldLayoutMkLst>
            <pc:docMk/>
            <pc:sldMasterMk cId="2834435735" sldId="2147483956"/>
            <pc:sldLayoutMk cId="4261337147" sldId="2147483996"/>
          </pc:sldLayoutMkLst>
          <pc:spChg chg="del">
            <ac:chgData name="Scott Corio" userId="dbe1492c70b6d8a8" providerId="LiveId" clId="{26B6202C-1B72-4C9C-8F83-0CEA0EB888C8}" dt="2024-08-10T18:48:35.511" v="1651" actId="478"/>
            <ac:spMkLst>
              <pc:docMk/>
              <pc:sldMasterMk cId="2834435735" sldId="2147483956"/>
              <pc:sldLayoutMk cId="4261337147" sldId="2147483996"/>
              <ac:spMk id="4" creationId="{BC71D650-3B87-D82E-F786-ADD5DDCE4C70}"/>
            </ac:spMkLst>
          </pc:spChg>
          <pc:spChg chg="del">
            <ac:chgData name="Scott Corio" userId="dbe1492c70b6d8a8" providerId="LiveId" clId="{26B6202C-1B72-4C9C-8F83-0CEA0EB888C8}" dt="2024-08-10T18:48:36.801" v="1652" actId="478"/>
            <ac:spMkLst>
              <pc:docMk/>
              <pc:sldMasterMk cId="2834435735" sldId="2147483956"/>
              <pc:sldLayoutMk cId="4261337147" sldId="2147483996"/>
              <ac:spMk id="5" creationId="{735A3663-712F-A49D-172F-24B861511350}"/>
            </ac:spMkLst>
          </pc:spChg>
          <pc:picChg chg="del">
            <ac:chgData name="Scott Corio" userId="dbe1492c70b6d8a8" providerId="LiveId" clId="{26B6202C-1B72-4C9C-8F83-0CEA0EB888C8}" dt="2024-08-10T18:48:30.361" v="1650" actId="478"/>
            <ac:picMkLst>
              <pc:docMk/>
              <pc:sldMasterMk cId="2834435735" sldId="2147483956"/>
              <pc:sldLayoutMk cId="4261337147" sldId="2147483996"/>
              <ac:picMk id="8" creationId="{4B828D67-4891-FD7F-4AA2-E9E4A652519F}"/>
            </ac:picMkLst>
          </pc:picChg>
        </pc:sldLayoutChg>
      </pc:sldMaster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vamshik\AppData\Local\Microsoft\Windows\INetCache\Content.Outlook\IVLRZ0Y8\Storage%20as%20Azure%20Platform%20v3.xlsx" TargetMode="External"/><Relationship Id="rId4" Type="http://schemas.openxmlformats.org/officeDocument/2006/relationships/themeOverride" Target="../theme/themeOverride1.xm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Wheel!$A$2:$B$26</cx:f>
        <cx:lvl ptCount="25">
          <cx:pt idx="0">AAD</cx:pt>
          <cx:pt idx="1">KeyVault</cx:pt>
          <cx:pt idx="2">Automation</cx:pt>
          <cx:pt idx="3">Scheduler</cx:pt>
          <cx:pt idx="4">Media Services</cx:pt>
          <cx:pt idx="5">CDN</cx:pt>
          <cx:pt idx="6">Service Bus</cx:pt>
          <cx:pt idx="7">Logic Apps</cx:pt>
          <cx:pt idx="8">Data Factory</cx:pt>
          <cx:pt idx="9">VMs</cx:pt>
          <cx:pt idx="10">Batch</cx:pt>
          <cx:pt idx="11">Containers</cx:pt>
          <cx:pt idx="12">Functions</cx:pt>
          <cx:pt idx="13">Web Apps</cx:pt>
          <cx:pt idx="14">Mobile Apps</cx:pt>
          <cx:pt idx="15">Service Fabric</cx:pt>
          <cx:pt idx="16">Notification Hub</cx:pt>
          <cx:pt idx="17">Search</cx:pt>
          <cx:pt idx="18">HDInsight</cx:pt>
          <cx:pt idx="19">Machine Learning</cx:pt>
          <cx:pt idx="20">Cognitive Services</cx:pt>
          <cx:pt idx="21">Data Lake</cx:pt>
          <cx:pt idx="22">IoT Hub</cx:pt>
          <cx:pt idx="23">Event Hubs</cx:pt>
          <cx:pt idx="24">Stream Analytics</cx:pt>
        </cx:lvl>
        <cx:lvl ptCount="25">
          <cx:pt idx="0">Security</cx:pt>
          <cx:pt idx="2">Management</cx:pt>
          <cx:pt idx="4">Media &amp; CDN</cx:pt>
          <cx:pt idx="6">Integration</cx:pt>
          <cx:pt idx="9">Compute</cx:pt>
          <cx:pt idx="13">App Platform</cx:pt>
          <cx:pt idx="18">Analytics + Inteligence</cx:pt>
          <cx:pt idx="22">IoT</cx:pt>
        </cx:lvl>
      </cx:strDim>
      <cx:numDim type="size">
        <cx:f>Wheel!$C$2:$C$26</cx:f>
        <cx:lvl ptCount="25" formatCode="General">
          <cx:pt idx="0">4</cx:pt>
          <cx:pt idx="1">4</cx:pt>
          <cx:pt idx="2">4</cx:pt>
          <cx:pt idx="3">4</cx:pt>
          <cx:pt idx="4">4</cx:pt>
          <cx:pt idx="5">4</cx:pt>
          <cx:pt idx="6">4</cx:pt>
          <cx:pt idx="7">4</cx:pt>
          <cx:pt idx="8">4</cx:pt>
          <cx:pt idx="9">4</cx:pt>
          <cx:pt idx="10">4</cx:pt>
          <cx:pt idx="11">4</cx:pt>
          <cx:pt idx="12">4</cx:pt>
          <cx:pt idx="13">4</cx:pt>
          <cx:pt idx="14">4</cx:pt>
          <cx:pt idx="15">4</cx:pt>
          <cx:pt idx="16">4</cx:pt>
          <cx:pt idx="17">4</cx:pt>
          <cx:pt idx="18">4</cx:pt>
          <cx:pt idx="19">4</cx:pt>
          <cx:pt idx="20">4</cx:pt>
          <cx:pt idx="21">4</cx:pt>
          <cx:pt idx="22">4</cx:pt>
          <cx:pt idx="23">4</cx:pt>
          <cx:pt idx="24">4</cx:pt>
        </cx:lvl>
      </cx:numDim>
    </cx:data>
  </cx:chartData>
  <cx:chart>
    <cx:plotArea>
      <cx:plotAreaRegion>
        <cx:series layoutId="sunburst" uniqueId="{9B47608A-E9AB-4E6C-8408-631D4CE6BF26}">
          <cx:tx>
            <cx:txData>
              <cx:f>Wheel!$C$1</cx:f>
              <cx:v>Weight</cx:v>
            </cx:txData>
          </cx:tx>
          <cx:spPr>
            <a:ln>
              <a:solidFill>
                <a:schemeClr val="bg1"/>
              </a:solidFill>
            </a:ln>
          </cx:spPr>
          <cx:dataPt idx="0">
            <cx:spPr>
              <a:solidFill>
                <a:srgbClr val="D2D2D2"/>
              </a:solidFill>
            </cx:spPr>
          </cx:dataPt>
          <cx:dataPt idx="3">
            <cx:spPr>
              <a:solidFill>
                <a:srgbClr val="2F2F2F"/>
              </a:solidFill>
            </cx:spPr>
          </cx:dataPt>
          <cx:dataPt idx="6">
            <cx:spPr>
              <a:solidFill>
                <a:srgbClr val="5C2D91"/>
              </a:solidFill>
            </cx:spPr>
          </cx:dataPt>
          <cx:dataPt idx="9">
            <cx:spPr>
              <a:solidFill>
                <a:srgbClr val="00B294"/>
              </a:solidFill>
            </cx:spPr>
          </cx:dataPt>
          <cx:dataPt idx="13">
            <cx:spPr>
              <a:solidFill>
                <a:srgbClr val="002050"/>
              </a:solidFill>
            </cx:spPr>
          </cx:dataPt>
          <cx:dataPt idx="18">
            <cx:spPr>
              <a:solidFill>
                <a:srgbClr val="0078D7"/>
              </a:solidFill>
            </cx:spPr>
          </cx:dataPt>
          <cx:dataPt idx="24">
            <cx:spPr>
              <a:solidFill>
                <a:srgbClr val="00BCF2"/>
              </a:solidFill>
            </cx:spPr>
          </cx:dataPt>
          <cx:dataPt idx="29">
            <cx:spPr>
              <a:solidFill>
                <a:srgbClr val="008272"/>
              </a:solidFill>
            </cx:spPr>
          </cx:dataPt>
          <cx:dataLabels pos="ctr">
            <cx:txPr>
              <a:bodyPr spcFirstLastPara="1" vertOverflow="ellipsis" horzOverflow="overflow" wrap="square" lIns="0" tIns="0" rIns="0" bIns="0" anchor="ctr" anchorCtr="1"/>
              <a:lstStyle/>
              <a:p>
                <a:pPr algn="ctr" rtl="0">
                  <a:defRPr sz="1400">
                    <a:solidFill>
                      <a:schemeClr val="bg1"/>
                    </a:solidFill>
                  </a:defRPr>
                </a:pPr>
                <a:endParaRPr lang="en-US" sz="1400" b="0" i="0" u="none" strike="noStrike" baseline="0">
                  <a:solidFill>
                    <a:schemeClr val="bg1"/>
                  </a:solidFill>
                  <a:latin typeface="Calibri" panose="020F0502020204030204"/>
                </a:endParaRPr>
              </a:p>
            </cx:txPr>
            <cx:visibility seriesName="0" categoryName="1" value="0"/>
            <cx:dataLabel idx="0">
              <cx:txPr>
                <a:bodyPr spcFirstLastPara="1" vertOverflow="ellipsis" horzOverflow="overflow" wrap="square" lIns="0" tIns="0" rIns="0" bIns="0" anchor="ctr" anchorCtr="1"/>
                <a:lstStyle/>
                <a:p>
                  <a:pPr algn="ctr" rtl="0">
                    <a:defRPr>
                      <a:solidFill>
                        <a:schemeClr val="tx2"/>
                      </a:solidFill>
                    </a:defRPr>
                  </a:pPr>
                  <a:r>
                    <a:rPr lang="en-US" sz="1400" b="0" i="0" u="none" strike="noStrike" baseline="0">
                      <a:solidFill>
                        <a:schemeClr val="tx2"/>
                      </a:solidFill>
                      <a:latin typeface="Calibri" panose="020F0502020204030204"/>
                    </a:rPr>
                    <a:t>Security</a:t>
                  </a:r>
                </a:p>
              </cx:txPr>
              <cx:visibility seriesName="0" categoryName="1" value="0"/>
            </cx:dataLabel>
            <cx:dataLabel idx="1">
              <cx:txPr>
                <a:bodyPr spcFirstLastPara="1" vertOverflow="ellipsis" horzOverflow="overflow" wrap="square" lIns="0" tIns="0" rIns="0" bIns="0" anchor="ctr" anchorCtr="1"/>
                <a:lstStyle/>
                <a:p>
                  <a:pPr algn="ctr" rtl="0">
                    <a:defRPr>
                      <a:solidFill>
                        <a:schemeClr val="tx2"/>
                      </a:solidFill>
                    </a:defRPr>
                  </a:pPr>
                  <a:r>
                    <a:rPr lang="en-US" sz="1400" b="0" i="0" u="none" strike="noStrike" baseline="0">
                      <a:solidFill>
                        <a:schemeClr val="tx2"/>
                      </a:solidFill>
                      <a:latin typeface="Calibri" panose="020F0502020204030204"/>
                    </a:rPr>
                    <a:t>AAD</a:t>
                  </a:r>
                </a:p>
              </cx:txPr>
              <cx:visibility seriesName="0" categoryName="1" value="0"/>
            </cx:dataLabel>
            <cx:dataLabel idx="2">
              <cx:txPr>
                <a:bodyPr spcFirstLastPara="1" vertOverflow="ellipsis" horzOverflow="overflow" wrap="square" lIns="0" tIns="0" rIns="0" bIns="0" anchor="ctr" anchorCtr="1"/>
                <a:lstStyle/>
                <a:p>
                  <a:pPr algn="ctr" rtl="0">
                    <a:defRPr>
                      <a:solidFill>
                        <a:schemeClr val="tx2"/>
                      </a:solidFill>
                    </a:defRPr>
                  </a:pPr>
                  <a:r>
                    <a:rPr lang="en-US" sz="1400" b="0" i="0" u="none" strike="noStrike" baseline="0">
                      <a:solidFill>
                        <a:schemeClr val="tx2"/>
                      </a:solidFill>
                      <a:latin typeface="Calibri" panose="020F0502020204030204"/>
                    </a:rPr>
                    <a:t>KeyVault</a:t>
                  </a:r>
                </a:p>
              </cx:txPr>
              <cx:visibility seriesName="0" categoryName="1" value="0"/>
            </cx:dataLabel>
            <cx:dataLabel idx="3">
              <cx:txPr>
                <a:bodyPr spcFirstLastPara="1" vertOverflow="ellipsis" horzOverflow="overflow" wrap="square" lIns="0" tIns="0" rIns="0" bIns="0" anchor="ctr" anchorCtr="1"/>
                <a:lstStyle/>
                <a:p>
                  <a:pPr algn="ctr" rtl="0">
                    <a:defRPr sz="1200"/>
                  </a:pPr>
                  <a:r>
                    <a:rPr lang="en-US" sz="1200" b="0" i="0" u="none" strike="noStrike" baseline="0">
                      <a:solidFill>
                        <a:schemeClr val="bg1"/>
                      </a:solidFill>
                      <a:latin typeface="Calibri" panose="020F0502020204030204"/>
                    </a:rPr>
                    <a:t>Management</a:t>
                  </a:r>
                </a:p>
              </cx:txPr>
              <cx:visibility seriesName="0" categoryName="1" value="0"/>
            </cx:dataLabel>
          </cx:dataLabels>
          <cx:dataId val="0"/>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385">
  <cs:axisTitle>
    <cs:lnRef idx="0"/>
    <cs:fillRef idx="0"/>
    <cs:effectRef idx="0"/>
    <cs:fontRef idx="minor">
      <a:schemeClr val="tx2"/>
    </cs:fontRef>
    <cs:defRPr sz="9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cs:chartArea>
  <cs:dataLabel>
    <cs:lnRef idx="0"/>
    <cs:fillRef idx="0"/>
    <cs:effectRef idx="0"/>
    <cs:fontRef idx="minor">
      <a:schemeClr val="lt1"/>
    </cs:fontRef>
    <cs:defRPr sz="9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2"/>
    </cs:fontRef>
    <cs:spPr>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ln>
        <a:solidFill>
          <a:schemeClr val="bg1"/>
        </a:solidFill>
      </a:ln>
    </cs:spPr>
  </cs:dataPoint>
  <cs:dataPoint3D>
    <cs:lnRef idx="0"/>
    <cs:fillRef idx="0">
      <cs:styleClr val="auto"/>
    </cs:fillRef>
    <cs:effectRef idx="0"/>
    <cs:fontRef idx="minor">
      <a:schemeClr val="tx2"/>
    </cs:fontRef>
    <cs:spPr>
      <a:solidFill>
        <a:schemeClr val="phClr"/>
      </a:solidFill>
    </cs:spPr>
  </cs:dataPoint3D>
  <cs:dataPointLine>
    <cs:lnRef idx="0">
      <cs:styleClr val="auto"/>
    </cs:lnRef>
    <cs:fillRef idx="0"/>
    <cs:effectRef idx="0"/>
    <cs:fontRef idx="minor">
      <a:schemeClr val="tx2"/>
    </cs:fontRef>
    <cs:spPr>
      <a:ln w="28575" cap="rnd">
        <a:solidFill>
          <a:schemeClr val="phClr"/>
        </a:solidFill>
        <a:round/>
      </a:ln>
    </cs:spPr>
  </cs:dataPointLine>
  <cs:dataPointMarker>
    <cs:lnRef idx="0"/>
    <cs:fillRef idx="0">
      <cs:styleClr val="auto"/>
    </cs:fillRef>
    <cs:effectRef idx="0"/>
    <cs:fontRef idx="minor">
      <a:schemeClr val="tx2"/>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2"/>
    </cs:fontRef>
    <cs:spPr>
      <a:ln w="2857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15000"/>
            <a:lumOff val="85000"/>
            <a:lumOff val="10000"/>
          </a:schemeClr>
        </a:solidFill>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2"/>
    </cs:fontRef>
    <cs:defRPr sz="9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cs:seriesAxis>
  <cs:seriesLine>
    <cs:lnRef idx="0"/>
    <cs:fillRef idx="0"/>
    <cs:effectRef idx="0"/>
    <cs:fontRef idx="minor">
      <a:schemeClr val="tx2"/>
    </cs:fontRef>
    <cs:spPr>
      <a:ln w="9525" cap="flat">
        <a:solidFill>
          <a:srgbClr val="D9D9D9"/>
        </a:solidFill>
        <a:round/>
      </a:ln>
    </cs:spPr>
  </cs:seriesLine>
  <cs:title>
    <cs:lnRef idx="0"/>
    <cs:fillRef idx="0"/>
    <cs:effectRef idx="0"/>
    <cs:fontRef idx="minor">
      <a:schemeClr val="tx2"/>
    </cs:fontRef>
    <cs:defRPr sz="1600" b="1"/>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cs:valueAxis>
  <cs:wall>
    <cs:lnRef idx="0"/>
    <cs:fillRef idx="0"/>
    <cs:effectRef idx="0"/>
    <cs:fontRef idx="minor">
      <a:schemeClr val="tx2"/>
    </cs:fontRef>
  </cs:wall>
</cs:chartStyle>
</file>

<file path=ppt/comments/modernComment_1D0_6905703C.xml><?xml version="1.0" encoding="utf-8"?>
<p188:cmLst xmlns:a="http://schemas.openxmlformats.org/drawingml/2006/main" xmlns:r="http://schemas.openxmlformats.org/officeDocument/2006/relationships" xmlns:p188="http://schemas.microsoft.com/office/powerpoint/2018/8/main">
  <p188:cm id="{2D9AC3BB-EF05-4D4B-9D3A-EBA0F8EA9DD4}" authorId="{05ACFFAC-FD78-DCFC-68EE-26D648E208CB}" created="2024-08-09T01:48:55.050">
    <pc:sldMkLst xmlns:pc="http://schemas.microsoft.com/office/powerpoint/2013/main/command">
      <pc:docMk/>
      <pc:sldMk cId="1761964092" sldId="464"/>
    </pc:sldMkLst>
    <p188:txBody>
      <a:bodyPr/>
      <a:lstStyle/>
      <a:p>
        <a:r>
          <a:rPr lang="en-US"/>
          <a:t>Update this slide with newer stuff</a:t>
        </a:r>
      </a:p>
    </p188:txBody>
  </p188:cm>
</p188:cmLst>
</file>

<file path=ppt/diagrams/_rels/data1.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svg"/><Relationship Id="rId1" Type="http://schemas.openxmlformats.org/officeDocument/2006/relationships/image" Target="../media/image83.png"/><Relationship Id="rId6" Type="http://schemas.openxmlformats.org/officeDocument/2006/relationships/image" Target="../media/image88.svg"/><Relationship Id="rId5" Type="http://schemas.openxmlformats.org/officeDocument/2006/relationships/image" Target="../media/image87.png"/><Relationship Id="rId10" Type="http://schemas.openxmlformats.org/officeDocument/2006/relationships/image" Target="../media/image92.svg"/><Relationship Id="rId4" Type="http://schemas.openxmlformats.org/officeDocument/2006/relationships/image" Target="../media/image86.svg"/><Relationship Id="rId9" Type="http://schemas.openxmlformats.org/officeDocument/2006/relationships/image" Target="../media/image91.png"/></Relationships>
</file>

<file path=ppt/diagrams/_rels/data2.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svg"/><Relationship Id="rId1" Type="http://schemas.openxmlformats.org/officeDocument/2006/relationships/image" Target="../media/image93.png"/><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image" Target="../media/image102.svg"/><Relationship Id="rId4" Type="http://schemas.openxmlformats.org/officeDocument/2006/relationships/image" Target="../media/image96.svg"/><Relationship Id="rId9" Type="http://schemas.openxmlformats.org/officeDocument/2006/relationships/image" Target="../media/image101.png"/></Relationships>
</file>

<file path=ppt/diagrams/_rels/drawing1.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svg"/><Relationship Id="rId1" Type="http://schemas.openxmlformats.org/officeDocument/2006/relationships/image" Target="../media/image83.png"/><Relationship Id="rId6" Type="http://schemas.openxmlformats.org/officeDocument/2006/relationships/image" Target="../media/image88.svg"/><Relationship Id="rId5" Type="http://schemas.openxmlformats.org/officeDocument/2006/relationships/image" Target="../media/image87.png"/><Relationship Id="rId10" Type="http://schemas.openxmlformats.org/officeDocument/2006/relationships/image" Target="../media/image92.svg"/><Relationship Id="rId4" Type="http://schemas.openxmlformats.org/officeDocument/2006/relationships/image" Target="../media/image86.svg"/><Relationship Id="rId9" Type="http://schemas.openxmlformats.org/officeDocument/2006/relationships/image" Target="../media/image9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svg"/><Relationship Id="rId1" Type="http://schemas.openxmlformats.org/officeDocument/2006/relationships/image" Target="../media/image93.png"/><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image" Target="../media/image102.svg"/><Relationship Id="rId4" Type="http://schemas.openxmlformats.org/officeDocument/2006/relationships/image" Target="../media/image96.svg"/><Relationship Id="rId9" Type="http://schemas.openxmlformats.org/officeDocument/2006/relationships/image" Target="../media/image101.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84EFCD-8C7E-4C37-9F0C-B498739FEB1F}"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9FD043D-87C8-45A5-8869-41D1BFEB7DDF}">
      <dgm:prSet/>
      <dgm:spPr/>
      <dgm:t>
        <a:bodyPr/>
        <a:lstStyle/>
        <a:p>
          <a:r>
            <a:rPr lang="en-US" baseline="0"/>
            <a:t>Your familiarity with Azure ranges from “Isn’t it just a color?” to, “What does this button do and how much is it going to cost me when I click it?”</a:t>
          </a:r>
          <a:endParaRPr lang="en-US"/>
        </a:p>
      </dgm:t>
    </dgm:pt>
    <dgm:pt modelId="{5E4B6ADB-AE5B-43B8-876D-F4553BFBCC90}" type="parTrans" cxnId="{57B15830-6933-46CD-A326-868E9F2A2A0A}">
      <dgm:prSet/>
      <dgm:spPr/>
      <dgm:t>
        <a:bodyPr/>
        <a:lstStyle/>
        <a:p>
          <a:endParaRPr lang="en-US"/>
        </a:p>
      </dgm:t>
    </dgm:pt>
    <dgm:pt modelId="{36A38D27-8666-4FB4-ACD3-C75EAD91310C}" type="sibTrans" cxnId="{57B15830-6933-46CD-A326-868E9F2A2A0A}">
      <dgm:prSet/>
      <dgm:spPr/>
      <dgm:t>
        <a:bodyPr/>
        <a:lstStyle/>
        <a:p>
          <a:endParaRPr lang="en-US"/>
        </a:p>
      </dgm:t>
    </dgm:pt>
    <dgm:pt modelId="{DF5DB844-CE9E-4D5E-B4DA-AF469CE4075F}">
      <dgm:prSet/>
      <dgm:spPr/>
      <dgm:t>
        <a:bodyPr/>
        <a:lstStyle/>
        <a:p>
          <a:r>
            <a:rPr lang="en-US" baseline="0"/>
            <a:t>You may be tasked with doing some things in Azure directly</a:t>
          </a:r>
          <a:endParaRPr lang="en-US"/>
        </a:p>
      </dgm:t>
    </dgm:pt>
    <dgm:pt modelId="{D9646F1B-B6C2-4245-A658-2A36EC4B76F5}" type="parTrans" cxnId="{9AA4E038-69E9-434B-848B-AF9164D9E0B9}">
      <dgm:prSet/>
      <dgm:spPr/>
      <dgm:t>
        <a:bodyPr/>
        <a:lstStyle/>
        <a:p>
          <a:endParaRPr lang="en-US"/>
        </a:p>
      </dgm:t>
    </dgm:pt>
    <dgm:pt modelId="{183D4EFF-E543-4BFD-80D4-9313B0F1F391}" type="sibTrans" cxnId="{9AA4E038-69E9-434B-848B-AF9164D9E0B9}">
      <dgm:prSet/>
      <dgm:spPr/>
      <dgm:t>
        <a:bodyPr/>
        <a:lstStyle/>
        <a:p>
          <a:endParaRPr lang="en-US"/>
        </a:p>
      </dgm:t>
    </dgm:pt>
    <dgm:pt modelId="{3FE8152B-D0C9-4013-A274-31FC99900FC9}">
      <dgm:prSet/>
      <dgm:spPr/>
      <dgm:t>
        <a:bodyPr/>
        <a:lstStyle/>
        <a:p>
          <a:r>
            <a:rPr lang="en-US" baseline="0"/>
            <a:t>You may need to ask another group for resources but don’t know what to ask for</a:t>
          </a:r>
          <a:endParaRPr lang="en-US"/>
        </a:p>
      </dgm:t>
    </dgm:pt>
    <dgm:pt modelId="{765BFC5C-87B8-4B94-BE98-989DD5B169DA}" type="parTrans" cxnId="{F57BDF4E-79F8-461A-AE4B-CF025B134706}">
      <dgm:prSet/>
      <dgm:spPr/>
      <dgm:t>
        <a:bodyPr/>
        <a:lstStyle/>
        <a:p>
          <a:endParaRPr lang="en-US"/>
        </a:p>
      </dgm:t>
    </dgm:pt>
    <dgm:pt modelId="{80D244FC-F5E4-402D-9670-59A98145476C}" type="sibTrans" cxnId="{F57BDF4E-79F8-461A-AE4B-CF025B134706}">
      <dgm:prSet/>
      <dgm:spPr/>
      <dgm:t>
        <a:bodyPr/>
        <a:lstStyle/>
        <a:p>
          <a:endParaRPr lang="en-US"/>
        </a:p>
      </dgm:t>
    </dgm:pt>
    <dgm:pt modelId="{CFBF71F1-BB45-44A6-8C27-803FC7943277}">
      <dgm:prSet/>
      <dgm:spPr/>
      <dgm:t>
        <a:bodyPr/>
        <a:lstStyle/>
        <a:p>
          <a:r>
            <a:rPr lang="en-US" baseline="0"/>
            <a:t>You will </a:t>
          </a:r>
          <a:r>
            <a:rPr lang="en-US" baseline="0" dirty="0"/>
            <a:t>have questions that aren’t covered by these slides (There’s a LOT of Azure)</a:t>
          </a:r>
          <a:endParaRPr lang="en-US" dirty="0"/>
        </a:p>
      </dgm:t>
    </dgm:pt>
    <dgm:pt modelId="{4983C0A2-2EB4-443E-9FC8-0EB298D6744A}" type="parTrans" cxnId="{29E53245-E8E5-49AE-B103-58344F8616F6}">
      <dgm:prSet/>
      <dgm:spPr/>
      <dgm:t>
        <a:bodyPr/>
        <a:lstStyle/>
        <a:p>
          <a:endParaRPr lang="en-US"/>
        </a:p>
      </dgm:t>
    </dgm:pt>
    <dgm:pt modelId="{ABF170FA-9314-474E-84EE-AA374E1A31F1}" type="sibTrans" cxnId="{29E53245-E8E5-49AE-B103-58344F8616F6}">
      <dgm:prSet/>
      <dgm:spPr/>
      <dgm:t>
        <a:bodyPr/>
        <a:lstStyle/>
        <a:p>
          <a:endParaRPr lang="en-US"/>
        </a:p>
      </dgm:t>
    </dgm:pt>
    <dgm:pt modelId="{9F6A243E-8B8D-43B9-9504-C8799C7C3A64}">
      <dgm:prSet/>
      <dgm:spPr/>
      <dgm:t>
        <a:bodyPr/>
        <a:lstStyle/>
        <a:p>
          <a:r>
            <a:rPr lang="en-US" baseline="0"/>
            <a:t>You agree that Bourbon is best served neat or on a single large ice cube</a:t>
          </a:r>
          <a:endParaRPr lang="en-US"/>
        </a:p>
      </dgm:t>
    </dgm:pt>
    <dgm:pt modelId="{09E66FD3-4083-4B75-89B8-22C42C0FDC58}" type="parTrans" cxnId="{AB8A1ADF-F031-4E2B-9F94-664DC29852D5}">
      <dgm:prSet/>
      <dgm:spPr/>
      <dgm:t>
        <a:bodyPr/>
        <a:lstStyle/>
        <a:p>
          <a:endParaRPr lang="en-US"/>
        </a:p>
      </dgm:t>
    </dgm:pt>
    <dgm:pt modelId="{4094B7A4-5EC1-44C0-B33A-8B87C2EA4DFA}" type="sibTrans" cxnId="{AB8A1ADF-F031-4E2B-9F94-664DC29852D5}">
      <dgm:prSet/>
      <dgm:spPr/>
      <dgm:t>
        <a:bodyPr/>
        <a:lstStyle/>
        <a:p>
          <a:endParaRPr lang="en-US"/>
        </a:p>
      </dgm:t>
    </dgm:pt>
    <dgm:pt modelId="{449BC77E-7B07-4FD5-9FAA-6A862F3ABC58}" type="pres">
      <dgm:prSet presAssocID="{5984EFCD-8C7E-4C37-9F0C-B498739FEB1F}" presName="root" presStyleCnt="0">
        <dgm:presLayoutVars>
          <dgm:dir/>
          <dgm:resizeHandles val="exact"/>
        </dgm:presLayoutVars>
      </dgm:prSet>
      <dgm:spPr/>
    </dgm:pt>
    <dgm:pt modelId="{144D71EF-E074-4055-BA94-3A0D1824BF97}" type="pres">
      <dgm:prSet presAssocID="{C9FD043D-87C8-45A5-8869-41D1BFEB7DDF}" presName="compNode" presStyleCnt="0"/>
      <dgm:spPr/>
    </dgm:pt>
    <dgm:pt modelId="{2BAD1DA3-A101-4F85-BABD-CF571A276C38}" type="pres">
      <dgm:prSet presAssocID="{C9FD043D-87C8-45A5-8869-41D1BFEB7DDF}" presName="bgRect" presStyleLbl="bgShp" presStyleIdx="0" presStyleCnt="5"/>
      <dgm:spPr/>
    </dgm:pt>
    <dgm:pt modelId="{5523196A-8BA9-4008-AD41-72B92A1A2F33}" type="pres">
      <dgm:prSet presAssocID="{C9FD043D-87C8-45A5-8869-41D1BFEB7DDF}"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oud"/>
        </a:ext>
      </dgm:extLst>
    </dgm:pt>
    <dgm:pt modelId="{B4C6A090-F33D-41BC-9D9E-71B99064318A}" type="pres">
      <dgm:prSet presAssocID="{C9FD043D-87C8-45A5-8869-41D1BFEB7DDF}" presName="spaceRect" presStyleCnt="0"/>
      <dgm:spPr/>
    </dgm:pt>
    <dgm:pt modelId="{B5FE03FB-1669-446F-AA51-BD28B963FCE8}" type="pres">
      <dgm:prSet presAssocID="{C9FD043D-87C8-45A5-8869-41D1BFEB7DDF}" presName="parTx" presStyleLbl="revTx" presStyleIdx="0" presStyleCnt="5">
        <dgm:presLayoutVars>
          <dgm:chMax val="0"/>
          <dgm:chPref val="0"/>
        </dgm:presLayoutVars>
      </dgm:prSet>
      <dgm:spPr/>
    </dgm:pt>
    <dgm:pt modelId="{7548AD93-F3B5-4062-AB51-FDCB46AA9373}" type="pres">
      <dgm:prSet presAssocID="{36A38D27-8666-4FB4-ACD3-C75EAD91310C}" presName="sibTrans" presStyleCnt="0"/>
      <dgm:spPr/>
    </dgm:pt>
    <dgm:pt modelId="{AA8A26ED-02F5-489A-92EF-065678EBB160}" type="pres">
      <dgm:prSet presAssocID="{DF5DB844-CE9E-4D5E-B4DA-AF469CE4075F}" presName="compNode" presStyleCnt="0"/>
      <dgm:spPr/>
    </dgm:pt>
    <dgm:pt modelId="{385DF084-9085-4EF8-9213-54FD1E078D0E}" type="pres">
      <dgm:prSet presAssocID="{DF5DB844-CE9E-4D5E-B4DA-AF469CE4075F}" presName="bgRect" presStyleLbl="bgShp" presStyleIdx="1" presStyleCnt="5"/>
      <dgm:spPr/>
    </dgm:pt>
    <dgm:pt modelId="{0F24B287-CDF9-44C8-A032-0E24E96A7ABB}" type="pres">
      <dgm:prSet presAssocID="{DF5DB844-CE9E-4D5E-B4DA-AF469CE4075F}"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20CE492A-D851-43F9-8368-BF49B1E9DC63}" type="pres">
      <dgm:prSet presAssocID="{DF5DB844-CE9E-4D5E-B4DA-AF469CE4075F}" presName="spaceRect" presStyleCnt="0"/>
      <dgm:spPr/>
    </dgm:pt>
    <dgm:pt modelId="{7B0098FE-E44C-4E7F-B9A0-18596A4598E8}" type="pres">
      <dgm:prSet presAssocID="{DF5DB844-CE9E-4D5E-B4DA-AF469CE4075F}" presName="parTx" presStyleLbl="revTx" presStyleIdx="1" presStyleCnt="5">
        <dgm:presLayoutVars>
          <dgm:chMax val="0"/>
          <dgm:chPref val="0"/>
        </dgm:presLayoutVars>
      </dgm:prSet>
      <dgm:spPr/>
    </dgm:pt>
    <dgm:pt modelId="{2429FC83-5319-42A8-9305-A59E2CC2C81B}" type="pres">
      <dgm:prSet presAssocID="{183D4EFF-E543-4BFD-80D4-9313B0F1F391}" presName="sibTrans" presStyleCnt="0"/>
      <dgm:spPr/>
    </dgm:pt>
    <dgm:pt modelId="{385699D5-C25A-4AF6-A0C5-743B2C0F686B}" type="pres">
      <dgm:prSet presAssocID="{3FE8152B-D0C9-4013-A274-31FC99900FC9}" presName="compNode" presStyleCnt="0"/>
      <dgm:spPr/>
    </dgm:pt>
    <dgm:pt modelId="{429649DF-09F0-4D32-A4EC-DA722D4EA380}" type="pres">
      <dgm:prSet presAssocID="{3FE8152B-D0C9-4013-A274-31FC99900FC9}" presName="bgRect" presStyleLbl="bgShp" presStyleIdx="2" presStyleCnt="5"/>
      <dgm:spPr/>
    </dgm:pt>
    <dgm:pt modelId="{0DE7F368-B6D8-468E-9D62-274DD68BFE0B}" type="pres">
      <dgm:prSet presAssocID="{3FE8152B-D0C9-4013-A274-31FC99900FC9}"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sers"/>
        </a:ext>
      </dgm:extLst>
    </dgm:pt>
    <dgm:pt modelId="{B24C94B5-DBFD-4341-B55D-04C44E97B2A5}" type="pres">
      <dgm:prSet presAssocID="{3FE8152B-D0C9-4013-A274-31FC99900FC9}" presName="spaceRect" presStyleCnt="0"/>
      <dgm:spPr/>
    </dgm:pt>
    <dgm:pt modelId="{950DB719-15E1-40AE-983C-6B8515BFDCBE}" type="pres">
      <dgm:prSet presAssocID="{3FE8152B-D0C9-4013-A274-31FC99900FC9}" presName="parTx" presStyleLbl="revTx" presStyleIdx="2" presStyleCnt="5">
        <dgm:presLayoutVars>
          <dgm:chMax val="0"/>
          <dgm:chPref val="0"/>
        </dgm:presLayoutVars>
      </dgm:prSet>
      <dgm:spPr/>
    </dgm:pt>
    <dgm:pt modelId="{CAA03E75-D236-4F1B-84E4-6FC4560EDAC7}" type="pres">
      <dgm:prSet presAssocID="{80D244FC-F5E4-402D-9670-59A98145476C}" presName="sibTrans" presStyleCnt="0"/>
      <dgm:spPr/>
    </dgm:pt>
    <dgm:pt modelId="{08F94FBD-74C6-487E-8BA2-0F5860A0C46D}" type="pres">
      <dgm:prSet presAssocID="{CFBF71F1-BB45-44A6-8C27-803FC7943277}" presName="compNode" presStyleCnt="0"/>
      <dgm:spPr/>
    </dgm:pt>
    <dgm:pt modelId="{D84AF13E-542A-4FDF-9398-A204B03CEFED}" type="pres">
      <dgm:prSet presAssocID="{CFBF71F1-BB45-44A6-8C27-803FC7943277}" presName="bgRect" presStyleLbl="bgShp" presStyleIdx="3" presStyleCnt="5"/>
      <dgm:spPr/>
    </dgm:pt>
    <dgm:pt modelId="{4CF12BA5-CF3E-423A-9429-8D8E038D838C}" type="pres">
      <dgm:prSet presAssocID="{CFBF71F1-BB45-44A6-8C27-803FC7943277}"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elp"/>
        </a:ext>
      </dgm:extLst>
    </dgm:pt>
    <dgm:pt modelId="{891E334E-8998-434C-AD5F-11814487CB6C}" type="pres">
      <dgm:prSet presAssocID="{CFBF71F1-BB45-44A6-8C27-803FC7943277}" presName="spaceRect" presStyleCnt="0"/>
      <dgm:spPr/>
    </dgm:pt>
    <dgm:pt modelId="{42421BE4-069A-41D2-9465-628F138A6CC3}" type="pres">
      <dgm:prSet presAssocID="{CFBF71F1-BB45-44A6-8C27-803FC7943277}" presName="parTx" presStyleLbl="revTx" presStyleIdx="3" presStyleCnt="5">
        <dgm:presLayoutVars>
          <dgm:chMax val="0"/>
          <dgm:chPref val="0"/>
        </dgm:presLayoutVars>
      </dgm:prSet>
      <dgm:spPr/>
    </dgm:pt>
    <dgm:pt modelId="{14AD5856-9304-443E-82E8-6CA70758B7EC}" type="pres">
      <dgm:prSet presAssocID="{ABF170FA-9314-474E-84EE-AA374E1A31F1}" presName="sibTrans" presStyleCnt="0"/>
      <dgm:spPr/>
    </dgm:pt>
    <dgm:pt modelId="{BED81F8C-FAC6-4B4B-8FD0-DB1DEB89CD34}" type="pres">
      <dgm:prSet presAssocID="{9F6A243E-8B8D-43B9-9504-C8799C7C3A64}" presName="compNode" presStyleCnt="0"/>
      <dgm:spPr/>
    </dgm:pt>
    <dgm:pt modelId="{D0763DA4-30EE-420A-809E-72076AC62834}" type="pres">
      <dgm:prSet presAssocID="{9F6A243E-8B8D-43B9-9504-C8799C7C3A64}" presName="bgRect" presStyleLbl="bgShp" presStyleIdx="4" presStyleCnt="5"/>
      <dgm:spPr/>
    </dgm:pt>
    <dgm:pt modelId="{AFFFC911-2027-4FEF-A9FF-F91C755E28FC}" type="pres">
      <dgm:prSet presAssocID="{9F6A243E-8B8D-43B9-9504-C8799C7C3A64}"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offee"/>
        </a:ext>
      </dgm:extLst>
    </dgm:pt>
    <dgm:pt modelId="{CE00E562-4D20-48F6-8501-E427CC6A9034}" type="pres">
      <dgm:prSet presAssocID="{9F6A243E-8B8D-43B9-9504-C8799C7C3A64}" presName="spaceRect" presStyleCnt="0"/>
      <dgm:spPr/>
    </dgm:pt>
    <dgm:pt modelId="{F8A020C0-D62E-4792-AA5E-3C9E912BA4CE}" type="pres">
      <dgm:prSet presAssocID="{9F6A243E-8B8D-43B9-9504-C8799C7C3A64}" presName="parTx" presStyleLbl="revTx" presStyleIdx="4" presStyleCnt="5">
        <dgm:presLayoutVars>
          <dgm:chMax val="0"/>
          <dgm:chPref val="0"/>
        </dgm:presLayoutVars>
      </dgm:prSet>
      <dgm:spPr/>
    </dgm:pt>
  </dgm:ptLst>
  <dgm:cxnLst>
    <dgm:cxn modelId="{E451DE03-3071-4449-8650-E180BA5FE1A2}" type="presOf" srcId="{CFBF71F1-BB45-44A6-8C27-803FC7943277}" destId="{42421BE4-069A-41D2-9465-628F138A6CC3}" srcOrd="0" destOrd="0" presId="urn:microsoft.com/office/officeart/2018/2/layout/IconVerticalSolidList"/>
    <dgm:cxn modelId="{A11EFA27-C748-4E50-B0FB-FFED38888470}" type="presOf" srcId="{C9FD043D-87C8-45A5-8869-41D1BFEB7DDF}" destId="{B5FE03FB-1669-446F-AA51-BD28B963FCE8}" srcOrd="0" destOrd="0" presId="urn:microsoft.com/office/officeart/2018/2/layout/IconVerticalSolidList"/>
    <dgm:cxn modelId="{CB895429-1051-4E28-9C32-2B0AB5DB1CA5}" type="presOf" srcId="{5984EFCD-8C7E-4C37-9F0C-B498739FEB1F}" destId="{449BC77E-7B07-4FD5-9FAA-6A862F3ABC58}" srcOrd="0" destOrd="0" presId="urn:microsoft.com/office/officeart/2018/2/layout/IconVerticalSolidList"/>
    <dgm:cxn modelId="{57B15830-6933-46CD-A326-868E9F2A2A0A}" srcId="{5984EFCD-8C7E-4C37-9F0C-B498739FEB1F}" destId="{C9FD043D-87C8-45A5-8869-41D1BFEB7DDF}" srcOrd="0" destOrd="0" parTransId="{5E4B6ADB-AE5B-43B8-876D-F4553BFBCC90}" sibTransId="{36A38D27-8666-4FB4-ACD3-C75EAD91310C}"/>
    <dgm:cxn modelId="{9AA4E038-69E9-434B-848B-AF9164D9E0B9}" srcId="{5984EFCD-8C7E-4C37-9F0C-B498739FEB1F}" destId="{DF5DB844-CE9E-4D5E-B4DA-AF469CE4075F}" srcOrd="1" destOrd="0" parTransId="{D9646F1B-B6C2-4245-A658-2A36EC4B76F5}" sibTransId="{183D4EFF-E543-4BFD-80D4-9313B0F1F391}"/>
    <dgm:cxn modelId="{0DC1F564-5585-4628-B89F-2126D8B63198}" type="presOf" srcId="{3FE8152B-D0C9-4013-A274-31FC99900FC9}" destId="{950DB719-15E1-40AE-983C-6B8515BFDCBE}" srcOrd="0" destOrd="0" presId="urn:microsoft.com/office/officeart/2018/2/layout/IconVerticalSolidList"/>
    <dgm:cxn modelId="{29E53245-E8E5-49AE-B103-58344F8616F6}" srcId="{5984EFCD-8C7E-4C37-9F0C-B498739FEB1F}" destId="{CFBF71F1-BB45-44A6-8C27-803FC7943277}" srcOrd="3" destOrd="0" parTransId="{4983C0A2-2EB4-443E-9FC8-0EB298D6744A}" sibTransId="{ABF170FA-9314-474E-84EE-AA374E1A31F1}"/>
    <dgm:cxn modelId="{F57BDF4E-79F8-461A-AE4B-CF025B134706}" srcId="{5984EFCD-8C7E-4C37-9F0C-B498739FEB1F}" destId="{3FE8152B-D0C9-4013-A274-31FC99900FC9}" srcOrd="2" destOrd="0" parTransId="{765BFC5C-87B8-4B94-BE98-989DD5B169DA}" sibTransId="{80D244FC-F5E4-402D-9670-59A98145476C}"/>
    <dgm:cxn modelId="{DCBDF072-DAA7-4F4C-AB74-448E3D05A0BB}" type="presOf" srcId="{DF5DB844-CE9E-4D5E-B4DA-AF469CE4075F}" destId="{7B0098FE-E44C-4E7F-B9A0-18596A4598E8}" srcOrd="0" destOrd="0" presId="urn:microsoft.com/office/officeart/2018/2/layout/IconVerticalSolidList"/>
    <dgm:cxn modelId="{AB8A1ADF-F031-4E2B-9F94-664DC29852D5}" srcId="{5984EFCD-8C7E-4C37-9F0C-B498739FEB1F}" destId="{9F6A243E-8B8D-43B9-9504-C8799C7C3A64}" srcOrd="4" destOrd="0" parTransId="{09E66FD3-4083-4B75-89B8-22C42C0FDC58}" sibTransId="{4094B7A4-5EC1-44C0-B33A-8B87C2EA4DFA}"/>
    <dgm:cxn modelId="{550A14E2-D74C-46AD-B5C1-083C65A0990A}" type="presOf" srcId="{9F6A243E-8B8D-43B9-9504-C8799C7C3A64}" destId="{F8A020C0-D62E-4792-AA5E-3C9E912BA4CE}" srcOrd="0" destOrd="0" presId="urn:microsoft.com/office/officeart/2018/2/layout/IconVerticalSolidList"/>
    <dgm:cxn modelId="{17ED8008-CDD6-4C5D-8A71-9792BA02B603}" type="presParOf" srcId="{449BC77E-7B07-4FD5-9FAA-6A862F3ABC58}" destId="{144D71EF-E074-4055-BA94-3A0D1824BF97}" srcOrd="0" destOrd="0" presId="urn:microsoft.com/office/officeart/2018/2/layout/IconVerticalSolidList"/>
    <dgm:cxn modelId="{AAC860F7-11BF-44E7-A6CF-4122B6AC93D2}" type="presParOf" srcId="{144D71EF-E074-4055-BA94-3A0D1824BF97}" destId="{2BAD1DA3-A101-4F85-BABD-CF571A276C38}" srcOrd="0" destOrd="0" presId="urn:microsoft.com/office/officeart/2018/2/layout/IconVerticalSolidList"/>
    <dgm:cxn modelId="{BC9688F2-D569-46B8-BE3C-95D5E7FEC6DE}" type="presParOf" srcId="{144D71EF-E074-4055-BA94-3A0D1824BF97}" destId="{5523196A-8BA9-4008-AD41-72B92A1A2F33}" srcOrd="1" destOrd="0" presId="urn:microsoft.com/office/officeart/2018/2/layout/IconVerticalSolidList"/>
    <dgm:cxn modelId="{C7852F06-FDE9-4237-86B8-CA7A018B84B6}" type="presParOf" srcId="{144D71EF-E074-4055-BA94-3A0D1824BF97}" destId="{B4C6A090-F33D-41BC-9D9E-71B99064318A}" srcOrd="2" destOrd="0" presId="urn:microsoft.com/office/officeart/2018/2/layout/IconVerticalSolidList"/>
    <dgm:cxn modelId="{86592F67-CC0E-4179-A3D5-D709DB8BAA9E}" type="presParOf" srcId="{144D71EF-E074-4055-BA94-3A0D1824BF97}" destId="{B5FE03FB-1669-446F-AA51-BD28B963FCE8}" srcOrd="3" destOrd="0" presId="urn:microsoft.com/office/officeart/2018/2/layout/IconVerticalSolidList"/>
    <dgm:cxn modelId="{8DA605F9-71A6-4975-8411-C0171A60B840}" type="presParOf" srcId="{449BC77E-7B07-4FD5-9FAA-6A862F3ABC58}" destId="{7548AD93-F3B5-4062-AB51-FDCB46AA9373}" srcOrd="1" destOrd="0" presId="urn:microsoft.com/office/officeart/2018/2/layout/IconVerticalSolidList"/>
    <dgm:cxn modelId="{61FEAF68-E585-4F88-80C4-6890666A16CE}" type="presParOf" srcId="{449BC77E-7B07-4FD5-9FAA-6A862F3ABC58}" destId="{AA8A26ED-02F5-489A-92EF-065678EBB160}" srcOrd="2" destOrd="0" presId="urn:microsoft.com/office/officeart/2018/2/layout/IconVerticalSolidList"/>
    <dgm:cxn modelId="{CAF3BA36-7259-4569-BFD4-2DC46681A21E}" type="presParOf" srcId="{AA8A26ED-02F5-489A-92EF-065678EBB160}" destId="{385DF084-9085-4EF8-9213-54FD1E078D0E}" srcOrd="0" destOrd="0" presId="urn:microsoft.com/office/officeart/2018/2/layout/IconVerticalSolidList"/>
    <dgm:cxn modelId="{8B94CA53-7D55-44AC-B6ED-57B3A90DE5D6}" type="presParOf" srcId="{AA8A26ED-02F5-489A-92EF-065678EBB160}" destId="{0F24B287-CDF9-44C8-A032-0E24E96A7ABB}" srcOrd="1" destOrd="0" presId="urn:microsoft.com/office/officeart/2018/2/layout/IconVerticalSolidList"/>
    <dgm:cxn modelId="{5AC54DD6-57D2-45EE-889A-F574D8DEBB98}" type="presParOf" srcId="{AA8A26ED-02F5-489A-92EF-065678EBB160}" destId="{20CE492A-D851-43F9-8368-BF49B1E9DC63}" srcOrd="2" destOrd="0" presId="urn:microsoft.com/office/officeart/2018/2/layout/IconVerticalSolidList"/>
    <dgm:cxn modelId="{5CE69455-7EB4-477F-BFEF-1CFFFB707C0A}" type="presParOf" srcId="{AA8A26ED-02F5-489A-92EF-065678EBB160}" destId="{7B0098FE-E44C-4E7F-B9A0-18596A4598E8}" srcOrd="3" destOrd="0" presId="urn:microsoft.com/office/officeart/2018/2/layout/IconVerticalSolidList"/>
    <dgm:cxn modelId="{2BF21031-7372-4297-9D89-A1EF7CCBDE9F}" type="presParOf" srcId="{449BC77E-7B07-4FD5-9FAA-6A862F3ABC58}" destId="{2429FC83-5319-42A8-9305-A59E2CC2C81B}" srcOrd="3" destOrd="0" presId="urn:microsoft.com/office/officeart/2018/2/layout/IconVerticalSolidList"/>
    <dgm:cxn modelId="{4D94347B-ADBF-4DE3-9EAB-E34C64D5B424}" type="presParOf" srcId="{449BC77E-7B07-4FD5-9FAA-6A862F3ABC58}" destId="{385699D5-C25A-4AF6-A0C5-743B2C0F686B}" srcOrd="4" destOrd="0" presId="urn:microsoft.com/office/officeart/2018/2/layout/IconVerticalSolidList"/>
    <dgm:cxn modelId="{FB853385-7C54-4EAC-B3FA-DD0A97362F44}" type="presParOf" srcId="{385699D5-C25A-4AF6-A0C5-743B2C0F686B}" destId="{429649DF-09F0-4D32-A4EC-DA722D4EA380}" srcOrd="0" destOrd="0" presId="urn:microsoft.com/office/officeart/2018/2/layout/IconVerticalSolidList"/>
    <dgm:cxn modelId="{D5354328-3559-4ECE-86ED-BB9B4778F860}" type="presParOf" srcId="{385699D5-C25A-4AF6-A0C5-743B2C0F686B}" destId="{0DE7F368-B6D8-468E-9D62-274DD68BFE0B}" srcOrd="1" destOrd="0" presId="urn:microsoft.com/office/officeart/2018/2/layout/IconVerticalSolidList"/>
    <dgm:cxn modelId="{CF457C62-5151-43AD-B187-3AE5985EA178}" type="presParOf" srcId="{385699D5-C25A-4AF6-A0C5-743B2C0F686B}" destId="{B24C94B5-DBFD-4341-B55D-04C44E97B2A5}" srcOrd="2" destOrd="0" presId="urn:microsoft.com/office/officeart/2018/2/layout/IconVerticalSolidList"/>
    <dgm:cxn modelId="{5A38D09E-6F81-489A-8908-BD00D78AC54E}" type="presParOf" srcId="{385699D5-C25A-4AF6-A0C5-743B2C0F686B}" destId="{950DB719-15E1-40AE-983C-6B8515BFDCBE}" srcOrd="3" destOrd="0" presId="urn:microsoft.com/office/officeart/2018/2/layout/IconVerticalSolidList"/>
    <dgm:cxn modelId="{7FD6E0C1-54E7-4DF0-9DC2-A23B5A2F44E6}" type="presParOf" srcId="{449BC77E-7B07-4FD5-9FAA-6A862F3ABC58}" destId="{CAA03E75-D236-4F1B-84E4-6FC4560EDAC7}" srcOrd="5" destOrd="0" presId="urn:microsoft.com/office/officeart/2018/2/layout/IconVerticalSolidList"/>
    <dgm:cxn modelId="{851F1050-A8F4-4D9B-A3BB-BAD6A24BDE60}" type="presParOf" srcId="{449BC77E-7B07-4FD5-9FAA-6A862F3ABC58}" destId="{08F94FBD-74C6-487E-8BA2-0F5860A0C46D}" srcOrd="6" destOrd="0" presId="urn:microsoft.com/office/officeart/2018/2/layout/IconVerticalSolidList"/>
    <dgm:cxn modelId="{D3F36D95-FA27-498E-9DF1-D807E75878D0}" type="presParOf" srcId="{08F94FBD-74C6-487E-8BA2-0F5860A0C46D}" destId="{D84AF13E-542A-4FDF-9398-A204B03CEFED}" srcOrd="0" destOrd="0" presId="urn:microsoft.com/office/officeart/2018/2/layout/IconVerticalSolidList"/>
    <dgm:cxn modelId="{E8ED9068-18FF-49F7-AB0B-EB7367B64868}" type="presParOf" srcId="{08F94FBD-74C6-487E-8BA2-0F5860A0C46D}" destId="{4CF12BA5-CF3E-423A-9429-8D8E038D838C}" srcOrd="1" destOrd="0" presId="urn:microsoft.com/office/officeart/2018/2/layout/IconVerticalSolidList"/>
    <dgm:cxn modelId="{7E10665C-3B66-4C37-95B0-2FE5C6C07402}" type="presParOf" srcId="{08F94FBD-74C6-487E-8BA2-0F5860A0C46D}" destId="{891E334E-8998-434C-AD5F-11814487CB6C}" srcOrd="2" destOrd="0" presId="urn:microsoft.com/office/officeart/2018/2/layout/IconVerticalSolidList"/>
    <dgm:cxn modelId="{475E6223-85CB-45C8-AC6B-82B4121C0195}" type="presParOf" srcId="{08F94FBD-74C6-487E-8BA2-0F5860A0C46D}" destId="{42421BE4-069A-41D2-9465-628F138A6CC3}" srcOrd="3" destOrd="0" presId="urn:microsoft.com/office/officeart/2018/2/layout/IconVerticalSolidList"/>
    <dgm:cxn modelId="{320FD303-D0A9-473A-A873-3B3D71CE6156}" type="presParOf" srcId="{449BC77E-7B07-4FD5-9FAA-6A862F3ABC58}" destId="{14AD5856-9304-443E-82E8-6CA70758B7EC}" srcOrd="7" destOrd="0" presId="urn:microsoft.com/office/officeart/2018/2/layout/IconVerticalSolidList"/>
    <dgm:cxn modelId="{EF3CE44F-D841-480E-B565-FEB851B80F42}" type="presParOf" srcId="{449BC77E-7B07-4FD5-9FAA-6A862F3ABC58}" destId="{BED81F8C-FAC6-4B4B-8FD0-DB1DEB89CD34}" srcOrd="8" destOrd="0" presId="urn:microsoft.com/office/officeart/2018/2/layout/IconVerticalSolidList"/>
    <dgm:cxn modelId="{D31AC0FD-8265-44CF-BCD8-31F21730B851}" type="presParOf" srcId="{BED81F8C-FAC6-4B4B-8FD0-DB1DEB89CD34}" destId="{D0763DA4-30EE-420A-809E-72076AC62834}" srcOrd="0" destOrd="0" presId="urn:microsoft.com/office/officeart/2018/2/layout/IconVerticalSolidList"/>
    <dgm:cxn modelId="{EACA4C8F-A34D-4F5F-9BD0-9DB3D459720A}" type="presParOf" srcId="{BED81F8C-FAC6-4B4B-8FD0-DB1DEB89CD34}" destId="{AFFFC911-2027-4FEF-A9FF-F91C755E28FC}" srcOrd="1" destOrd="0" presId="urn:microsoft.com/office/officeart/2018/2/layout/IconVerticalSolidList"/>
    <dgm:cxn modelId="{3D564B15-7EB8-49D1-A7DC-7A7544A00948}" type="presParOf" srcId="{BED81F8C-FAC6-4B4B-8FD0-DB1DEB89CD34}" destId="{CE00E562-4D20-48F6-8501-E427CC6A9034}" srcOrd="2" destOrd="0" presId="urn:microsoft.com/office/officeart/2018/2/layout/IconVerticalSolidList"/>
    <dgm:cxn modelId="{6E571385-FD5A-4171-A502-6F26EDD36279}" type="presParOf" srcId="{BED81F8C-FAC6-4B4B-8FD0-DB1DEB89CD34}" destId="{F8A020C0-D62E-4792-AA5E-3C9E912BA4C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CBB3986-81CA-4F73-96C2-8B6BE670836D}"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7F345AB4-C793-4053-89DB-C18434483E5B}">
      <dgm:prSet/>
      <dgm:spPr/>
      <dgm:t>
        <a:bodyPr/>
        <a:lstStyle/>
        <a:p>
          <a:r>
            <a:rPr lang="en-US"/>
            <a:t>Networking and Connectivity</a:t>
          </a:r>
        </a:p>
      </dgm:t>
    </dgm:pt>
    <dgm:pt modelId="{A1C36D1B-F29A-4131-97F6-8837BE274F41}" type="parTrans" cxnId="{DD75AA74-A2E7-45D5-962A-7FFF0C31DF59}">
      <dgm:prSet/>
      <dgm:spPr/>
      <dgm:t>
        <a:bodyPr/>
        <a:lstStyle/>
        <a:p>
          <a:endParaRPr lang="en-US"/>
        </a:p>
      </dgm:t>
    </dgm:pt>
    <dgm:pt modelId="{5E7E76C9-F8A7-4F2D-81A2-6016D309DFBE}" type="sibTrans" cxnId="{DD75AA74-A2E7-45D5-962A-7FFF0C31DF59}">
      <dgm:prSet/>
      <dgm:spPr/>
      <dgm:t>
        <a:bodyPr/>
        <a:lstStyle/>
        <a:p>
          <a:endParaRPr lang="en-US"/>
        </a:p>
      </dgm:t>
    </dgm:pt>
    <dgm:pt modelId="{93D9F83D-6647-492F-8131-F0A675BA7A62}">
      <dgm:prSet/>
      <dgm:spPr/>
      <dgm:t>
        <a:bodyPr/>
        <a:lstStyle/>
        <a:p>
          <a:r>
            <a:rPr lang="en-US"/>
            <a:t>Private Endpoints, DNS, Virtual Networks, Peering</a:t>
          </a:r>
        </a:p>
      </dgm:t>
    </dgm:pt>
    <dgm:pt modelId="{6315597B-E251-4FD4-9045-C5A033B45341}" type="parTrans" cxnId="{A06FCC2B-231D-48AC-AD3C-1D042955F0C4}">
      <dgm:prSet/>
      <dgm:spPr/>
      <dgm:t>
        <a:bodyPr/>
        <a:lstStyle/>
        <a:p>
          <a:endParaRPr lang="en-US"/>
        </a:p>
      </dgm:t>
    </dgm:pt>
    <dgm:pt modelId="{4FFAA64A-4E24-4801-B400-E32EC3D82A47}" type="sibTrans" cxnId="{A06FCC2B-231D-48AC-AD3C-1D042955F0C4}">
      <dgm:prSet/>
      <dgm:spPr/>
      <dgm:t>
        <a:bodyPr/>
        <a:lstStyle/>
        <a:p>
          <a:endParaRPr lang="en-US"/>
        </a:p>
      </dgm:t>
    </dgm:pt>
    <dgm:pt modelId="{AC5CD251-51DD-4FEB-A08F-164E8524DAE2}">
      <dgm:prSet/>
      <dgm:spPr/>
      <dgm:t>
        <a:bodyPr/>
        <a:lstStyle/>
        <a:p>
          <a:r>
            <a:rPr lang="en-US"/>
            <a:t>Infrastructure and Platform Services</a:t>
          </a:r>
        </a:p>
      </dgm:t>
    </dgm:pt>
    <dgm:pt modelId="{5CB735C1-DF22-4DCA-A5CF-B2F7CFE932AA}" type="parTrans" cxnId="{380690B4-7BCE-436E-AC83-86DCAC4EFE48}">
      <dgm:prSet/>
      <dgm:spPr/>
      <dgm:t>
        <a:bodyPr/>
        <a:lstStyle/>
        <a:p>
          <a:endParaRPr lang="en-US"/>
        </a:p>
      </dgm:t>
    </dgm:pt>
    <dgm:pt modelId="{5EFE81E1-13FD-4F39-BFA4-8E3C0EECA388}" type="sibTrans" cxnId="{380690B4-7BCE-436E-AC83-86DCAC4EFE48}">
      <dgm:prSet/>
      <dgm:spPr/>
      <dgm:t>
        <a:bodyPr/>
        <a:lstStyle/>
        <a:p>
          <a:endParaRPr lang="en-US"/>
        </a:p>
      </dgm:t>
    </dgm:pt>
    <dgm:pt modelId="{102E2AA3-B21C-49C4-A48C-3845A7AD6522}">
      <dgm:prSet/>
      <dgm:spPr/>
      <dgm:t>
        <a:bodyPr/>
        <a:lstStyle/>
        <a:p>
          <a:r>
            <a:rPr lang="en-US"/>
            <a:t>Iaas, PaaS, VMs, App Services, Storage</a:t>
          </a:r>
        </a:p>
      </dgm:t>
    </dgm:pt>
    <dgm:pt modelId="{5D582EF5-8002-48E9-B83D-D4E3B184D876}" type="parTrans" cxnId="{C5B1CE65-438E-45BF-ACB3-F62F2392B3B8}">
      <dgm:prSet/>
      <dgm:spPr/>
      <dgm:t>
        <a:bodyPr/>
        <a:lstStyle/>
        <a:p>
          <a:endParaRPr lang="en-US"/>
        </a:p>
      </dgm:t>
    </dgm:pt>
    <dgm:pt modelId="{29B41C44-61E1-4628-AA69-3B671EB08FCE}" type="sibTrans" cxnId="{C5B1CE65-438E-45BF-ACB3-F62F2392B3B8}">
      <dgm:prSet/>
      <dgm:spPr/>
      <dgm:t>
        <a:bodyPr/>
        <a:lstStyle/>
        <a:p>
          <a:endParaRPr lang="en-US"/>
        </a:p>
      </dgm:t>
    </dgm:pt>
    <dgm:pt modelId="{608C23B7-F6D0-4E3F-AD0B-20169C119F79}">
      <dgm:prSet/>
      <dgm:spPr/>
      <dgm:t>
        <a:bodyPr/>
        <a:lstStyle/>
        <a:p>
          <a:r>
            <a:rPr lang="en-US"/>
            <a:t>Governance &amp; Compliance</a:t>
          </a:r>
        </a:p>
      </dgm:t>
    </dgm:pt>
    <dgm:pt modelId="{820CFAB5-880C-4586-886D-3D33F964281B}" type="parTrans" cxnId="{F6A60D72-9A29-4919-9295-0DCE6AB06CCF}">
      <dgm:prSet/>
      <dgm:spPr/>
      <dgm:t>
        <a:bodyPr/>
        <a:lstStyle/>
        <a:p>
          <a:endParaRPr lang="en-US"/>
        </a:p>
      </dgm:t>
    </dgm:pt>
    <dgm:pt modelId="{4EF1ACE2-FDBC-4DAE-8CAA-9225D52299B3}" type="sibTrans" cxnId="{F6A60D72-9A29-4919-9295-0DCE6AB06CCF}">
      <dgm:prSet/>
      <dgm:spPr/>
      <dgm:t>
        <a:bodyPr/>
        <a:lstStyle/>
        <a:p>
          <a:endParaRPr lang="en-US"/>
        </a:p>
      </dgm:t>
    </dgm:pt>
    <dgm:pt modelId="{F2503AB9-E6A2-48BE-ABF4-CF2AE14A9E19}">
      <dgm:prSet/>
      <dgm:spPr/>
      <dgm:t>
        <a:bodyPr/>
        <a:lstStyle/>
        <a:p>
          <a:r>
            <a:rPr lang="en-US"/>
            <a:t>Policy, RBAC, Templates, Cost Management</a:t>
          </a:r>
        </a:p>
      </dgm:t>
    </dgm:pt>
    <dgm:pt modelId="{6F5D7BC1-AC2C-4C2A-9918-98C698FFD414}" type="parTrans" cxnId="{D38EBF40-0312-40C4-8E28-950FF93329D2}">
      <dgm:prSet/>
      <dgm:spPr/>
      <dgm:t>
        <a:bodyPr/>
        <a:lstStyle/>
        <a:p>
          <a:endParaRPr lang="en-US"/>
        </a:p>
      </dgm:t>
    </dgm:pt>
    <dgm:pt modelId="{206FBAA3-EE01-40DF-A75A-BA4F29929666}" type="sibTrans" cxnId="{D38EBF40-0312-40C4-8E28-950FF93329D2}">
      <dgm:prSet/>
      <dgm:spPr/>
      <dgm:t>
        <a:bodyPr/>
        <a:lstStyle/>
        <a:p>
          <a:endParaRPr lang="en-US"/>
        </a:p>
      </dgm:t>
    </dgm:pt>
    <dgm:pt modelId="{BCACD9B5-124D-4EE1-96AC-2F56EAAF4104}">
      <dgm:prSet/>
      <dgm:spPr/>
      <dgm:t>
        <a:bodyPr/>
        <a:lstStyle/>
        <a:p>
          <a:r>
            <a:rPr lang="en-US"/>
            <a:t>Automation</a:t>
          </a:r>
        </a:p>
      </dgm:t>
    </dgm:pt>
    <dgm:pt modelId="{59F98E23-6670-4D3F-8B62-95F6A952462E}" type="parTrans" cxnId="{7170E66A-8A4C-4282-9E74-984B7024F6B0}">
      <dgm:prSet/>
      <dgm:spPr/>
      <dgm:t>
        <a:bodyPr/>
        <a:lstStyle/>
        <a:p>
          <a:endParaRPr lang="en-US"/>
        </a:p>
      </dgm:t>
    </dgm:pt>
    <dgm:pt modelId="{6F30129D-B8FE-4488-BEDF-4A0E2510F248}" type="sibTrans" cxnId="{7170E66A-8A4C-4282-9E74-984B7024F6B0}">
      <dgm:prSet/>
      <dgm:spPr/>
      <dgm:t>
        <a:bodyPr/>
        <a:lstStyle/>
        <a:p>
          <a:endParaRPr lang="en-US"/>
        </a:p>
      </dgm:t>
    </dgm:pt>
    <dgm:pt modelId="{35A32837-0532-4EA8-B19E-C5F68917102E}">
      <dgm:prSet/>
      <dgm:spPr/>
      <dgm:t>
        <a:bodyPr/>
        <a:lstStyle/>
        <a:p>
          <a:r>
            <a:rPr lang="en-US"/>
            <a:t>PowerShell, Templates, Azure Automation, Logic Apps</a:t>
          </a:r>
        </a:p>
      </dgm:t>
    </dgm:pt>
    <dgm:pt modelId="{95394302-1599-4EC8-AB93-AAA4A3B663AD}" type="parTrans" cxnId="{15C60611-13EF-44E7-8D46-887DB41F5A28}">
      <dgm:prSet/>
      <dgm:spPr/>
      <dgm:t>
        <a:bodyPr/>
        <a:lstStyle/>
        <a:p>
          <a:endParaRPr lang="en-US"/>
        </a:p>
      </dgm:t>
    </dgm:pt>
    <dgm:pt modelId="{7BD7B77B-3954-4FB1-ADCD-909618DED1D1}" type="sibTrans" cxnId="{15C60611-13EF-44E7-8D46-887DB41F5A28}">
      <dgm:prSet/>
      <dgm:spPr/>
      <dgm:t>
        <a:bodyPr/>
        <a:lstStyle/>
        <a:p>
          <a:endParaRPr lang="en-US"/>
        </a:p>
      </dgm:t>
    </dgm:pt>
    <dgm:pt modelId="{8282C5EF-FD5B-4D45-9518-8CCC3778D606}">
      <dgm:prSet/>
      <dgm:spPr/>
      <dgm:t>
        <a:bodyPr/>
        <a:lstStyle/>
        <a:p>
          <a:r>
            <a:rPr lang="en-US"/>
            <a:t>Security &amp; Monitoring</a:t>
          </a:r>
        </a:p>
      </dgm:t>
    </dgm:pt>
    <dgm:pt modelId="{58E37CD3-0C37-4BCA-8BF3-0AED3C1AFB12}" type="parTrans" cxnId="{3E666DB0-578B-4CFA-ACD9-9E77FB299DE2}">
      <dgm:prSet/>
      <dgm:spPr/>
      <dgm:t>
        <a:bodyPr/>
        <a:lstStyle/>
        <a:p>
          <a:endParaRPr lang="en-US"/>
        </a:p>
      </dgm:t>
    </dgm:pt>
    <dgm:pt modelId="{B54948CA-6C6B-47F7-B42F-4D07A3487C58}" type="sibTrans" cxnId="{3E666DB0-578B-4CFA-ACD9-9E77FB299DE2}">
      <dgm:prSet/>
      <dgm:spPr/>
      <dgm:t>
        <a:bodyPr/>
        <a:lstStyle/>
        <a:p>
          <a:endParaRPr lang="en-US"/>
        </a:p>
      </dgm:t>
    </dgm:pt>
    <dgm:pt modelId="{5572289A-A005-4A31-BF57-0B75FFF0E716}">
      <dgm:prSet/>
      <dgm:spPr/>
      <dgm:t>
        <a:bodyPr/>
        <a:lstStyle/>
        <a:p>
          <a:r>
            <a:rPr lang="en-US"/>
            <a:t>ESU, Azure Monitor, Sentinel, Log Analytics</a:t>
          </a:r>
        </a:p>
      </dgm:t>
    </dgm:pt>
    <dgm:pt modelId="{8404D2D8-ABDA-4202-8DBC-66FE70849714}" type="parTrans" cxnId="{56CC4E72-ED76-4F0C-9E98-BA4179D71F84}">
      <dgm:prSet/>
      <dgm:spPr/>
      <dgm:t>
        <a:bodyPr/>
        <a:lstStyle/>
        <a:p>
          <a:endParaRPr lang="en-US"/>
        </a:p>
      </dgm:t>
    </dgm:pt>
    <dgm:pt modelId="{671BACF3-1050-4D11-963F-852ED2216A2B}" type="sibTrans" cxnId="{56CC4E72-ED76-4F0C-9E98-BA4179D71F84}">
      <dgm:prSet/>
      <dgm:spPr/>
      <dgm:t>
        <a:bodyPr/>
        <a:lstStyle/>
        <a:p>
          <a:endParaRPr lang="en-US"/>
        </a:p>
      </dgm:t>
    </dgm:pt>
    <dgm:pt modelId="{C8F321CA-12B9-4B70-A742-9E3D27896F55}" type="pres">
      <dgm:prSet presAssocID="{6CBB3986-81CA-4F73-96C2-8B6BE670836D}" presName="root" presStyleCnt="0">
        <dgm:presLayoutVars>
          <dgm:dir/>
          <dgm:resizeHandles val="exact"/>
        </dgm:presLayoutVars>
      </dgm:prSet>
      <dgm:spPr/>
    </dgm:pt>
    <dgm:pt modelId="{7696FC57-3CCB-4C57-99D2-5445C5BAD649}" type="pres">
      <dgm:prSet presAssocID="{7F345AB4-C793-4053-89DB-C18434483E5B}" presName="compNode" presStyleCnt="0"/>
      <dgm:spPr/>
    </dgm:pt>
    <dgm:pt modelId="{46C0BD4D-2829-473C-8EE0-50612D6ACE3B}" type="pres">
      <dgm:prSet presAssocID="{7F345AB4-C793-4053-89DB-C18434483E5B}" presName="bgRect" presStyleLbl="bgShp" presStyleIdx="0" presStyleCnt="5"/>
      <dgm:spPr/>
    </dgm:pt>
    <dgm:pt modelId="{95E8B1CE-8476-4506-A799-4DC312C6DCA6}" type="pres">
      <dgm:prSet presAssocID="{7F345AB4-C793-4053-89DB-C18434483E5B}"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ireless"/>
        </a:ext>
      </dgm:extLst>
    </dgm:pt>
    <dgm:pt modelId="{9D514FC7-BC59-4C90-A60E-08840BDAF2CD}" type="pres">
      <dgm:prSet presAssocID="{7F345AB4-C793-4053-89DB-C18434483E5B}" presName="spaceRect" presStyleCnt="0"/>
      <dgm:spPr/>
    </dgm:pt>
    <dgm:pt modelId="{AE5E6452-DA5E-4374-A77C-65E3F07D03F4}" type="pres">
      <dgm:prSet presAssocID="{7F345AB4-C793-4053-89DB-C18434483E5B}" presName="parTx" presStyleLbl="revTx" presStyleIdx="0" presStyleCnt="10">
        <dgm:presLayoutVars>
          <dgm:chMax val="0"/>
          <dgm:chPref val="0"/>
        </dgm:presLayoutVars>
      </dgm:prSet>
      <dgm:spPr/>
    </dgm:pt>
    <dgm:pt modelId="{71B315A3-E840-4837-B397-457CE6FAFCB0}" type="pres">
      <dgm:prSet presAssocID="{7F345AB4-C793-4053-89DB-C18434483E5B}" presName="desTx" presStyleLbl="revTx" presStyleIdx="1" presStyleCnt="10">
        <dgm:presLayoutVars/>
      </dgm:prSet>
      <dgm:spPr/>
    </dgm:pt>
    <dgm:pt modelId="{69D56886-4F29-40DB-9200-140D3E9E63F0}" type="pres">
      <dgm:prSet presAssocID="{5E7E76C9-F8A7-4F2D-81A2-6016D309DFBE}" presName="sibTrans" presStyleCnt="0"/>
      <dgm:spPr/>
    </dgm:pt>
    <dgm:pt modelId="{4D47FC03-2B26-4A87-9B8F-32C0A7A38980}" type="pres">
      <dgm:prSet presAssocID="{AC5CD251-51DD-4FEB-A08F-164E8524DAE2}" presName="compNode" presStyleCnt="0"/>
      <dgm:spPr/>
    </dgm:pt>
    <dgm:pt modelId="{067D8129-DAF8-430A-98F5-1DC7F6496695}" type="pres">
      <dgm:prSet presAssocID="{AC5CD251-51DD-4FEB-A08F-164E8524DAE2}" presName="bgRect" presStyleLbl="bgShp" presStyleIdx="1" presStyleCnt="5"/>
      <dgm:spPr/>
    </dgm:pt>
    <dgm:pt modelId="{CD79FBF8-D6AE-4745-9488-17A19B11C40A}" type="pres">
      <dgm:prSet presAssocID="{AC5CD251-51DD-4FEB-A08F-164E8524DAE2}"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loud"/>
        </a:ext>
      </dgm:extLst>
    </dgm:pt>
    <dgm:pt modelId="{74553C60-8FD6-430B-A00D-09A0D477D684}" type="pres">
      <dgm:prSet presAssocID="{AC5CD251-51DD-4FEB-A08F-164E8524DAE2}" presName="spaceRect" presStyleCnt="0"/>
      <dgm:spPr/>
    </dgm:pt>
    <dgm:pt modelId="{D0E38049-2566-47E1-805D-2C2D54A86618}" type="pres">
      <dgm:prSet presAssocID="{AC5CD251-51DD-4FEB-A08F-164E8524DAE2}" presName="parTx" presStyleLbl="revTx" presStyleIdx="2" presStyleCnt="10">
        <dgm:presLayoutVars>
          <dgm:chMax val="0"/>
          <dgm:chPref val="0"/>
        </dgm:presLayoutVars>
      </dgm:prSet>
      <dgm:spPr/>
    </dgm:pt>
    <dgm:pt modelId="{FBD57BA9-173C-4707-A150-4F2FFE3DB9BC}" type="pres">
      <dgm:prSet presAssocID="{AC5CD251-51DD-4FEB-A08F-164E8524DAE2}" presName="desTx" presStyleLbl="revTx" presStyleIdx="3" presStyleCnt="10">
        <dgm:presLayoutVars/>
      </dgm:prSet>
      <dgm:spPr/>
    </dgm:pt>
    <dgm:pt modelId="{58C52085-1D04-4037-A599-36BFF4BC5769}" type="pres">
      <dgm:prSet presAssocID="{5EFE81E1-13FD-4F39-BFA4-8E3C0EECA388}" presName="sibTrans" presStyleCnt="0"/>
      <dgm:spPr/>
    </dgm:pt>
    <dgm:pt modelId="{A11E6104-153B-4636-881D-C900E4E10721}" type="pres">
      <dgm:prSet presAssocID="{608C23B7-F6D0-4E3F-AD0B-20169C119F79}" presName="compNode" presStyleCnt="0"/>
      <dgm:spPr/>
    </dgm:pt>
    <dgm:pt modelId="{2691D2BA-C3DE-44C0-BC51-8D80B91C3A5F}" type="pres">
      <dgm:prSet presAssocID="{608C23B7-F6D0-4E3F-AD0B-20169C119F79}" presName="bgRect" presStyleLbl="bgShp" presStyleIdx="2" presStyleCnt="5"/>
      <dgm:spPr/>
    </dgm:pt>
    <dgm:pt modelId="{4690656F-1F1A-4102-B4F0-320A916D1DAD}" type="pres">
      <dgm:prSet presAssocID="{608C23B7-F6D0-4E3F-AD0B-20169C119F79}"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ierarchy"/>
        </a:ext>
      </dgm:extLst>
    </dgm:pt>
    <dgm:pt modelId="{85B49B79-085A-4A45-85B3-4CC7A1F9A50C}" type="pres">
      <dgm:prSet presAssocID="{608C23B7-F6D0-4E3F-AD0B-20169C119F79}" presName="spaceRect" presStyleCnt="0"/>
      <dgm:spPr/>
    </dgm:pt>
    <dgm:pt modelId="{71E91CB3-C30C-4DE0-BBD2-3450F0EAA615}" type="pres">
      <dgm:prSet presAssocID="{608C23B7-F6D0-4E3F-AD0B-20169C119F79}" presName="parTx" presStyleLbl="revTx" presStyleIdx="4" presStyleCnt="10">
        <dgm:presLayoutVars>
          <dgm:chMax val="0"/>
          <dgm:chPref val="0"/>
        </dgm:presLayoutVars>
      </dgm:prSet>
      <dgm:spPr/>
    </dgm:pt>
    <dgm:pt modelId="{3354465E-E7F9-431D-A775-71386A97D224}" type="pres">
      <dgm:prSet presAssocID="{608C23B7-F6D0-4E3F-AD0B-20169C119F79}" presName="desTx" presStyleLbl="revTx" presStyleIdx="5" presStyleCnt="10">
        <dgm:presLayoutVars/>
      </dgm:prSet>
      <dgm:spPr/>
    </dgm:pt>
    <dgm:pt modelId="{06C44D93-B675-4BBC-8AD0-E7D89355C951}" type="pres">
      <dgm:prSet presAssocID="{4EF1ACE2-FDBC-4DAE-8CAA-9225D52299B3}" presName="sibTrans" presStyleCnt="0"/>
      <dgm:spPr/>
    </dgm:pt>
    <dgm:pt modelId="{34C4B6DE-F39F-4986-89BE-16FB62A0E9E3}" type="pres">
      <dgm:prSet presAssocID="{BCACD9B5-124D-4EE1-96AC-2F56EAAF4104}" presName="compNode" presStyleCnt="0"/>
      <dgm:spPr/>
    </dgm:pt>
    <dgm:pt modelId="{F09D1DFD-23B1-4A39-9EA0-F3F6ED6A2008}" type="pres">
      <dgm:prSet presAssocID="{BCACD9B5-124D-4EE1-96AC-2F56EAAF4104}" presName="bgRect" presStyleLbl="bgShp" presStyleIdx="3" presStyleCnt="5"/>
      <dgm:spPr/>
    </dgm:pt>
    <dgm:pt modelId="{0C5ADD93-BD17-4BAB-8D93-A8B854A8BAC9}" type="pres">
      <dgm:prSet presAssocID="{BCACD9B5-124D-4EE1-96AC-2F56EAAF4104}"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Gears"/>
        </a:ext>
      </dgm:extLst>
    </dgm:pt>
    <dgm:pt modelId="{C2DD0FD3-32E4-4D67-B490-BD7595B4F32D}" type="pres">
      <dgm:prSet presAssocID="{BCACD9B5-124D-4EE1-96AC-2F56EAAF4104}" presName="spaceRect" presStyleCnt="0"/>
      <dgm:spPr/>
    </dgm:pt>
    <dgm:pt modelId="{4ADD9959-7FB1-4F01-8896-29B2C015F8F2}" type="pres">
      <dgm:prSet presAssocID="{BCACD9B5-124D-4EE1-96AC-2F56EAAF4104}" presName="parTx" presStyleLbl="revTx" presStyleIdx="6" presStyleCnt="10">
        <dgm:presLayoutVars>
          <dgm:chMax val="0"/>
          <dgm:chPref val="0"/>
        </dgm:presLayoutVars>
      </dgm:prSet>
      <dgm:spPr/>
    </dgm:pt>
    <dgm:pt modelId="{ECDDE778-D06B-4A1B-9109-702682E99FE2}" type="pres">
      <dgm:prSet presAssocID="{BCACD9B5-124D-4EE1-96AC-2F56EAAF4104}" presName="desTx" presStyleLbl="revTx" presStyleIdx="7" presStyleCnt="10">
        <dgm:presLayoutVars/>
      </dgm:prSet>
      <dgm:spPr/>
    </dgm:pt>
    <dgm:pt modelId="{2E984880-9689-447B-ABD7-D76F4BC4C155}" type="pres">
      <dgm:prSet presAssocID="{6F30129D-B8FE-4488-BEDF-4A0E2510F248}" presName="sibTrans" presStyleCnt="0"/>
      <dgm:spPr/>
    </dgm:pt>
    <dgm:pt modelId="{412A38C7-FDB0-4FBC-B089-A17B1B28F70D}" type="pres">
      <dgm:prSet presAssocID="{8282C5EF-FD5B-4D45-9518-8CCC3778D606}" presName="compNode" presStyleCnt="0"/>
      <dgm:spPr/>
    </dgm:pt>
    <dgm:pt modelId="{13315E8E-0BCE-4C7C-8286-CF3656A4034C}" type="pres">
      <dgm:prSet presAssocID="{8282C5EF-FD5B-4D45-9518-8CCC3778D606}" presName="bgRect" presStyleLbl="bgShp" presStyleIdx="4" presStyleCnt="5"/>
      <dgm:spPr/>
    </dgm:pt>
    <dgm:pt modelId="{320C8B43-5713-46E8-8AA9-9C1686CEEBD2}" type="pres">
      <dgm:prSet presAssocID="{8282C5EF-FD5B-4D45-9518-8CCC3778D606}"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Lock"/>
        </a:ext>
      </dgm:extLst>
    </dgm:pt>
    <dgm:pt modelId="{6F6A3F94-5D3D-40C4-ABC0-759F83208ED1}" type="pres">
      <dgm:prSet presAssocID="{8282C5EF-FD5B-4D45-9518-8CCC3778D606}" presName="spaceRect" presStyleCnt="0"/>
      <dgm:spPr/>
    </dgm:pt>
    <dgm:pt modelId="{3EDEFBD0-5105-454B-B690-6A68307ADF03}" type="pres">
      <dgm:prSet presAssocID="{8282C5EF-FD5B-4D45-9518-8CCC3778D606}" presName="parTx" presStyleLbl="revTx" presStyleIdx="8" presStyleCnt="10">
        <dgm:presLayoutVars>
          <dgm:chMax val="0"/>
          <dgm:chPref val="0"/>
        </dgm:presLayoutVars>
      </dgm:prSet>
      <dgm:spPr/>
    </dgm:pt>
    <dgm:pt modelId="{7B33B6E8-B499-427D-97E4-1091BFB92F8B}" type="pres">
      <dgm:prSet presAssocID="{8282C5EF-FD5B-4D45-9518-8CCC3778D606}" presName="desTx" presStyleLbl="revTx" presStyleIdx="9" presStyleCnt="10">
        <dgm:presLayoutVars/>
      </dgm:prSet>
      <dgm:spPr/>
    </dgm:pt>
  </dgm:ptLst>
  <dgm:cxnLst>
    <dgm:cxn modelId="{B5C88903-D5F4-424F-9B96-4FF8D51C28F2}" type="presOf" srcId="{BCACD9B5-124D-4EE1-96AC-2F56EAAF4104}" destId="{4ADD9959-7FB1-4F01-8896-29B2C015F8F2}" srcOrd="0" destOrd="0" presId="urn:microsoft.com/office/officeart/2018/2/layout/IconVerticalSolidList"/>
    <dgm:cxn modelId="{15C60611-13EF-44E7-8D46-887DB41F5A28}" srcId="{BCACD9B5-124D-4EE1-96AC-2F56EAAF4104}" destId="{35A32837-0532-4EA8-B19E-C5F68917102E}" srcOrd="0" destOrd="0" parTransId="{95394302-1599-4EC8-AB93-AAA4A3B663AD}" sibTransId="{7BD7B77B-3954-4FB1-ADCD-909618DED1D1}"/>
    <dgm:cxn modelId="{E824DD1C-B384-4874-8A76-986B2F2611C4}" type="presOf" srcId="{8282C5EF-FD5B-4D45-9518-8CCC3778D606}" destId="{3EDEFBD0-5105-454B-B690-6A68307ADF03}" srcOrd="0" destOrd="0" presId="urn:microsoft.com/office/officeart/2018/2/layout/IconVerticalSolidList"/>
    <dgm:cxn modelId="{A7E72E28-069D-4FF5-B407-F77E950FC76E}" type="presOf" srcId="{7F345AB4-C793-4053-89DB-C18434483E5B}" destId="{AE5E6452-DA5E-4374-A77C-65E3F07D03F4}" srcOrd="0" destOrd="0" presId="urn:microsoft.com/office/officeart/2018/2/layout/IconVerticalSolidList"/>
    <dgm:cxn modelId="{A06FCC2B-231D-48AC-AD3C-1D042955F0C4}" srcId="{7F345AB4-C793-4053-89DB-C18434483E5B}" destId="{93D9F83D-6647-492F-8131-F0A675BA7A62}" srcOrd="0" destOrd="0" parTransId="{6315597B-E251-4FD4-9045-C5A033B45341}" sibTransId="{4FFAA64A-4E24-4801-B400-E32EC3D82A47}"/>
    <dgm:cxn modelId="{D38EBF40-0312-40C4-8E28-950FF93329D2}" srcId="{608C23B7-F6D0-4E3F-AD0B-20169C119F79}" destId="{F2503AB9-E6A2-48BE-ABF4-CF2AE14A9E19}" srcOrd="0" destOrd="0" parTransId="{6F5D7BC1-AC2C-4C2A-9918-98C698FFD414}" sibTransId="{206FBAA3-EE01-40DF-A75A-BA4F29929666}"/>
    <dgm:cxn modelId="{9D9CB35B-0C5F-46AA-BE76-172AB9EBFC34}" type="presOf" srcId="{AC5CD251-51DD-4FEB-A08F-164E8524DAE2}" destId="{D0E38049-2566-47E1-805D-2C2D54A86618}" srcOrd="0" destOrd="0" presId="urn:microsoft.com/office/officeart/2018/2/layout/IconVerticalSolidList"/>
    <dgm:cxn modelId="{C5B1CE65-438E-45BF-ACB3-F62F2392B3B8}" srcId="{AC5CD251-51DD-4FEB-A08F-164E8524DAE2}" destId="{102E2AA3-B21C-49C4-A48C-3845A7AD6522}" srcOrd="0" destOrd="0" parTransId="{5D582EF5-8002-48E9-B83D-D4E3B184D876}" sibTransId="{29B41C44-61E1-4628-AA69-3B671EB08FCE}"/>
    <dgm:cxn modelId="{EBFDB369-2F2B-4F73-8ADC-49035409703A}" type="presOf" srcId="{35A32837-0532-4EA8-B19E-C5F68917102E}" destId="{ECDDE778-D06B-4A1B-9109-702682E99FE2}" srcOrd="0" destOrd="0" presId="urn:microsoft.com/office/officeart/2018/2/layout/IconVerticalSolidList"/>
    <dgm:cxn modelId="{7170E66A-8A4C-4282-9E74-984B7024F6B0}" srcId="{6CBB3986-81CA-4F73-96C2-8B6BE670836D}" destId="{BCACD9B5-124D-4EE1-96AC-2F56EAAF4104}" srcOrd="3" destOrd="0" parTransId="{59F98E23-6670-4D3F-8B62-95F6A952462E}" sibTransId="{6F30129D-B8FE-4488-BEDF-4A0E2510F248}"/>
    <dgm:cxn modelId="{F6A60D72-9A29-4919-9295-0DCE6AB06CCF}" srcId="{6CBB3986-81CA-4F73-96C2-8B6BE670836D}" destId="{608C23B7-F6D0-4E3F-AD0B-20169C119F79}" srcOrd="2" destOrd="0" parTransId="{820CFAB5-880C-4586-886D-3D33F964281B}" sibTransId="{4EF1ACE2-FDBC-4DAE-8CAA-9225D52299B3}"/>
    <dgm:cxn modelId="{56CC4E72-ED76-4F0C-9E98-BA4179D71F84}" srcId="{8282C5EF-FD5B-4D45-9518-8CCC3778D606}" destId="{5572289A-A005-4A31-BF57-0B75FFF0E716}" srcOrd="0" destOrd="0" parTransId="{8404D2D8-ABDA-4202-8DBC-66FE70849714}" sibTransId="{671BACF3-1050-4D11-963F-852ED2216A2B}"/>
    <dgm:cxn modelId="{DD75AA74-A2E7-45D5-962A-7FFF0C31DF59}" srcId="{6CBB3986-81CA-4F73-96C2-8B6BE670836D}" destId="{7F345AB4-C793-4053-89DB-C18434483E5B}" srcOrd="0" destOrd="0" parTransId="{A1C36D1B-F29A-4131-97F6-8837BE274F41}" sibTransId="{5E7E76C9-F8A7-4F2D-81A2-6016D309DFBE}"/>
    <dgm:cxn modelId="{C8B56275-87B8-4463-9D9F-7715D666DAF2}" type="presOf" srcId="{102E2AA3-B21C-49C4-A48C-3845A7AD6522}" destId="{FBD57BA9-173C-4707-A150-4F2FFE3DB9BC}" srcOrd="0" destOrd="0" presId="urn:microsoft.com/office/officeart/2018/2/layout/IconVerticalSolidList"/>
    <dgm:cxn modelId="{59A50657-1DC6-4F28-8CED-0C72C80AA52C}" type="presOf" srcId="{93D9F83D-6647-492F-8131-F0A675BA7A62}" destId="{71B315A3-E840-4837-B397-457CE6FAFCB0}" srcOrd="0" destOrd="0" presId="urn:microsoft.com/office/officeart/2018/2/layout/IconVerticalSolidList"/>
    <dgm:cxn modelId="{C3D18379-42B2-4187-812D-6D22CBD4C261}" type="presOf" srcId="{608C23B7-F6D0-4E3F-AD0B-20169C119F79}" destId="{71E91CB3-C30C-4DE0-BBD2-3450F0EAA615}" srcOrd="0" destOrd="0" presId="urn:microsoft.com/office/officeart/2018/2/layout/IconVerticalSolidList"/>
    <dgm:cxn modelId="{5623D659-C254-44BE-A77B-BBB8C3394960}" type="presOf" srcId="{6CBB3986-81CA-4F73-96C2-8B6BE670836D}" destId="{C8F321CA-12B9-4B70-A742-9E3D27896F55}" srcOrd="0" destOrd="0" presId="urn:microsoft.com/office/officeart/2018/2/layout/IconVerticalSolidList"/>
    <dgm:cxn modelId="{3E666DB0-578B-4CFA-ACD9-9E77FB299DE2}" srcId="{6CBB3986-81CA-4F73-96C2-8B6BE670836D}" destId="{8282C5EF-FD5B-4D45-9518-8CCC3778D606}" srcOrd="4" destOrd="0" parTransId="{58E37CD3-0C37-4BCA-8BF3-0AED3C1AFB12}" sibTransId="{B54948CA-6C6B-47F7-B42F-4D07A3487C58}"/>
    <dgm:cxn modelId="{380690B4-7BCE-436E-AC83-86DCAC4EFE48}" srcId="{6CBB3986-81CA-4F73-96C2-8B6BE670836D}" destId="{AC5CD251-51DD-4FEB-A08F-164E8524DAE2}" srcOrd="1" destOrd="0" parTransId="{5CB735C1-DF22-4DCA-A5CF-B2F7CFE932AA}" sibTransId="{5EFE81E1-13FD-4F39-BFA4-8E3C0EECA388}"/>
    <dgm:cxn modelId="{C570BDE8-DEB3-4602-849C-ED1AE1CB0C53}" type="presOf" srcId="{F2503AB9-E6A2-48BE-ABF4-CF2AE14A9E19}" destId="{3354465E-E7F9-431D-A775-71386A97D224}" srcOrd="0" destOrd="0" presId="urn:microsoft.com/office/officeart/2018/2/layout/IconVerticalSolidList"/>
    <dgm:cxn modelId="{F07583FB-3FFB-43EF-94A5-B918D3457887}" type="presOf" srcId="{5572289A-A005-4A31-BF57-0B75FFF0E716}" destId="{7B33B6E8-B499-427D-97E4-1091BFB92F8B}" srcOrd="0" destOrd="0" presId="urn:microsoft.com/office/officeart/2018/2/layout/IconVerticalSolidList"/>
    <dgm:cxn modelId="{5591B055-338B-42A9-B89D-A77AF8D29777}" type="presParOf" srcId="{C8F321CA-12B9-4B70-A742-9E3D27896F55}" destId="{7696FC57-3CCB-4C57-99D2-5445C5BAD649}" srcOrd="0" destOrd="0" presId="urn:microsoft.com/office/officeart/2018/2/layout/IconVerticalSolidList"/>
    <dgm:cxn modelId="{1CFFED35-986C-48AF-B9DA-98EECB716DE6}" type="presParOf" srcId="{7696FC57-3CCB-4C57-99D2-5445C5BAD649}" destId="{46C0BD4D-2829-473C-8EE0-50612D6ACE3B}" srcOrd="0" destOrd="0" presId="urn:microsoft.com/office/officeart/2018/2/layout/IconVerticalSolidList"/>
    <dgm:cxn modelId="{B74B7011-176D-4C9D-B167-10C06C9B3619}" type="presParOf" srcId="{7696FC57-3CCB-4C57-99D2-5445C5BAD649}" destId="{95E8B1CE-8476-4506-A799-4DC312C6DCA6}" srcOrd="1" destOrd="0" presId="urn:microsoft.com/office/officeart/2018/2/layout/IconVerticalSolidList"/>
    <dgm:cxn modelId="{22568365-8880-42CC-88EC-F7E87F757336}" type="presParOf" srcId="{7696FC57-3CCB-4C57-99D2-5445C5BAD649}" destId="{9D514FC7-BC59-4C90-A60E-08840BDAF2CD}" srcOrd="2" destOrd="0" presId="urn:microsoft.com/office/officeart/2018/2/layout/IconVerticalSolidList"/>
    <dgm:cxn modelId="{C8838A8D-FB0B-4A3B-8791-EFDF21021A58}" type="presParOf" srcId="{7696FC57-3CCB-4C57-99D2-5445C5BAD649}" destId="{AE5E6452-DA5E-4374-A77C-65E3F07D03F4}" srcOrd="3" destOrd="0" presId="urn:microsoft.com/office/officeart/2018/2/layout/IconVerticalSolidList"/>
    <dgm:cxn modelId="{185534FC-FD76-4F07-AF41-CD351589DE90}" type="presParOf" srcId="{7696FC57-3CCB-4C57-99D2-5445C5BAD649}" destId="{71B315A3-E840-4837-B397-457CE6FAFCB0}" srcOrd="4" destOrd="0" presId="urn:microsoft.com/office/officeart/2018/2/layout/IconVerticalSolidList"/>
    <dgm:cxn modelId="{9CFEFB71-2ECA-4BEB-BC98-E53A0F4736BB}" type="presParOf" srcId="{C8F321CA-12B9-4B70-A742-9E3D27896F55}" destId="{69D56886-4F29-40DB-9200-140D3E9E63F0}" srcOrd="1" destOrd="0" presId="urn:microsoft.com/office/officeart/2018/2/layout/IconVerticalSolidList"/>
    <dgm:cxn modelId="{00E8FE2F-088E-4B15-80FE-B23AB6ADBFB3}" type="presParOf" srcId="{C8F321CA-12B9-4B70-A742-9E3D27896F55}" destId="{4D47FC03-2B26-4A87-9B8F-32C0A7A38980}" srcOrd="2" destOrd="0" presId="urn:microsoft.com/office/officeart/2018/2/layout/IconVerticalSolidList"/>
    <dgm:cxn modelId="{643768BD-20DC-403D-AAE2-CD593B38B265}" type="presParOf" srcId="{4D47FC03-2B26-4A87-9B8F-32C0A7A38980}" destId="{067D8129-DAF8-430A-98F5-1DC7F6496695}" srcOrd="0" destOrd="0" presId="urn:microsoft.com/office/officeart/2018/2/layout/IconVerticalSolidList"/>
    <dgm:cxn modelId="{0D9AFEA4-66C9-4AC1-932B-8D3D74EF583A}" type="presParOf" srcId="{4D47FC03-2B26-4A87-9B8F-32C0A7A38980}" destId="{CD79FBF8-D6AE-4745-9488-17A19B11C40A}" srcOrd="1" destOrd="0" presId="urn:microsoft.com/office/officeart/2018/2/layout/IconVerticalSolidList"/>
    <dgm:cxn modelId="{69EC1385-F30F-4506-A308-38E8C016F7C8}" type="presParOf" srcId="{4D47FC03-2B26-4A87-9B8F-32C0A7A38980}" destId="{74553C60-8FD6-430B-A00D-09A0D477D684}" srcOrd="2" destOrd="0" presId="urn:microsoft.com/office/officeart/2018/2/layout/IconVerticalSolidList"/>
    <dgm:cxn modelId="{0E89BB76-2B39-4842-93C2-BA00F481E9DB}" type="presParOf" srcId="{4D47FC03-2B26-4A87-9B8F-32C0A7A38980}" destId="{D0E38049-2566-47E1-805D-2C2D54A86618}" srcOrd="3" destOrd="0" presId="urn:microsoft.com/office/officeart/2018/2/layout/IconVerticalSolidList"/>
    <dgm:cxn modelId="{690FC254-9DE5-437E-AB55-8F276722C081}" type="presParOf" srcId="{4D47FC03-2B26-4A87-9B8F-32C0A7A38980}" destId="{FBD57BA9-173C-4707-A150-4F2FFE3DB9BC}" srcOrd="4" destOrd="0" presId="urn:microsoft.com/office/officeart/2018/2/layout/IconVerticalSolidList"/>
    <dgm:cxn modelId="{10390895-69F3-4493-BF3F-F683550E6423}" type="presParOf" srcId="{C8F321CA-12B9-4B70-A742-9E3D27896F55}" destId="{58C52085-1D04-4037-A599-36BFF4BC5769}" srcOrd="3" destOrd="0" presId="urn:microsoft.com/office/officeart/2018/2/layout/IconVerticalSolidList"/>
    <dgm:cxn modelId="{9CD4EE21-5707-47DC-A7FD-CCB234E803A1}" type="presParOf" srcId="{C8F321CA-12B9-4B70-A742-9E3D27896F55}" destId="{A11E6104-153B-4636-881D-C900E4E10721}" srcOrd="4" destOrd="0" presId="urn:microsoft.com/office/officeart/2018/2/layout/IconVerticalSolidList"/>
    <dgm:cxn modelId="{E3811DB9-7195-49A8-9710-51A25FB6766E}" type="presParOf" srcId="{A11E6104-153B-4636-881D-C900E4E10721}" destId="{2691D2BA-C3DE-44C0-BC51-8D80B91C3A5F}" srcOrd="0" destOrd="0" presId="urn:microsoft.com/office/officeart/2018/2/layout/IconVerticalSolidList"/>
    <dgm:cxn modelId="{B7B98122-F639-44DE-ABE4-1D4AA0611226}" type="presParOf" srcId="{A11E6104-153B-4636-881D-C900E4E10721}" destId="{4690656F-1F1A-4102-B4F0-320A916D1DAD}" srcOrd="1" destOrd="0" presId="urn:microsoft.com/office/officeart/2018/2/layout/IconVerticalSolidList"/>
    <dgm:cxn modelId="{2BF2FB47-3D5A-4AA1-923E-A19A3DF22473}" type="presParOf" srcId="{A11E6104-153B-4636-881D-C900E4E10721}" destId="{85B49B79-085A-4A45-85B3-4CC7A1F9A50C}" srcOrd="2" destOrd="0" presId="urn:microsoft.com/office/officeart/2018/2/layout/IconVerticalSolidList"/>
    <dgm:cxn modelId="{9C89060C-7918-4B6B-A209-3CD140FEA20D}" type="presParOf" srcId="{A11E6104-153B-4636-881D-C900E4E10721}" destId="{71E91CB3-C30C-4DE0-BBD2-3450F0EAA615}" srcOrd="3" destOrd="0" presId="urn:microsoft.com/office/officeart/2018/2/layout/IconVerticalSolidList"/>
    <dgm:cxn modelId="{E1E08BD9-1D33-4F02-8A05-18B4CDF98316}" type="presParOf" srcId="{A11E6104-153B-4636-881D-C900E4E10721}" destId="{3354465E-E7F9-431D-A775-71386A97D224}" srcOrd="4" destOrd="0" presId="urn:microsoft.com/office/officeart/2018/2/layout/IconVerticalSolidList"/>
    <dgm:cxn modelId="{F0855CD4-4ED1-4E22-8126-FE7B4DF9439B}" type="presParOf" srcId="{C8F321CA-12B9-4B70-A742-9E3D27896F55}" destId="{06C44D93-B675-4BBC-8AD0-E7D89355C951}" srcOrd="5" destOrd="0" presId="urn:microsoft.com/office/officeart/2018/2/layout/IconVerticalSolidList"/>
    <dgm:cxn modelId="{CA14D07C-60B4-45F9-94D0-41B6EE011F27}" type="presParOf" srcId="{C8F321CA-12B9-4B70-A742-9E3D27896F55}" destId="{34C4B6DE-F39F-4986-89BE-16FB62A0E9E3}" srcOrd="6" destOrd="0" presId="urn:microsoft.com/office/officeart/2018/2/layout/IconVerticalSolidList"/>
    <dgm:cxn modelId="{8BA552C3-BB4D-4094-A05D-479305D773BD}" type="presParOf" srcId="{34C4B6DE-F39F-4986-89BE-16FB62A0E9E3}" destId="{F09D1DFD-23B1-4A39-9EA0-F3F6ED6A2008}" srcOrd="0" destOrd="0" presId="urn:microsoft.com/office/officeart/2018/2/layout/IconVerticalSolidList"/>
    <dgm:cxn modelId="{65E43DA4-3922-41F5-BFD2-A497DE708685}" type="presParOf" srcId="{34C4B6DE-F39F-4986-89BE-16FB62A0E9E3}" destId="{0C5ADD93-BD17-4BAB-8D93-A8B854A8BAC9}" srcOrd="1" destOrd="0" presId="urn:microsoft.com/office/officeart/2018/2/layout/IconVerticalSolidList"/>
    <dgm:cxn modelId="{2D5E7AC0-01A7-4827-BBEC-05C05FE4BA13}" type="presParOf" srcId="{34C4B6DE-F39F-4986-89BE-16FB62A0E9E3}" destId="{C2DD0FD3-32E4-4D67-B490-BD7595B4F32D}" srcOrd="2" destOrd="0" presId="urn:microsoft.com/office/officeart/2018/2/layout/IconVerticalSolidList"/>
    <dgm:cxn modelId="{F2D8138A-0461-40A0-8163-3CE7BF55CEB5}" type="presParOf" srcId="{34C4B6DE-F39F-4986-89BE-16FB62A0E9E3}" destId="{4ADD9959-7FB1-4F01-8896-29B2C015F8F2}" srcOrd="3" destOrd="0" presId="urn:microsoft.com/office/officeart/2018/2/layout/IconVerticalSolidList"/>
    <dgm:cxn modelId="{F79F7F9C-42E9-4F58-9699-0A1EB5DC0409}" type="presParOf" srcId="{34C4B6DE-F39F-4986-89BE-16FB62A0E9E3}" destId="{ECDDE778-D06B-4A1B-9109-702682E99FE2}" srcOrd="4" destOrd="0" presId="urn:microsoft.com/office/officeart/2018/2/layout/IconVerticalSolidList"/>
    <dgm:cxn modelId="{EE0D86C1-B36A-43D3-A616-51DD405A049C}" type="presParOf" srcId="{C8F321CA-12B9-4B70-A742-9E3D27896F55}" destId="{2E984880-9689-447B-ABD7-D76F4BC4C155}" srcOrd="7" destOrd="0" presId="urn:microsoft.com/office/officeart/2018/2/layout/IconVerticalSolidList"/>
    <dgm:cxn modelId="{74E56BCE-CBA0-460F-A2EB-9C9E589253CA}" type="presParOf" srcId="{C8F321CA-12B9-4B70-A742-9E3D27896F55}" destId="{412A38C7-FDB0-4FBC-B089-A17B1B28F70D}" srcOrd="8" destOrd="0" presId="urn:microsoft.com/office/officeart/2018/2/layout/IconVerticalSolidList"/>
    <dgm:cxn modelId="{F1E85BBA-AB93-42D3-B73B-FEE20F1176D2}" type="presParOf" srcId="{412A38C7-FDB0-4FBC-B089-A17B1B28F70D}" destId="{13315E8E-0BCE-4C7C-8286-CF3656A4034C}" srcOrd="0" destOrd="0" presId="urn:microsoft.com/office/officeart/2018/2/layout/IconVerticalSolidList"/>
    <dgm:cxn modelId="{21DAF240-0CDD-46D9-993C-B0CEC2045613}" type="presParOf" srcId="{412A38C7-FDB0-4FBC-B089-A17B1B28F70D}" destId="{320C8B43-5713-46E8-8AA9-9C1686CEEBD2}" srcOrd="1" destOrd="0" presId="urn:microsoft.com/office/officeart/2018/2/layout/IconVerticalSolidList"/>
    <dgm:cxn modelId="{704C0823-6DF4-41A7-B6C2-F7EAD2716921}" type="presParOf" srcId="{412A38C7-FDB0-4FBC-B089-A17B1B28F70D}" destId="{6F6A3F94-5D3D-40C4-ABC0-759F83208ED1}" srcOrd="2" destOrd="0" presId="urn:microsoft.com/office/officeart/2018/2/layout/IconVerticalSolidList"/>
    <dgm:cxn modelId="{8BAE0E26-A0B7-48B4-99D6-B553E1C20BC1}" type="presParOf" srcId="{412A38C7-FDB0-4FBC-B089-A17B1B28F70D}" destId="{3EDEFBD0-5105-454B-B690-6A68307ADF03}" srcOrd="3" destOrd="0" presId="urn:microsoft.com/office/officeart/2018/2/layout/IconVerticalSolidList"/>
    <dgm:cxn modelId="{CE71ADB7-9DA7-4966-B344-3FBD8BCEC37A}" type="presParOf" srcId="{412A38C7-FDB0-4FBC-B089-A17B1B28F70D}" destId="{7B33B6E8-B499-427D-97E4-1091BFB92F8B}"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AD1DA3-A101-4F85-BABD-CF571A276C38}">
      <dsp:nvSpPr>
        <dsp:cNvPr id="0" name=""/>
        <dsp:cNvSpPr/>
      </dsp:nvSpPr>
      <dsp:spPr>
        <a:xfrm>
          <a:off x="0" y="3776"/>
          <a:ext cx="11018837" cy="80439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523196A-8BA9-4008-AD41-72B92A1A2F33}">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5FE03FB-1669-446F-AA51-BD28B963FCE8}">
      <dsp:nvSpPr>
        <dsp:cNvPr id="0" name=""/>
        <dsp:cNvSpPr/>
      </dsp:nvSpPr>
      <dsp:spPr>
        <a:xfrm>
          <a:off x="929079" y="3776"/>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baseline="0"/>
            <a:t>Your familiarity with Azure ranges from “Isn’t it just a color?” to, “What does this button do and how much is it going to cost me when I click it?”</a:t>
          </a:r>
          <a:endParaRPr lang="en-US" sz="1900" kern="1200"/>
        </a:p>
      </dsp:txBody>
      <dsp:txXfrm>
        <a:off x="929079" y="3776"/>
        <a:ext cx="10089758" cy="804397"/>
      </dsp:txXfrm>
    </dsp:sp>
    <dsp:sp modelId="{385DF084-9085-4EF8-9213-54FD1E078D0E}">
      <dsp:nvSpPr>
        <dsp:cNvPr id="0" name=""/>
        <dsp:cNvSpPr/>
      </dsp:nvSpPr>
      <dsp:spPr>
        <a:xfrm>
          <a:off x="0" y="1009273"/>
          <a:ext cx="11018837" cy="80439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F24B287-CDF9-44C8-A032-0E24E96A7ABB}">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B0098FE-E44C-4E7F-B9A0-18596A4598E8}">
      <dsp:nvSpPr>
        <dsp:cNvPr id="0" name=""/>
        <dsp:cNvSpPr/>
      </dsp:nvSpPr>
      <dsp:spPr>
        <a:xfrm>
          <a:off x="929079" y="1009273"/>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baseline="0"/>
            <a:t>You may be tasked with doing some things in Azure directly</a:t>
          </a:r>
          <a:endParaRPr lang="en-US" sz="1900" kern="1200"/>
        </a:p>
      </dsp:txBody>
      <dsp:txXfrm>
        <a:off x="929079" y="1009273"/>
        <a:ext cx="10089758" cy="804397"/>
      </dsp:txXfrm>
    </dsp:sp>
    <dsp:sp modelId="{429649DF-09F0-4D32-A4EC-DA722D4EA380}">
      <dsp:nvSpPr>
        <dsp:cNvPr id="0" name=""/>
        <dsp:cNvSpPr/>
      </dsp:nvSpPr>
      <dsp:spPr>
        <a:xfrm>
          <a:off x="0" y="2014770"/>
          <a:ext cx="11018837" cy="80439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DE7F368-B6D8-468E-9D62-274DD68BFE0B}">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50DB719-15E1-40AE-983C-6B8515BFDCBE}">
      <dsp:nvSpPr>
        <dsp:cNvPr id="0" name=""/>
        <dsp:cNvSpPr/>
      </dsp:nvSpPr>
      <dsp:spPr>
        <a:xfrm>
          <a:off x="929079" y="2014770"/>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baseline="0"/>
            <a:t>You may need to ask another group for resources but don’t know what to ask for</a:t>
          </a:r>
          <a:endParaRPr lang="en-US" sz="1900" kern="1200"/>
        </a:p>
      </dsp:txBody>
      <dsp:txXfrm>
        <a:off x="929079" y="2014770"/>
        <a:ext cx="10089758" cy="804397"/>
      </dsp:txXfrm>
    </dsp:sp>
    <dsp:sp modelId="{D84AF13E-542A-4FDF-9398-A204B03CEFED}">
      <dsp:nvSpPr>
        <dsp:cNvPr id="0" name=""/>
        <dsp:cNvSpPr/>
      </dsp:nvSpPr>
      <dsp:spPr>
        <a:xfrm>
          <a:off x="0" y="3020267"/>
          <a:ext cx="11018837" cy="80439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CF12BA5-CF3E-423A-9429-8D8E038D838C}">
      <dsp:nvSpPr>
        <dsp:cNvPr id="0" name=""/>
        <dsp:cNvSpPr/>
      </dsp:nvSpPr>
      <dsp:spPr>
        <a:xfrm>
          <a:off x="243330" y="3201256"/>
          <a:ext cx="442418" cy="44241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2421BE4-069A-41D2-9465-628F138A6CC3}">
      <dsp:nvSpPr>
        <dsp:cNvPr id="0" name=""/>
        <dsp:cNvSpPr/>
      </dsp:nvSpPr>
      <dsp:spPr>
        <a:xfrm>
          <a:off x="929079" y="3020267"/>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baseline="0"/>
            <a:t>You will </a:t>
          </a:r>
          <a:r>
            <a:rPr lang="en-US" sz="1900" kern="1200" baseline="0" dirty="0"/>
            <a:t>have questions that aren’t covered by these slides (There’s a LOT of Azure)</a:t>
          </a:r>
          <a:endParaRPr lang="en-US" sz="1900" kern="1200" dirty="0"/>
        </a:p>
      </dsp:txBody>
      <dsp:txXfrm>
        <a:off x="929079" y="3020267"/>
        <a:ext cx="10089758" cy="804397"/>
      </dsp:txXfrm>
    </dsp:sp>
    <dsp:sp modelId="{D0763DA4-30EE-420A-809E-72076AC62834}">
      <dsp:nvSpPr>
        <dsp:cNvPr id="0" name=""/>
        <dsp:cNvSpPr/>
      </dsp:nvSpPr>
      <dsp:spPr>
        <a:xfrm>
          <a:off x="0" y="4025763"/>
          <a:ext cx="11018837" cy="80439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FFFC911-2027-4FEF-A9FF-F91C755E28FC}">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8A020C0-D62E-4792-AA5E-3C9E912BA4CE}">
      <dsp:nvSpPr>
        <dsp:cNvPr id="0" name=""/>
        <dsp:cNvSpPr/>
      </dsp:nvSpPr>
      <dsp:spPr>
        <a:xfrm>
          <a:off x="929079" y="4025763"/>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baseline="0"/>
            <a:t>You agree that Bourbon is best served neat or on a single large ice cube</a:t>
          </a:r>
          <a:endParaRPr lang="en-US" sz="1900" kern="1200"/>
        </a:p>
      </dsp:txBody>
      <dsp:txXfrm>
        <a:off x="929079" y="4025763"/>
        <a:ext cx="10089758" cy="8043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C0BD4D-2829-473C-8EE0-50612D6ACE3B}">
      <dsp:nvSpPr>
        <dsp:cNvPr id="0" name=""/>
        <dsp:cNvSpPr/>
      </dsp:nvSpPr>
      <dsp:spPr>
        <a:xfrm>
          <a:off x="0" y="3776"/>
          <a:ext cx="11018837" cy="8043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E8B1CE-8476-4506-A799-4DC312C6DCA6}">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E5E6452-DA5E-4374-A77C-65E3F07D03F4}">
      <dsp:nvSpPr>
        <dsp:cNvPr id="0" name=""/>
        <dsp:cNvSpPr/>
      </dsp:nvSpPr>
      <dsp:spPr>
        <a:xfrm>
          <a:off x="929079" y="3776"/>
          <a:ext cx="4958477"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a:t>Networking and Connectivity</a:t>
          </a:r>
        </a:p>
      </dsp:txBody>
      <dsp:txXfrm>
        <a:off x="929079" y="3776"/>
        <a:ext cx="4958477" cy="804397"/>
      </dsp:txXfrm>
    </dsp:sp>
    <dsp:sp modelId="{71B315A3-E840-4837-B397-457CE6FAFCB0}">
      <dsp:nvSpPr>
        <dsp:cNvPr id="0" name=""/>
        <dsp:cNvSpPr/>
      </dsp:nvSpPr>
      <dsp:spPr>
        <a:xfrm>
          <a:off x="5887556" y="3776"/>
          <a:ext cx="5131281"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90000"/>
            </a:lnSpc>
            <a:spcBef>
              <a:spcPct val="0"/>
            </a:spcBef>
            <a:spcAft>
              <a:spcPct val="35000"/>
            </a:spcAft>
            <a:buNone/>
          </a:pPr>
          <a:r>
            <a:rPr lang="en-US" sz="1800" kern="1200"/>
            <a:t>Private Endpoints, DNS, Virtual Networks, Peering</a:t>
          </a:r>
        </a:p>
      </dsp:txBody>
      <dsp:txXfrm>
        <a:off x="5887556" y="3776"/>
        <a:ext cx="5131281" cy="804397"/>
      </dsp:txXfrm>
    </dsp:sp>
    <dsp:sp modelId="{067D8129-DAF8-430A-98F5-1DC7F6496695}">
      <dsp:nvSpPr>
        <dsp:cNvPr id="0" name=""/>
        <dsp:cNvSpPr/>
      </dsp:nvSpPr>
      <dsp:spPr>
        <a:xfrm>
          <a:off x="0" y="1009273"/>
          <a:ext cx="11018837" cy="8043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79FBF8-D6AE-4745-9488-17A19B11C40A}">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0E38049-2566-47E1-805D-2C2D54A86618}">
      <dsp:nvSpPr>
        <dsp:cNvPr id="0" name=""/>
        <dsp:cNvSpPr/>
      </dsp:nvSpPr>
      <dsp:spPr>
        <a:xfrm>
          <a:off x="929079" y="1009273"/>
          <a:ext cx="4958477"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a:t>Infrastructure and Platform Services</a:t>
          </a:r>
        </a:p>
      </dsp:txBody>
      <dsp:txXfrm>
        <a:off x="929079" y="1009273"/>
        <a:ext cx="4958477" cy="804397"/>
      </dsp:txXfrm>
    </dsp:sp>
    <dsp:sp modelId="{FBD57BA9-173C-4707-A150-4F2FFE3DB9BC}">
      <dsp:nvSpPr>
        <dsp:cNvPr id="0" name=""/>
        <dsp:cNvSpPr/>
      </dsp:nvSpPr>
      <dsp:spPr>
        <a:xfrm>
          <a:off x="5887556" y="1009273"/>
          <a:ext cx="5131281"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90000"/>
            </a:lnSpc>
            <a:spcBef>
              <a:spcPct val="0"/>
            </a:spcBef>
            <a:spcAft>
              <a:spcPct val="35000"/>
            </a:spcAft>
            <a:buNone/>
          </a:pPr>
          <a:r>
            <a:rPr lang="en-US" sz="1800" kern="1200"/>
            <a:t>Iaas, PaaS, VMs, App Services, Storage</a:t>
          </a:r>
        </a:p>
      </dsp:txBody>
      <dsp:txXfrm>
        <a:off x="5887556" y="1009273"/>
        <a:ext cx="5131281" cy="804397"/>
      </dsp:txXfrm>
    </dsp:sp>
    <dsp:sp modelId="{2691D2BA-C3DE-44C0-BC51-8D80B91C3A5F}">
      <dsp:nvSpPr>
        <dsp:cNvPr id="0" name=""/>
        <dsp:cNvSpPr/>
      </dsp:nvSpPr>
      <dsp:spPr>
        <a:xfrm>
          <a:off x="0" y="2014770"/>
          <a:ext cx="11018837" cy="8043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690656F-1F1A-4102-B4F0-320A916D1DAD}">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1E91CB3-C30C-4DE0-BBD2-3450F0EAA615}">
      <dsp:nvSpPr>
        <dsp:cNvPr id="0" name=""/>
        <dsp:cNvSpPr/>
      </dsp:nvSpPr>
      <dsp:spPr>
        <a:xfrm>
          <a:off x="929079" y="2014770"/>
          <a:ext cx="4958477"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a:t>Governance &amp; Compliance</a:t>
          </a:r>
        </a:p>
      </dsp:txBody>
      <dsp:txXfrm>
        <a:off x="929079" y="2014770"/>
        <a:ext cx="4958477" cy="804397"/>
      </dsp:txXfrm>
    </dsp:sp>
    <dsp:sp modelId="{3354465E-E7F9-431D-A775-71386A97D224}">
      <dsp:nvSpPr>
        <dsp:cNvPr id="0" name=""/>
        <dsp:cNvSpPr/>
      </dsp:nvSpPr>
      <dsp:spPr>
        <a:xfrm>
          <a:off x="5887556" y="2014770"/>
          <a:ext cx="5131281"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90000"/>
            </a:lnSpc>
            <a:spcBef>
              <a:spcPct val="0"/>
            </a:spcBef>
            <a:spcAft>
              <a:spcPct val="35000"/>
            </a:spcAft>
            <a:buNone/>
          </a:pPr>
          <a:r>
            <a:rPr lang="en-US" sz="1800" kern="1200"/>
            <a:t>Policy, RBAC, Templates, Cost Management</a:t>
          </a:r>
        </a:p>
      </dsp:txBody>
      <dsp:txXfrm>
        <a:off x="5887556" y="2014770"/>
        <a:ext cx="5131281" cy="804397"/>
      </dsp:txXfrm>
    </dsp:sp>
    <dsp:sp modelId="{F09D1DFD-23B1-4A39-9EA0-F3F6ED6A2008}">
      <dsp:nvSpPr>
        <dsp:cNvPr id="0" name=""/>
        <dsp:cNvSpPr/>
      </dsp:nvSpPr>
      <dsp:spPr>
        <a:xfrm>
          <a:off x="0" y="3020267"/>
          <a:ext cx="11018837" cy="8043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5ADD93-BD17-4BAB-8D93-A8B854A8BAC9}">
      <dsp:nvSpPr>
        <dsp:cNvPr id="0" name=""/>
        <dsp:cNvSpPr/>
      </dsp:nvSpPr>
      <dsp:spPr>
        <a:xfrm>
          <a:off x="243330" y="3201256"/>
          <a:ext cx="442418" cy="44241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ADD9959-7FB1-4F01-8896-29B2C015F8F2}">
      <dsp:nvSpPr>
        <dsp:cNvPr id="0" name=""/>
        <dsp:cNvSpPr/>
      </dsp:nvSpPr>
      <dsp:spPr>
        <a:xfrm>
          <a:off x="929079" y="3020267"/>
          <a:ext cx="4958477"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a:t>Automation</a:t>
          </a:r>
        </a:p>
      </dsp:txBody>
      <dsp:txXfrm>
        <a:off x="929079" y="3020267"/>
        <a:ext cx="4958477" cy="804397"/>
      </dsp:txXfrm>
    </dsp:sp>
    <dsp:sp modelId="{ECDDE778-D06B-4A1B-9109-702682E99FE2}">
      <dsp:nvSpPr>
        <dsp:cNvPr id="0" name=""/>
        <dsp:cNvSpPr/>
      </dsp:nvSpPr>
      <dsp:spPr>
        <a:xfrm>
          <a:off x="5887556" y="3020267"/>
          <a:ext cx="5131281"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90000"/>
            </a:lnSpc>
            <a:spcBef>
              <a:spcPct val="0"/>
            </a:spcBef>
            <a:spcAft>
              <a:spcPct val="35000"/>
            </a:spcAft>
            <a:buNone/>
          </a:pPr>
          <a:r>
            <a:rPr lang="en-US" sz="1800" kern="1200"/>
            <a:t>PowerShell, Templates, Azure Automation, Logic Apps</a:t>
          </a:r>
        </a:p>
      </dsp:txBody>
      <dsp:txXfrm>
        <a:off x="5887556" y="3020267"/>
        <a:ext cx="5131281" cy="804397"/>
      </dsp:txXfrm>
    </dsp:sp>
    <dsp:sp modelId="{13315E8E-0BCE-4C7C-8286-CF3656A4034C}">
      <dsp:nvSpPr>
        <dsp:cNvPr id="0" name=""/>
        <dsp:cNvSpPr/>
      </dsp:nvSpPr>
      <dsp:spPr>
        <a:xfrm>
          <a:off x="0" y="4025763"/>
          <a:ext cx="11018837" cy="8043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0C8B43-5713-46E8-8AA9-9C1686CEEBD2}">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EDEFBD0-5105-454B-B690-6A68307ADF03}">
      <dsp:nvSpPr>
        <dsp:cNvPr id="0" name=""/>
        <dsp:cNvSpPr/>
      </dsp:nvSpPr>
      <dsp:spPr>
        <a:xfrm>
          <a:off x="929079" y="4025763"/>
          <a:ext cx="4958477"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90000"/>
            </a:lnSpc>
            <a:spcBef>
              <a:spcPct val="0"/>
            </a:spcBef>
            <a:spcAft>
              <a:spcPct val="35000"/>
            </a:spcAft>
            <a:buNone/>
          </a:pPr>
          <a:r>
            <a:rPr lang="en-US" sz="1900" kern="1200"/>
            <a:t>Security &amp; Monitoring</a:t>
          </a:r>
        </a:p>
      </dsp:txBody>
      <dsp:txXfrm>
        <a:off x="929079" y="4025763"/>
        <a:ext cx="4958477" cy="804397"/>
      </dsp:txXfrm>
    </dsp:sp>
    <dsp:sp modelId="{7B33B6E8-B499-427D-97E4-1091BFB92F8B}">
      <dsp:nvSpPr>
        <dsp:cNvPr id="0" name=""/>
        <dsp:cNvSpPr/>
      </dsp:nvSpPr>
      <dsp:spPr>
        <a:xfrm>
          <a:off x="5887556" y="4025763"/>
          <a:ext cx="5131281"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90000"/>
            </a:lnSpc>
            <a:spcBef>
              <a:spcPct val="0"/>
            </a:spcBef>
            <a:spcAft>
              <a:spcPct val="35000"/>
            </a:spcAft>
            <a:buNone/>
          </a:pPr>
          <a:r>
            <a:rPr lang="en-US" sz="1800" kern="1200"/>
            <a:t>ESU, Azure Monitor, Sentinel, Log Analytics</a:t>
          </a:r>
        </a:p>
      </dsp:txBody>
      <dsp:txXfrm>
        <a:off x="5887556" y="4025763"/>
        <a:ext cx="5131281" cy="804397"/>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C7E4B38-371F-9C9D-DAD5-D0AFFEBCA1B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693732C-B956-F649-6B62-7C17C8186E4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27640CA-4902-4DCC-8E48-71D20E13EE58}" type="datetimeFigureOut">
              <a:rPr lang="en-US" smtClean="0"/>
              <a:t>8/16/2024</a:t>
            </a:fld>
            <a:endParaRPr lang="en-US"/>
          </a:p>
        </p:txBody>
      </p:sp>
      <p:sp>
        <p:nvSpPr>
          <p:cNvPr id="4" name="Footer Placeholder 3">
            <a:extLst>
              <a:ext uri="{FF2B5EF4-FFF2-40B4-BE49-F238E27FC236}">
                <a16:creationId xmlns:a16="http://schemas.microsoft.com/office/drawing/2014/main" id="{9689416F-7348-EDB5-C1DD-1ED28640E4C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934EB02-6DC2-C34C-6621-5D5C41940C3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9454673-4D3A-4E36-8AAB-151723BB0404}" type="slidenum">
              <a:rPr lang="en-US" smtClean="0"/>
              <a:t>‹#›</a:t>
            </a:fld>
            <a:endParaRPr lang="en-US"/>
          </a:p>
        </p:txBody>
      </p:sp>
    </p:spTree>
    <p:extLst>
      <p:ext uri="{BB962C8B-B14F-4D97-AF65-F5344CB8AC3E}">
        <p14:creationId xmlns:p14="http://schemas.microsoft.com/office/powerpoint/2010/main" val="17953844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C2E9AA84-8117-8600-74F6-EB756C3B76C8}"/>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C57FC0-D22F-4AFC-9794-E04670164DDB}" type="slidenum">
              <a:rPr lang="en-US" smtClean="0"/>
              <a:t>‹#›</a:t>
            </a:fld>
            <a:endParaRPr lang="en-US"/>
          </a:p>
        </p:txBody>
      </p:sp>
    </p:spTree>
    <p:extLst>
      <p:ext uri="{BB962C8B-B14F-4D97-AF65-F5344CB8AC3E}">
        <p14:creationId xmlns:p14="http://schemas.microsoft.com/office/powerpoint/2010/main" val="806897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Sans Text" pitchFamily="2" charset="0"/>
        <a:ea typeface="+mn-ea"/>
        <a:cs typeface="Segoe Sans Text" pitchFamily="2" charset="0"/>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azure.microsoft.com/en-us/blog/nested-virtualization-in-azure/" TargetMode="External"/><Relationship Id="rId13" Type="http://schemas.openxmlformats.org/officeDocument/2006/relationships/hyperlink" Target="https://www.intel.com/content/www/us/en/processors/xeon/scalable/xeon-scalable-platform.html" TargetMode="External"/><Relationship Id="rId3" Type="http://schemas.openxmlformats.org/officeDocument/2006/relationships/hyperlink" Target="https://azure.microsoft.com/en-us/blog/azure-m-series-vms-are-now-sap-hana-certified/" TargetMode="External"/><Relationship Id="rId7" Type="http://schemas.openxmlformats.org/officeDocument/2006/relationships/hyperlink" Target="https://azure.microsoft.com/en-us/blog/ncv3-vms-generally-available-other-gpus-expanding-regions/" TargetMode="External"/><Relationship Id="rId12" Type="http://schemas.openxmlformats.org/officeDocument/2006/relationships/hyperlink" Target="https://aka.ms/azurenvblog"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azure.microsoft.com/en-us/services/virtual-machines/data-science-virtual-machines/" TargetMode="External"/><Relationship Id="rId11" Type="http://schemas.openxmlformats.org/officeDocument/2006/relationships/hyperlink" Target="https://docs.microsoft.com/en-us/azure/virtual-machines/windows/sizes-storage" TargetMode="External"/><Relationship Id="rId5" Type="http://schemas.openxmlformats.org/officeDocument/2006/relationships/hyperlink" Target="https://azure.microsoft.com/en-us/services/batch-ai/" TargetMode="External"/><Relationship Id="rId10" Type="http://schemas.openxmlformats.org/officeDocument/2006/relationships/hyperlink" Target="https://docs.microsoft.com/en-us/azure/virtual-machines/windows/sizes-compute" TargetMode="External"/><Relationship Id="rId4" Type="http://schemas.openxmlformats.org/officeDocument/2006/relationships/hyperlink" Target="https://azure.microsoft.com/en-us/services/batch/" TargetMode="External"/><Relationship Id="rId9" Type="http://schemas.openxmlformats.org/officeDocument/2006/relationships/hyperlink" Target="https://docs.microsoft.com/en-us/azure/virtual-machines/windows/sizes-memory" TargetMode="External"/><Relationship Id="rId14" Type="http://schemas.openxmlformats.org/officeDocument/2006/relationships/hyperlink" Target="https://go.microsoft.com/fwlink/?LinkId=692100&amp;clcid=0x409"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In an on-premises datacenter, you own the whole stack. </a:t>
            </a:r>
          </a:p>
          <a:p>
            <a:pPr lvl="0"/>
            <a:endParaRPr lang="en-US"/>
          </a:p>
          <a:p>
            <a:pPr lvl="0"/>
            <a:r>
              <a:rPr lang="en-US"/>
              <a:t>As you move to the cloud some responsibilities transfer to Microsoft. </a:t>
            </a:r>
          </a:p>
          <a:p>
            <a:pPr lvl="0"/>
            <a:endParaRPr lang="en-US"/>
          </a:p>
          <a:p>
            <a:pPr lvl="0"/>
            <a:r>
              <a:rPr lang="en-US"/>
              <a:t>This diagram illustrates the areas of responsibility between you and Microsoft, according to the type of deployment of your stack.</a:t>
            </a:r>
          </a:p>
          <a:p>
            <a:pPr lvl="0"/>
            <a:endParaRPr lang="en-US"/>
          </a:p>
          <a:p>
            <a:r>
              <a:rPr lang="en-US"/>
              <a:t>For all cloud deployment types, you own your data and identities. You're responsible for protecting the security of your data and identities, on-premises resources, and the cloud components you control. Cloud components you control vary by service type.</a:t>
            </a:r>
          </a:p>
          <a:p>
            <a:endParaRPr lang="en-US"/>
          </a:p>
          <a:p>
            <a:r>
              <a:rPr lang="en-US"/>
              <a:t>Regardless of the type of deployment, you always retain the following responsibilities:</a:t>
            </a:r>
          </a:p>
          <a:p>
            <a:r>
              <a:rPr lang="en-US"/>
              <a:t>Data</a:t>
            </a:r>
          </a:p>
          <a:p>
            <a:r>
              <a:rPr lang="en-US"/>
              <a:t>Endpoints</a:t>
            </a:r>
          </a:p>
          <a:p>
            <a:r>
              <a:rPr lang="en-US"/>
              <a:t>Account</a:t>
            </a:r>
          </a:p>
          <a:p>
            <a:r>
              <a:rPr lang="en-US"/>
              <a:t>Access management</a:t>
            </a:r>
          </a:p>
          <a:p>
            <a:endParaRPr lang="en-US"/>
          </a:p>
          <a:p>
            <a:endParaRPr lang="en-US"/>
          </a:p>
          <a:p>
            <a:r>
              <a:rPr lang="en-US"/>
              <a:t>Shared responsibility in the cloud - Microsoft Azure | Microsoft Learn</a:t>
            </a:r>
          </a:p>
          <a:p>
            <a:r>
              <a:rPr lang="en-US"/>
              <a:t>https://learn.microsoft.com/en-us/azure/security/fundamentals/shared-responsibility</a:t>
            </a:r>
          </a:p>
          <a:p>
            <a:endParaRPr lang="en-US"/>
          </a:p>
          <a:p>
            <a:pPr lvl="0"/>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189D58-B71E-4314-B1BA-ACD4E2B3FC1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Image Placeholder 6">
            <a:extLst>
              <a:ext uri="{FF2B5EF4-FFF2-40B4-BE49-F238E27FC236}">
                <a16:creationId xmlns:a16="http://schemas.microsoft.com/office/drawing/2014/main" id="{92C6DE59-B0B6-AAB6-F0FC-5A3CC11B0FD7}"/>
              </a:ext>
            </a:extLst>
          </p:cNvPr>
          <p:cNvSpPr>
            <a:spLocks noGrp="1" noRot="1" noChangeAspect="1"/>
          </p:cNvSpPr>
          <p:nvPr>
            <p:ph type="sldImg"/>
          </p:nvPr>
        </p:nvSpPr>
        <p:spPr/>
      </p:sp>
    </p:spTree>
    <p:extLst>
      <p:ext uri="{BB962C8B-B14F-4D97-AF65-F5344CB8AC3E}">
        <p14:creationId xmlns:p14="http://schemas.microsoft.com/office/powerpoint/2010/main" val="3683754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48895" lvl="0" indent="0">
              <a:lnSpc>
                <a:spcPct val="107000"/>
              </a:lnSpc>
              <a:spcBef>
                <a:spcPts val="600"/>
              </a:spcBef>
              <a:spcAft>
                <a:spcPts val="600"/>
              </a:spcAft>
              <a:buFont typeface="Symbol" panose="05050102010706020507" pitchFamily="18" charset="2"/>
              <a:buNone/>
            </a:pPr>
            <a:endParaRPr lang="en-US" sz="1200" u="non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428A1A-F8AA-4540-A1FF-810195DD46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8862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ntroductions and set expectations that this presentation is designed to discuss the role of Azure as the cloud computing platform for a business’s digital transformation.)</a:t>
            </a: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68397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ntroductions and set expectations that this presentation is designed to discuss the role of Azure as the cloud computing platform for a business’s digital transformation.)</a:t>
            </a: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226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73729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After you apply tags, you can retrieve all the resources in your subscription with that tag name and value. Tags enable you to retrieve related resources from different resource groups. This approach is helpful when you need to organize resources for billing or management.</a:t>
            </a:r>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08321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templates out there. Standards are ke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3064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2024 7: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4668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4E480A3-6C84-4F88-8A6D-06F71ED7A421}" type="slidenum">
              <a:rPr kumimoji="0" lang="en-AU"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AU"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1227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6/2024 7: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91339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6/2024 7: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8867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657080">
              <a:defRPr/>
            </a:pPr>
            <a:fld id="{01EFE40D-E08A-464F-96D6-CEB0B2DD69BC}" type="slidenum">
              <a:rPr lang="en-US">
                <a:solidFill>
                  <a:prstClr val="black"/>
                </a:solidFill>
                <a:latin typeface="Calibri" panose="020F0502020204030204"/>
              </a:rPr>
              <a:pPr defTabSz="657080">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36194277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6/2024 7: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4031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XT: Datacenter video</a:t>
            </a:r>
          </a:p>
        </p:txBody>
      </p:sp>
      <p:sp>
        <p:nvSpPr>
          <p:cNvPr id="4" name="Header Placeholder 3"/>
          <p:cNvSpPr>
            <a:spLocks noGrp="1"/>
          </p:cNvSpPr>
          <p:nvPr>
            <p:ph type="hdr" sz="quarter" idx="10"/>
          </p:nvPr>
        </p:nvSpPr>
        <p:spPr/>
        <p:txBody>
          <a:bodyPr/>
          <a:lstStyle/>
          <a:p>
            <a:pPr defTabSz="644354">
              <a:defRPr/>
            </a:pPr>
            <a:r>
              <a:rPr lang="en-US">
                <a:solidFill>
                  <a:prstClr val="black"/>
                </a:solidFill>
                <a:latin typeface="Segoe UI" pitchFamily="34" charset="0"/>
              </a:rPr>
              <a:t>May Leadership Summit 2018</a:t>
            </a:r>
          </a:p>
        </p:txBody>
      </p:sp>
      <p:sp>
        <p:nvSpPr>
          <p:cNvPr id="5" name="Footer Placeholder 4"/>
          <p:cNvSpPr>
            <a:spLocks noGrp="1"/>
          </p:cNvSpPr>
          <p:nvPr>
            <p:ph type="ftr" sz="quarter" idx="11"/>
          </p:nvPr>
        </p:nvSpPr>
        <p:spPr/>
        <p:txBody>
          <a:bodyPr/>
          <a:lstStyle/>
          <a:p>
            <a:pPr marL="402736" defTabSz="644166" eaLnBrk="0" hangingPunct="0">
              <a:defRPr/>
            </a:pPr>
            <a:r>
              <a:rPr lang="en-US" sz="3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644354">
              <a:defRPr/>
            </a:pPr>
            <a:fld id="{386CE63F-9E7F-4C04-9D0D-FCA25A8E9E86}" type="datetime8">
              <a:rPr lang="en-US">
                <a:solidFill>
                  <a:prstClr val="black"/>
                </a:solidFill>
                <a:latin typeface="Segoe UI" pitchFamily="34" charset="0"/>
              </a:rPr>
              <a:pPr defTabSz="644354">
                <a:defRPr/>
              </a:pPr>
              <a:t>8/16/2024 7:44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644354">
              <a:defRPr/>
            </a:pPr>
            <a:fld id="{B4008EB6-D09E-4580-8CD6-DDB14511944F}" type="slidenum">
              <a:rPr lang="en-US">
                <a:solidFill>
                  <a:prstClr val="black"/>
                </a:solidFill>
                <a:latin typeface="Segoe UI" pitchFamily="34" charset="0"/>
              </a:rPr>
              <a:pPr defTabSz="644354">
                <a:defRPr/>
              </a:pPr>
              <a:t>11</a:t>
            </a:fld>
            <a:endParaRPr lang="en-US">
              <a:solidFill>
                <a:prstClr val="black"/>
              </a:solidFill>
              <a:latin typeface="Segoe UI" pitchFamily="34" charset="0"/>
            </a:endParaRPr>
          </a:p>
        </p:txBody>
      </p:sp>
    </p:spTree>
    <p:extLst>
      <p:ext uri="{BB962C8B-B14F-4D97-AF65-F5344CB8AC3E}">
        <p14:creationId xmlns:p14="http://schemas.microsoft.com/office/powerpoint/2010/main" val="12591676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a:cs typeface="Calibri"/>
              </a:rPr>
              <a:t>Key Messages: This slide simply sets the stage. Azure compute offers a rich development environment and IaaS capabilities that can help you develop a broad range of applications. For each type of application you can select the right VM that best suits your needs. We continue to expand and enrich the variety of VMs available to you so you can continue to fuel your innovation and growth to Azure. </a:t>
            </a:r>
          </a:p>
          <a:p>
            <a:endParaRPr lang="en-US" sz="900" b="1"/>
          </a:p>
          <a:p>
            <a:r>
              <a:rPr lang="en-US" sz="900">
                <a:cs typeface="Calibri"/>
              </a:rPr>
              <a:t>Products recently introduced include:</a:t>
            </a:r>
          </a:p>
          <a:p>
            <a:pPr>
              <a:defRPr/>
            </a:pPr>
            <a:endParaRPr lang="en-US" sz="900"/>
          </a:p>
          <a:p>
            <a:pPr marL="0" indent="0">
              <a:buFontTx/>
              <a:buNone/>
              <a:defRPr/>
            </a:pPr>
            <a:r>
              <a:rPr lang="en-US" sz="900" b="1"/>
              <a:t>1. M-Series VMs now certified for SAP HANA. You can now develop applications on Azure for the SAP HANA platform that has been recently certified for M-Series. </a:t>
            </a:r>
            <a:r>
              <a:rPr lang="en-US" sz="900"/>
              <a:t>The</a:t>
            </a:r>
            <a:r>
              <a:rPr lang="en-US" sz="900" kern="1200">
                <a:effectLst/>
                <a:ea typeface="+mn-ea"/>
                <a:cs typeface="+mn-cs"/>
              </a:rPr>
              <a:t> M-series family of Azure virtual machines are the largest memory-optimized VMs to date. These VMs are ideal for heavy in-memory workloads such as SAP HANA. </a:t>
            </a:r>
            <a:r>
              <a:rPr lang="en-US" sz="900" b="0" i="0" u="none" strike="noStrike" kern="1200">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r>
              <a:rPr lang="en-US" sz="900">
                <a:cs typeface="Calibri"/>
              </a:rPr>
              <a:t>Refer to the blog for the announcement </a:t>
            </a:r>
            <a:r>
              <a:rPr lang="en-US" sz="900">
                <a:hlinkClick r:id="rId3"/>
              </a:rPr>
              <a:t>https://azure.microsoft.com/en-us/blog/azure-m-series-vms-are-now-sap-hana-certified/</a:t>
            </a:r>
            <a:r>
              <a:rPr lang="en-US" sz="900"/>
              <a:t> </a:t>
            </a:r>
          </a:p>
          <a:p>
            <a:pPr marL="0" indent="0">
              <a:buFontTx/>
              <a:buNone/>
              <a:defRPr/>
            </a:pPr>
            <a:endParaRPr lang="en-US" sz="900" b="0" i="0" u="none" strike="noStrike" kern="1200">
              <a:cs typeface="Calibri"/>
            </a:endParaRPr>
          </a:p>
          <a:p>
            <a:pPr marL="0" indent="0">
              <a:buFontTx/>
              <a:buNone/>
              <a:defRPr/>
            </a:pPr>
            <a:r>
              <a:rPr lang="en-US" sz="900" b="1"/>
              <a:t>2. NVIDIA’s latest GPU for HPC and AI is available in Azure</a:t>
            </a:r>
            <a:r>
              <a:rPr lang="en-US" sz="900"/>
              <a:t>. For those of you focused on HPC applications and AI, not too long ago we announced major expansion of our GPU fleet. NVIDIA GPUs are at the heart of a lot of discovery and innovation. And with our tools like </a:t>
            </a:r>
            <a:r>
              <a:rPr lang="en-US" sz="900">
                <a:hlinkClick r:id="rId4"/>
              </a:rPr>
              <a:t>Batch</a:t>
            </a:r>
            <a:r>
              <a:rPr lang="en-US" sz="900"/>
              <a:t>, </a:t>
            </a:r>
            <a:r>
              <a:rPr lang="en-US" sz="900">
                <a:hlinkClick r:id="rId5"/>
              </a:rPr>
              <a:t>Batch AI</a:t>
            </a:r>
            <a:r>
              <a:rPr lang="en-US" sz="900"/>
              <a:t>, and the </a:t>
            </a:r>
            <a:r>
              <a:rPr lang="en-US" sz="900">
                <a:hlinkClick r:id="rId6"/>
              </a:rPr>
              <a:t>Data Science Virtual Machine</a:t>
            </a:r>
            <a:r>
              <a:rPr lang="en-US" sz="900"/>
              <a:t> images, Azure customers and developers are in a great position to expand what is possible and bring to market innovative AI and HPC </a:t>
            </a:r>
            <a:r>
              <a:rPr lang="en-US" sz="900" err="1"/>
              <a:t>applications.</a:t>
            </a:r>
            <a:r>
              <a:rPr lang="en-US" sz="900" err="1">
                <a:hlinkClick r:id="rId7"/>
              </a:rPr>
              <a:t>https</a:t>
            </a:r>
            <a:r>
              <a:rPr lang="en-US" sz="900">
                <a:hlinkClick r:id="rId7"/>
              </a:rPr>
              <a:t>://azure.microsoft.com/</a:t>
            </a:r>
            <a:r>
              <a:rPr lang="en-US" sz="900" err="1">
                <a:hlinkClick r:id="rId7"/>
              </a:rPr>
              <a:t>en</a:t>
            </a:r>
            <a:r>
              <a:rPr lang="en-US" sz="900">
                <a:hlinkClick r:id="rId7"/>
              </a:rPr>
              <a:t>-us/blog/ncv3-vms-generally-available-other-gpus-expanding-regions/</a:t>
            </a:r>
            <a:r>
              <a:rPr lang="en-US" sz="900"/>
              <a:t> </a:t>
            </a:r>
            <a:r>
              <a:rPr lang="en-US" sz="900" b="0" i="0" u="none" strike="noStrike" kern="120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40-50% performance boost they saw on their reservoir simulations. The ND-series, powered by NVIDIA Tesla P40 GPUs based on the new Pascal Architecture, will be excellent for training and inference. These instances will provide more than twice the performance over the previous generation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a:t>
            </a:r>
            <a:r>
              <a:rPr lang="en-US" sz="900"/>
              <a:t> </a:t>
            </a:r>
            <a:endParaRPr lang="en-US" sz="900" b="1">
              <a:cs typeface="Calibri"/>
            </a:endParaRPr>
          </a:p>
          <a:p>
            <a:pPr marL="0" indent="0">
              <a:buFontTx/>
              <a:buNone/>
              <a:defRPr/>
            </a:pPr>
            <a:endParaRPr lang="en-US" sz="900" b="1">
              <a:cs typeface="Calibri"/>
            </a:endParaRPr>
          </a:p>
          <a:p>
            <a:pPr marL="0" indent="0">
              <a:buFontTx/>
              <a:buNone/>
              <a:defRPr/>
            </a:pPr>
            <a:r>
              <a:rPr lang="en-US" sz="900" b="1">
                <a:cs typeface="Calibri"/>
              </a:rPr>
              <a:t>3. </a:t>
            </a:r>
            <a:r>
              <a:rPr lang="en-US" sz="900" b="0">
                <a:cs typeface="Calibri"/>
              </a:rPr>
              <a:t>W</a:t>
            </a:r>
            <a:r>
              <a:rPr lang="en-US" sz="900" b="0"/>
              <a:t>e have also announced two new VM sizes, E64i_v3 and E64is_v3</a:t>
            </a:r>
            <a:r>
              <a:rPr lang="en-US" sz="900"/>
              <a:t>, which are isolated to hardware and dedicated to a single customer.  These VMs are best suited for workloads that require a high degree of isolation from other customers for compliance and regulatory requirements. You can also choose to further subdivide the resources by using </a:t>
            </a:r>
            <a:r>
              <a:rPr lang="en-US" sz="900" u="sng">
                <a:hlinkClick r:id="rId8"/>
              </a:rPr>
              <a:t>Azure’s support for nested VMs</a:t>
            </a:r>
            <a:r>
              <a:rPr lang="en-US" sz="900" u="sng"/>
              <a:t>. </a:t>
            </a:r>
            <a:r>
              <a:rPr lang="en-US" sz="900"/>
              <a:t>The E64i_v3 and E64is_v3 will have the exact same performance and price as their cousins E64_v3 and E64s_v3 and will be available in each of the regions where E64_v3 and E64s_v3 are available today.  The small letter ‘</a:t>
            </a:r>
            <a:r>
              <a:rPr lang="en-US" sz="900" err="1"/>
              <a:t>i</a:t>
            </a:r>
            <a:r>
              <a:rPr lang="en-US" sz="900"/>
              <a:t>’ in the VM name denotes that they are “Isolated” sizes. Unlike the E64_v3 and E64s_v3, the two new E64i_v3 and E64is_v3 sizes are hardware bound sizes.  They will live and operate on our Intel® Xeon® Processor E5-2673 v4 2.3GHz hardware only and will be available until at least December 2021.  We will provide reminders 12 months in advance of the official decommissioning of the sizes and offer an updated isolated size like these sizes on our next hardware version. These two new E64i_v3 and E64is_v3 sizes will be available in the on-demand portal.  Starting on May 1st, 2018, they will also be made available for purchase as 1-year Reserved VM Instances.</a:t>
            </a:r>
            <a:endParaRPr lang="en-US" sz="900">
              <a:cs typeface="Calibri"/>
            </a:endParaRPr>
          </a:p>
          <a:p>
            <a:endParaRPr lang="en-US" sz="900">
              <a:solidFill>
                <a:srgbClr val="FFFFFF"/>
              </a:solidFill>
            </a:endParaRPr>
          </a:p>
          <a:p>
            <a:r>
              <a:rPr lang="en-US" sz="900"/>
              <a:t>The E64i_v3 and E64is_v3 are joining our other Isolated VM sizes in the Azure family:</a:t>
            </a:r>
          </a:p>
          <a:p>
            <a:endParaRPr lang="en-US" sz="900">
              <a:solidFill>
                <a:srgbClr val="FFFFFF"/>
              </a:solidFill>
            </a:endParaRPr>
          </a:p>
          <a:p>
            <a:r>
              <a:rPr lang="en-US" sz="900" u="sng">
                <a:hlinkClick r:id="rId9"/>
              </a:rPr>
              <a:t>Standard_D15_v2</a:t>
            </a:r>
            <a:endParaRPr lang="en-US" sz="900"/>
          </a:p>
          <a:p>
            <a:r>
              <a:rPr lang="en-US" sz="900" u="sng">
                <a:hlinkClick r:id="rId9"/>
              </a:rPr>
              <a:t>Standard_DS15_v2</a:t>
            </a:r>
            <a:endParaRPr lang="en-US" sz="900"/>
          </a:p>
          <a:p>
            <a:r>
              <a:rPr lang="en-US" sz="900" u="sng">
                <a:hlinkClick r:id="rId9"/>
              </a:rPr>
              <a:t>Standard_E64i_v3</a:t>
            </a:r>
            <a:endParaRPr lang="en-US" sz="900"/>
          </a:p>
          <a:p>
            <a:r>
              <a:rPr lang="en-US" sz="900" u="sng">
                <a:hlinkClick r:id="rId9"/>
              </a:rPr>
              <a:t>Standard_E64is_v3</a:t>
            </a:r>
            <a:endParaRPr lang="en-US" sz="900"/>
          </a:p>
          <a:p>
            <a:r>
              <a:rPr lang="en-US" sz="900" u="sng">
                <a:hlinkClick r:id="rId10"/>
              </a:rPr>
              <a:t>Standard_F72s</a:t>
            </a:r>
            <a:endParaRPr lang="en-US" sz="900"/>
          </a:p>
          <a:p>
            <a:r>
              <a:rPr lang="en-US" sz="900" u="sng">
                <a:hlinkClick r:id="rId9"/>
              </a:rPr>
              <a:t>Standard_G5</a:t>
            </a:r>
            <a:endParaRPr lang="en-US" sz="900"/>
          </a:p>
          <a:p>
            <a:r>
              <a:rPr lang="en-US" sz="900" u="sng">
                <a:hlinkClick r:id="rId9"/>
              </a:rPr>
              <a:t>Standard_GS5</a:t>
            </a:r>
            <a:endParaRPr lang="en-US" sz="900"/>
          </a:p>
          <a:p>
            <a:r>
              <a:rPr lang="en-US" sz="900" u="sng">
                <a:hlinkClick r:id="rId11"/>
              </a:rPr>
              <a:t>Standard_L32s</a:t>
            </a:r>
            <a:endParaRPr lang="en-US" sz="900"/>
          </a:p>
          <a:p>
            <a:r>
              <a:rPr lang="en-US" sz="900" u="sng">
                <a:hlinkClick r:id="rId9"/>
              </a:rPr>
              <a:t>Standard_M128ms</a:t>
            </a:r>
            <a:endParaRPr lang="en-US" sz="900"/>
          </a:p>
          <a:p>
            <a:r>
              <a:rPr lang="en-US" sz="900" u="sng">
                <a:hlinkClick r:id="rId9"/>
              </a:rPr>
              <a:t>Standard_M128s</a:t>
            </a:r>
            <a:endParaRPr lang="en-US" sz="900"/>
          </a:p>
          <a:p>
            <a:endParaRPr lang="en-US" sz="900">
              <a:solidFill>
                <a:srgbClr val="FFFFFF"/>
              </a:solidFill>
            </a:endParaRPr>
          </a:p>
          <a:p>
            <a:r>
              <a:rPr lang="en-US" sz="900"/>
              <a:t>We encourage you to use these VMs for workloads needing a high degree of isolation.</a:t>
            </a:r>
          </a:p>
          <a:p>
            <a:endParaRPr lang="en-US" sz="900" b="1">
              <a:cs typeface="Calibri"/>
            </a:endParaRPr>
          </a:p>
          <a:p>
            <a:r>
              <a:rPr lang="en-US" sz="900" b="1">
                <a:cs typeface="Calibri"/>
              </a:rPr>
              <a:t>----------------------------------------</a:t>
            </a:r>
          </a:p>
          <a:p>
            <a:endParaRPr lang="en-US" sz="900" b="1">
              <a:cs typeface="Calibri"/>
            </a:endParaRPr>
          </a:p>
          <a:p>
            <a:r>
              <a:rPr lang="en-US" sz="900" b="1">
                <a:cs typeface="Calibri"/>
              </a:rPr>
              <a:t>BACKGROUND INFO </a:t>
            </a:r>
            <a:endParaRPr lang="en-US" sz="900" b="1"/>
          </a:p>
          <a:p>
            <a:endParaRPr lang="en-US" sz="900" b="1"/>
          </a:p>
          <a:p>
            <a:pPr lvl="0"/>
            <a:r>
              <a:rPr lang="en-US" sz="900" b="1"/>
              <a:t>Entry Level</a:t>
            </a:r>
          </a:p>
          <a:p>
            <a:r>
              <a:rPr lang="en-US" sz="900" b="0" i="0" u="none" strike="noStrike" kern="1200">
                <a:solidFill>
                  <a:schemeClr val="tx1"/>
                </a:solidFill>
                <a:effectLst/>
                <a:ea typeface="+mn-ea"/>
                <a:cs typeface="+mn-cs"/>
              </a:rPr>
              <a:t>A-series VMs have CPU performance and memory configurations best suited for entry-level workloads like development and test. They are economical and provide a low-cost option to get started with Azure.</a:t>
            </a:r>
          </a:p>
          <a:p>
            <a:r>
              <a:rPr lang="en-US" sz="900" b="0" i="0" u="none" strike="noStrike" kern="1200">
                <a:solidFill>
                  <a:schemeClr val="tx1"/>
                </a:solidFill>
                <a:effectLst/>
                <a:ea typeface="+mn-ea"/>
                <a:cs typeface="+mn-cs"/>
              </a:rPr>
              <a:t>Example use cases include development and test servers, low-traffic web servers, small-to-medium databases, servers for proof-of-concepts, and code repositories.</a:t>
            </a:r>
          </a:p>
          <a:p>
            <a:pPr lvl="0"/>
            <a:endParaRPr lang="en-US" sz="900" b="1"/>
          </a:p>
          <a:p>
            <a:pPr lvl="0"/>
            <a:r>
              <a:rPr lang="en-US" sz="900" b="1"/>
              <a:t>Burstable</a:t>
            </a:r>
          </a:p>
          <a:p>
            <a:r>
              <a:rPr lang="en-US" sz="900" kern="1200">
                <a:solidFill>
                  <a:schemeClr val="tx1"/>
                </a:solidFill>
                <a:effectLst/>
                <a:ea typeface="+mn-ea"/>
                <a:cs typeface="+mn-cs"/>
              </a:rPr>
              <a:t>B-series are economical virtual machines that provide a low-cost option for workloads that typically run at a low-to-moderate baseline CPU utilization, but sometimes need to burst to significantly higher CPU utilization when the demand rises. </a:t>
            </a:r>
          </a:p>
          <a:p>
            <a:r>
              <a:rPr lang="en-US" sz="900" b="0" kern="1200">
                <a:solidFill>
                  <a:schemeClr val="tx1"/>
                </a:solidFill>
                <a:effectLst/>
                <a:ea typeface="+mn-ea"/>
                <a:cs typeface="+mn-cs"/>
              </a:rPr>
              <a:t>Example use cases include </a:t>
            </a:r>
            <a:r>
              <a:rPr lang="en-US" sz="900" kern="1200">
                <a:solidFill>
                  <a:schemeClr val="tx1"/>
                </a:solidFill>
                <a:effectLst/>
                <a:ea typeface="+mn-ea"/>
                <a:cs typeface="+mn-cs"/>
              </a:rPr>
              <a:t>development and test servers, low-traffic web servers, small databases, micro services, servers for proof-of-concepts, and build servers.</a:t>
            </a:r>
          </a:p>
          <a:p>
            <a:pPr lvl="0"/>
            <a:endParaRPr lang="en-US" sz="900" b="1"/>
          </a:p>
          <a:p>
            <a:pPr lvl="0"/>
            <a:r>
              <a:rPr lang="en-US" sz="900" b="1"/>
              <a:t>General Purpose</a:t>
            </a:r>
          </a:p>
          <a:p>
            <a:r>
              <a:rPr lang="en-US" sz="900" b="0" i="0" u="none" strike="noStrike" kern="1200">
                <a:effectLst/>
                <a:ea typeface="+mn-ea"/>
                <a:cs typeface="+mn-cs"/>
              </a:rPr>
              <a:t>The Dv3 and Ev3 sizes are able to run Windows 2016 hosts and enable Nested Virtualization and Hyper-V Containers for these new VM sizes. Nested virtualization allows you to run a Hyper-V server on an Azure virtual machine. With nested virtualization, you can run a Hyper-V Container in a virtualized container host, set up a Hyper-V lab in a virtualized environment, or to test multi-machine scenarios. You can find more information on </a:t>
            </a:r>
            <a:r>
              <a:rPr lang="en-US" sz="900" b="0" i="0" u="none" strike="noStrike" kern="1200">
                <a:effectLst/>
                <a:ea typeface="+mn-ea"/>
                <a:cs typeface="+mn-cs"/>
                <a:hlinkClick r:id="rId12"/>
              </a:rPr>
              <a:t>Nested Virtualization on Azure</a:t>
            </a:r>
            <a:r>
              <a:rPr lang="en-US" sz="900" b="0" i="0" u="none" strike="noStrike" kern="1200">
                <a:effectLst/>
                <a:ea typeface="+mn-ea"/>
                <a:cs typeface="+mn-cs"/>
              </a:rPr>
              <a:t>. </a:t>
            </a:r>
            <a:br>
              <a:rPr lang="en-US" sz="900" b="0" i="0" u="none" strike="noStrike" kern="1200">
                <a:cs typeface="Calibri"/>
              </a:rPr>
            </a:br>
            <a:endParaRPr lang="en-US" sz="900" b="0" i="0" u="none" strike="noStrike" kern="1200">
              <a:solidFill>
                <a:schemeClr val="tx1"/>
              </a:solidFill>
              <a:effectLst/>
              <a:ea typeface="+mn-ea"/>
              <a:cs typeface="+mn-cs"/>
            </a:endParaRPr>
          </a:p>
          <a:p>
            <a:r>
              <a:rPr lang="en-US" sz="900" b="0" i="0" u="none" strike="noStrike" kern="1200">
                <a:effectLst/>
                <a:ea typeface="+mn-ea"/>
                <a:cs typeface="+mn-cs"/>
              </a:rPr>
              <a:t>Our new Dv3 VM sizes are a good balance of memory to vCPU performance, with up to 64 vCPUs and 256 </a:t>
            </a:r>
            <a:r>
              <a:rPr lang="en-US" sz="900" b="0" i="0" u="none" strike="noStrike" kern="1200" err="1">
                <a:effectLst/>
                <a:ea typeface="+mn-ea"/>
                <a:cs typeface="+mn-cs"/>
              </a:rPr>
              <a:t>GiB</a:t>
            </a:r>
            <a:r>
              <a:rPr lang="en-US" sz="900" b="0" i="0" u="none" strike="noStrike" kern="1200">
                <a:effectLst/>
                <a:ea typeface="+mn-ea"/>
                <a:cs typeface="+mn-cs"/>
              </a:rPr>
              <a:t> of RAM. Our newly named Ev3 sizes provide you with more memory to vCPU than the Dv3, so you can run larger workloads on sizes up to our largest E64 size, with 64 vCPUs and </a:t>
            </a:r>
            <a:br>
              <a:rPr lang="en-US" sz="900" b="0" i="0" u="none" strike="noStrike" kern="1200">
                <a:cs typeface="Calibri"/>
              </a:rPr>
            </a:br>
            <a:r>
              <a:rPr lang="en-US" sz="900" b="0" i="0" u="none" strike="noStrike" kern="1200">
                <a:effectLst/>
                <a:ea typeface="+mn-ea"/>
                <a:cs typeface="+mn-cs"/>
              </a:rPr>
              <a:t>432 </a:t>
            </a:r>
            <a:r>
              <a:rPr lang="en-US" sz="900" b="0" i="0" u="none" strike="noStrike" kern="1200" err="1">
                <a:effectLst/>
                <a:ea typeface="+mn-ea"/>
                <a:cs typeface="+mn-cs"/>
              </a:rPr>
              <a:t>GiB</a:t>
            </a:r>
            <a:r>
              <a:rPr lang="en-US" sz="900" b="0" i="0" u="none" strike="noStrike" kern="1200">
                <a:effectLst/>
                <a:ea typeface="+mn-ea"/>
                <a:cs typeface="+mn-cs"/>
              </a:rPr>
              <a:t> of RAM. D2v3 instances are the latest hyper-threaded generation of general purpose instances.</a:t>
            </a:r>
            <a:r>
              <a:rPr lang="en-US" sz="900"/>
              <a:t> </a:t>
            </a:r>
            <a:endParaRPr lang="en-US" sz="900" b="0" i="0" u="none" strike="noStrike" kern="1200">
              <a:cs typeface="Calibri"/>
            </a:endParaRPr>
          </a:p>
          <a:p>
            <a:pPr lvl="0"/>
            <a:endParaRPr lang="en-US" sz="900"/>
          </a:p>
          <a:p>
            <a:pPr lvl="0"/>
            <a:r>
              <a:rPr lang="en-US" sz="900" b="1"/>
              <a:t>Compute Intensive</a:t>
            </a:r>
          </a:p>
          <a:p>
            <a:r>
              <a:rPr lang="en-US" sz="900"/>
              <a:t>The F-series </a:t>
            </a:r>
            <a:r>
              <a:rPr lang="en-US" sz="900" b="0" i="0" u="none" strike="noStrike" kern="1200">
                <a:solidFill>
                  <a:schemeClr val="tx1"/>
                </a:solidFill>
                <a:effectLst/>
                <a:ea typeface="+mn-ea"/>
                <a:cs typeface="+mn-cs"/>
              </a:rPr>
              <a:t>VM sizes sport a higher CPU-to-memory ratio. They feature 2 GB RAM and 16 GB of local Solid State Drive (SSD) per CPU core, and are optimized for compute-intensive workloads. The F-series is based on the 2.4 GHz Intel Xeon E5-2673 v3 (Haswell) processor, which can achieve clock speeds as high as 3.1 GHz with the Intel Turbo Boost Technology 2.0. Example use cases include scenarios like batch processing, web servers, analytics, and gaming.</a:t>
            </a:r>
          </a:p>
          <a:p>
            <a:endParaRPr lang="en-US" sz="900" b="0" i="0" u="none" strike="noStrike" kern="1200">
              <a:solidFill>
                <a:schemeClr val="tx1"/>
              </a:solidFill>
              <a:effectLst/>
              <a:ea typeface="+mn-ea"/>
              <a:cs typeface="+mn-cs"/>
            </a:endParaRPr>
          </a:p>
          <a:p>
            <a:r>
              <a:rPr lang="en-US" sz="900" b="0" i="0" u="none" strike="noStrike" kern="1200">
                <a:solidFill>
                  <a:schemeClr val="tx1"/>
                </a:solidFill>
                <a:effectLst/>
                <a:ea typeface="+mn-ea"/>
                <a:cs typeface="+mn-cs"/>
              </a:rPr>
              <a:t>Azure now offers the fastest </a:t>
            </a:r>
            <a:r>
              <a:rPr lang="en-US" sz="900" b="0" i="0" u="none" strike="noStrike" kern="1200">
                <a:solidFill>
                  <a:schemeClr val="tx1"/>
                </a:solidFill>
                <a:effectLst/>
                <a:ea typeface="+mn-ea"/>
                <a:cs typeface="+mn-cs"/>
                <a:hlinkClick r:id="rId13"/>
              </a:rPr>
              <a:t>Intel Xeon Scalable</a:t>
            </a:r>
            <a:r>
              <a:rPr lang="en-US" sz="900" b="0" i="0" u="none" strike="noStrike" kern="1200">
                <a:solidFill>
                  <a:schemeClr val="tx1"/>
                </a:solidFill>
                <a:effectLst/>
                <a:ea typeface="+mn-ea"/>
                <a:cs typeface="+mn-cs"/>
              </a:rPr>
              <a:t> processor, code-named Skylake, in the public cloud. In Azure, we have seen growing demand for massive large-scale computation by customers doing financial modeling, scientific analysis, genomics, geothermal visualization, and deep learning. Our drive to continuously innovate in Azure allows us to offer cost-effective and best-in-class hardware for these world-changing workloads. </a:t>
            </a:r>
          </a:p>
          <a:p>
            <a:endParaRPr lang="en-US" sz="900" b="0" i="0" u="none" strike="noStrike" kern="1200">
              <a:solidFill>
                <a:schemeClr val="tx1"/>
              </a:solidFill>
              <a:effectLst/>
              <a:ea typeface="+mn-ea"/>
              <a:cs typeface="+mn-cs"/>
            </a:endParaRPr>
          </a:p>
          <a:p>
            <a:r>
              <a:rPr lang="en-US" sz="900" b="1" i="0" u="none" strike="noStrike" kern="1200">
                <a:solidFill>
                  <a:schemeClr val="tx1"/>
                </a:solidFill>
                <a:effectLst/>
                <a:ea typeface="+mn-ea"/>
                <a:cs typeface="+mn-cs"/>
              </a:rPr>
              <a:t>Memory Optimized</a:t>
            </a:r>
          </a:p>
          <a:p>
            <a:r>
              <a:rPr lang="en-US" sz="900" kern="1200">
                <a:solidFill>
                  <a:schemeClr val="tx1"/>
                </a:solidFill>
                <a:effectLst/>
                <a:ea typeface="+mn-ea"/>
                <a:cs typeface="+mn-cs"/>
              </a:rPr>
              <a:t>The M-series family of Azure virtual machines are the largest memory optimized VMs to date. These VMs are ideal for heavy in-memory workloads, such as SAP HANA. </a:t>
            </a:r>
            <a:r>
              <a:rPr lang="en-US" sz="900" b="0" i="0" u="none" strike="noStrike" kern="1200">
                <a:solidFill>
                  <a:schemeClr val="tx1"/>
                </a:solidFill>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p>
          <a:p>
            <a:endParaRPr lang="en-US" sz="900" b="0" i="0" u="none" strike="noStrike" kern="1200">
              <a:solidFill>
                <a:schemeClr val="tx1"/>
              </a:solidFill>
              <a:effectLst/>
              <a:ea typeface="+mn-ea"/>
              <a:cs typeface="+mn-cs"/>
            </a:endParaRPr>
          </a:p>
          <a:p>
            <a:r>
              <a:rPr lang="en-US" sz="900" b="0" i="0" u="none" strike="noStrike" kern="1200">
                <a:solidFill>
                  <a:schemeClr val="tx1"/>
                </a:solidFill>
                <a:effectLst/>
                <a:ea typeface="+mn-ea"/>
                <a:cs typeface="+mn-cs"/>
              </a:rPr>
              <a:t>G-series VMs feature the latest </a:t>
            </a:r>
            <a:r>
              <a:rPr lang="en-US" sz="900" b="0" i="0" u="none" strike="noStrike" kern="1200">
                <a:solidFill>
                  <a:schemeClr val="tx1"/>
                </a:solidFill>
                <a:effectLst/>
                <a:ea typeface="+mn-ea"/>
                <a:cs typeface="+mn-cs"/>
                <a:hlinkClick r:id="rId14"/>
              </a:rPr>
              <a:t>Intel Xeon processor E5 v3 family</a:t>
            </a:r>
            <a:r>
              <a:rPr lang="en-US" sz="900" b="0" i="0" u="none" strike="noStrike" kern="1200">
                <a:solidFill>
                  <a:schemeClr val="tx1"/>
                </a:solidFill>
                <a:effectLst/>
                <a:ea typeface="+mn-ea"/>
                <a:cs typeface="+mn-cs"/>
              </a:rPr>
              <a:t>, two times more memory, and four times more Solid State Drive storage (SSDs) than the General Purpose D-series. G-series sport RAM of up to ½ TB and 32 CPU cores, and provide unparalleled computational performance, memory, and local SSD storage for your most demanding applications. Example use cases include large SQL and NoSQL databases, ERP, SAP, and data warehousing solutions.</a:t>
            </a:r>
          </a:p>
          <a:p>
            <a:endParaRPr lang="en-US" sz="900" b="0" i="0" u="none" strike="noStrike" kern="1200">
              <a:solidFill>
                <a:schemeClr val="tx1"/>
              </a:solidFill>
              <a:effectLst/>
              <a:ea typeface="+mn-ea"/>
              <a:cs typeface="+mn-cs"/>
            </a:endParaRPr>
          </a:p>
          <a:p>
            <a:r>
              <a:rPr lang="en-US" sz="900" b="0" i="0" u="none" strike="noStrike" kern="1200">
                <a:solidFill>
                  <a:schemeClr val="tx1"/>
                </a:solidFill>
                <a:effectLst/>
                <a:ea typeface="+mn-ea"/>
                <a:cs typeface="+mn-cs"/>
              </a:rPr>
              <a:t>Optimized for in-memory hyper-threaded applications, the E-series family of Azure virtual machines are optimized for heavy in-memory applications such as SAP HANA. These VMs are set up with high memory-to-core ratios that make them well-suited for relational database servers, with medium-to-large caches, and in-memory analytics. The E-series VMs range from 2 to 64 vCPUs and 16 to 432 </a:t>
            </a:r>
            <a:r>
              <a:rPr lang="en-US" sz="900" b="0" i="0" u="none" strike="noStrike" kern="1200" err="1">
                <a:solidFill>
                  <a:schemeClr val="tx1"/>
                </a:solidFill>
                <a:effectLst/>
                <a:ea typeface="+mn-ea"/>
                <a:cs typeface="+mn-cs"/>
              </a:rPr>
              <a:t>GiB</a:t>
            </a:r>
            <a:r>
              <a:rPr lang="en-US" sz="900" b="0" i="0" u="none" strike="noStrike" kern="1200">
                <a:solidFill>
                  <a:schemeClr val="tx1"/>
                </a:solidFill>
                <a:effectLst/>
                <a:ea typeface="+mn-ea"/>
                <a:cs typeface="+mn-cs"/>
              </a:rPr>
              <a:t> RAM, respectively.</a:t>
            </a:r>
          </a:p>
          <a:p>
            <a:endParaRPr lang="en-US" sz="900" b="0" i="0" u="none" strike="noStrike" kern="1200">
              <a:solidFill>
                <a:schemeClr val="tx1"/>
              </a:solidFill>
              <a:effectLst/>
              <a:ea typeface="+mn-ea"/>
              <a:cs typeface="+mn-cs"/>
            </a:endParaRPr>
          </a:p>
          <a:p>
            <a:pPr rtl="0" fontAlgn="base"/>
            <a:r>
              <a:rPr lang="en-US" sz="900" b="0" i="0" u="none" strike="noStrike" kern="1200">
                <a:solidFill>
                  <a:srgbClr val="FF0000"/>
                </a:solidFill>
                <a:effectLst/>
                <a:highlight>
                  <a:srgbClr val="FFFF00"/>
                </a:highlight>
                <a:ea typeface="+mn-ea"/>
                <a:cs typeface="+mn-cs"/>
              </a:rPr>
              <a:t>Two new VM sizes, E64i_v3 and E64is_v3, which are isolated to hardware and dedicated to a single customer. These VMs are best suited for workloads that require a high degree of isolation from other customers for compliance and regulatory requirements. The E64i_v3 and E64is_v3 will have the exact same performance and price as their cousins E64_v3 and E64s_v3, and they will be available in each of the regions where E64_v3 and E64s_v3 are available today. The small letter “I” in the VM name denotes that they are “Isolated” sizes. </a:t>
            </a:r>
          </a:p>
          <a:p>
            <a:pPr lvl="0"/>
            <a:endParaRPr lang="en-US" sz="900"/>
          </a:p>
          <a:p>
            <a:pPr lvl="0"/>
            <a:r>
              <a:rPr lang="en-US" sz="900" b="1"/>
              <a:t>Graphics Intensive</a:t>
            </a:r>
          </a:p>
          <a:p>
            <a:pPr lvl="0"/>
            <a:r>
              <a:rPr lang="en-US" sz="900"/>
              <a:t>NCv3 is available in East and South Central regions in the US. </a:t>
            </a:r>
            <a:r>
              <a:rPr lang="en-US" sz="900" b="0" i="0" u="none" strike="noStrike" kern="120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a:t>
            </a:r>
            <a:br>
              <a:rPr lang="en-US" sz="900" b="0" i="0" u="none" strike="noStrike" kern="1200">
                <a:cs typeface="Calibri"/>
              </a:rPr>
            </a:br>
            <a:r>
              <a:rPr lang="en-US" sz="900" b="0" i="0" u="none" strike="noStrike" kern="1200">
                <a:effectLst/>
                <a:ea typeface="+mn-ea"/>
                <a:cs typeface="+mn-cs"/>
              </a:rPr>
              <a:t>40-50% performance boost they saw on their reservoir simulations.</a:t>
            </a:r>
            <a:endParaRPr lang="en-US" sz="900" b="0" i="0" u="none" strike="noStrike" kern="1200">
              <a:cs typeface="Calibri"/>
            </a:endParaRPr>
          </a:p>
          <a:p>
            <a:pPr lvl="0"/>
            <a:endParaRPr lang="en-US" sz="900" b="0" i="0" u="none" strike="noStrike" kern="1200">
              <a:solidFill>
                <a:schemeClr val="tx1"/>
              </a:solidFill>
              <a:effectLst/>
              <a:ea typeface="+mn-ea"/>
              <a:cs typeface="+mn-cs"/>
            </a:endParaRPr>
          </a:p>
          <a:p>
            <a:pPr lvl="0"/>
            <a:r>
              <a:rPr lang="en-US" sz="900" b="0" i="0" u="none" strike="noStrike" kern="1200">
                <a:effectLst/>
                <a:ea typeface="+mn-ea"/>
                <a:cs typeface="+mn-cs"/>
              </a:rPr>
              <a:t>The ND-series, powered by NVIDIA Tesla P40 GPUs based on the new Pascal Architecture, will be excellent for training and inference. These instances will provide more than twice the performance over the previous generation for FP32 (single-precision floating-point operations),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 They are available in East and West US and Southeast Asia.</a:t>
            </a:r>
            <a:endParaRPr lang="en-US" sz="900" b="0" i="0" u="none" strike="noStrike" kern="1200">
              <a:cs typeface="Calibri"/>
            </a:endParaRPr>
          </a:p>
          <a:p>
            <a:pPr lvl="0"/>
            <a:endParaRPr lang="en-US" sz="900" b="0" i="0" u="none" strike="noStrike" kern="1200">
              <a:solidFill>
                <a:schemeClr val="tx1"/>
              </a:solidFill>
              <a:effectLst/>
              <a:ea typeface="+mn-ea"/>
              <a:cs typeface="+mn-cs"/>
            </a:endParaRPr>
          </a:p>
          <a:p>
            <a:pPr lvl="0"/>
            <a:r>
              <a:rPr lang="en-US" sz="900" b="1" i="0" u="none" strike="noStrike" kern="1200">
                <a:solidFill>
                  <a:schemeClr val="tx1"/>
                </a:solidFill>
                <a:effectLst/>
                <a:ea typeface="+mn-ea"/>
                <a:cs typeface="+mn-cs"/>
              </a:rPr>
              <a:t>HPC</a:t>
            </a:r>
          </a:p>
          <a:p>
            <a:pPr lvl="0"/>
            <a:r>
              <a:rPr lang="en-US" sz="900" b="0" i="0" u="none" strike="noStrike" kern="1200">
                <a:solidFill>
                  <a:schemeClr val="tx1"/>
                </a:solidFill>
                <a:effectLst/>
                <a:ea typeface="+mn-ea"/>
                <a:cs typeface="+mn-cs"/>
              </a:rPr>
              <a:t>H-series VM sizes are suitable for any compute-intensive workload like complex engineering and scientific workloads like computational fluid dynamics, crash simulations, seismic exploration, and weather forecasting simulations. H-series VMs come with the fastest CPUs in public cloud, as well as RDMA with InfiniBand, which allows you to run high-performance computing (HPC) apps. The H-series is available across multiple regions in the US, Europe, and Asia. </a:t>
            </a:r>
          </a:p>
          <a:p>
            <a:pPr lvl="0"/>
            <a:endParaRPr lang="en-US" sz="900"/>
          </a:p>
          <a:p>
            <a:pPr lvl="0"/>
            <a:r>
              <a:rPr lang="en-US" sz="900"/>
              <a:t>Azure offers a comprehensive set of compute options for all types of apps, including entry-level, general purpose, memory optimized, storage optimized, and compute intensive.</a:t>
            </a:r>
          </a:p>
          <a:p>
            <a:pPr lvl="0"/>
            <a:endParaRPr lang="en-US" sz="900"/>
          </a:p>
          <a:p>
            <a:pPr defTabSz="950464">
              <a:defRPr/>
            </a:pPr>
            <a:r>
              <a:rPr lang="en-US" sz="900"/>
              <a:t>Our HPC and GPU fleet has fast performance with built-in </a:t>
            </a:r>
            <a:r>
              <a:rPr lang="en-US" sz="900" err="1"/>
              <a:t>Infiband</a:t>
            </a:r>
            <a:r>
              <a:rPr lang="en-US" sz="900"/>
              <a:t> support. Let’s take a look at some of the new compute types we’ve added:</a:t>
            </a:r>
          </a:p>
          <a:p>
            <a:pPr marL="171450" indent="-171450" defTabSz="950464">
              <a:buFont typeface="Arial" panose="020B0604020202020204" pitchFamily="34" charset="0"/>
              <a:buChar char="•"/>
              <a:defRPr/>
            </a:pPr>
            <a:r>
              <a:rPr lang="en-US" sz="900"/>
              <a:t>H-series: InfiniBand networking (industry-leading)</a:t>
            </a:r>
          </a:p>
          <a:p>
            <a:pPr marL="171450" indent="-171450">
              <a:buFont typeface="Arial" panose="020B0604020202020204" pitchFamily="34" charset="0"/>
              <a:buChar char="•"/>
            </a:pPr>
            <a:r>
              <a:rPr lang="en-US" sz="900"/>
              <a:t>SAP Large Instances up to </a:t>
            </a:r>
            <a:r>
              <a:rPr lang="en-US" sz="900" err="1"/>
              <a:t>to</a:t>
            </a:r>
            <a:r>
              <a:rPr lang="en-US" sz="900"/>
              <a:t> 20 TB (industry-leading) </a:t>
            </a:r>
          </a:p>
          <a:p>
            <a:pPr marL="171450" indent="-171450">
              <a:buFont typeface="Arial" panose="020B0604020202020204" pitchFamily="34" charset="0"/>
              <a:buChar char="•"/>
            </a:pPr>
            <a:r>
              <a:rPr lang="en-US" sz="900"/>
              <a:t>Fast networking (FPGA) – up to 30 </a:t>
            </a:r>
            <a:r>
              <a:rPr lang="en-US" sz="900" err="1"/>
              <a:t>gb</a:t>
            </a:r>
            <a:r>
              <a:rPr lang="en-US" sz="900"/>
              <a:t>/s from 25 </a:t>
            </a:r>
            <a:r>
              <a:rPr lang="en-US" sz="900" err="1"/>
              <a:t>gb</a:t>
            </a:r>
            <a:r>
              <a:rPr lang="en-US" sz="900"/>
              <a:t>/s last year (industry-leading)</a:t>
            </a:r>
          </a:p>
          <a:p>
            <a:pPr lvl="0"/>
            <a:endParaRPr lang="en-US" sz="90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16/2024 7:4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120999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en using Azure CLI will require a storage</a:t>
            </a:r>
          </a:p>
        </p:txBody>
      </p:sp>
      <p:sp>
        <p:nvSpPr>
          <p:cNvPr id="4" name="Header Placeholder 3"/>
          <p:cNvSpPr>
            <a:spLocks noGrp="1"/>
          </p:cNvSpPr>
          <p:nvPr>
            <p:ph type="hdr" sz="quarter"/>
          </p:nvPr>
        </p:nvSpPr>
        <p:spPr/>
        <p:txBody>
          <a:bodyPr/>
          <a:lstStyle/>
          <a:p>
            <a:r>
              <a:rPr lang="en-US"/>
              <a:t>Microsoft Build 2016</a:t>
            </a:r>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8/16/2024 7: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875674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a:latin typeface="Segoe UI Light" pitchFamily="34" charset="0"/>
              </a:rPr>
              <a:t>Ask customers to come talk afterwards if interested in cold storage tier with faster latency than Archive.</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B029ABB-7074-41F9-9953-E362A2B98CEE}"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8/16/2024 7: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0396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A5BAFE2-F38C-423F-98D5-5083955C14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7479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ntroductions and set expectations that this presentation is designed to discuss the role of Azure as the cloud computing platform for a business’s digital trans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Easy definition – Set of services designed to make your life easi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1382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30696649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9.emf"/></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0.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4.xml"/><Relationship Id="rId4" Type="http://schemas.openxmlformats.org/officeDocument/2006/relationships/image" Target="../media/image4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7.jpe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0.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4.xml"/><Relationship Id="rId4" Type="http://schemas.openxmlformats.org/officeDocument/2006/relationships/image" Target="../media/image61.jpe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4.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8.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funclubfrp.wikidot.com/faq" TargetMode="External"/><Relationship Id="rId3" Type="http://schemas.openxmlformats.org/officeDocument/2006/relationships/image" Target="../media/image5.svg"/><Relationship Id="rId7"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hyperlink" Target="https://junktext.com/about" TargetMode="External"/><Relationship Id="rId5" Type="http://schemas.openxmlformats.org/officeDocument/2006/relationships/image" Target="../media/image7.svg"/><Relationship Id="rId10" Type="http://schemas.openxmlformats.org/officeDocument/2006/relationships/image" Target="../media/image10.svg"/><Relationship Id="rId4" Type="http://schemas.openxmlformats.org/officeDocument/2006/relationships/image" Target="../media/image6.png"/><Relationship Id="rId9"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funclubfrp.wikidot.com/faq" TargetMode="External"/><Relationship Id="rId3" Type="http://schemas.openxmlformats.org/officeDocument/2006/relationships/image" Target="../media/image5.svg"/><Relationship Id="rId7"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hyperlink" Target="https://junktext.com/about" TargetMode="External"/><Relationship Id="rId5" Type="http://schemas.openxmlformats.org/officeDocument/2006/relationships/image" Target="../media/image7.svg"/><Relationship Id="rId10" Type="http://schemas.openxmlformats.org/officeDocument/2006/relationships/image" Target="../media/image10.svg"/><Relationship Id="rId4" Type="http://schemas.openxmlformats.org/officeDocument/2006/relationships/image" Target="../media/image6.png"/><Relationship Id="rId9"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NULL"/><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0.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hyperlink" Target="https://mmsmoa.com/mms2024fll" TargetMode="Externa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3" name="Picture 2" descr="A black and white logo&#10;&#10;Description automatically generated">
            <a:extLst>
              <a:ext uri="{FF2B5EF4-FFF2-40B4-BE49-F238E27FC236}">
                <a16:creationId xmlns:a16="http://schemas.microsoft.com/office/drawing/2014/main" id="{12A9FC2B-F80F-0D69-8F21-BBA9A17007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2717" y="226472"/>
            <a:ext cx="2917683" cy="965047"/>
          </a:xfrm>
          <a:prstGeom prst="rect">
            <a:avLst/>
          </a:prstGeom>
        </p:spPr>
      </p:pic>
    </p:spTree>
    <p:extLst>
      <p:ext uri="{BB962C8B-B14F-4D97-AF65-F5344CB8AC3E}">
        <p14:creationId xmlns:p14="http://schemas.microsoft.com/office/powerpoint/2010/main" val="4036651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3075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6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AZURE LOGO">
            <a:extLst>
              <a:ext uri="{FF2B5EF4-FFF2-40B4-BE49-F238E27FC236}">
                <a16:creationId xmlns:a16="http://schemas.microsoft.com/office/drawing/2014/main" id="{D7700383-DA26-402D-B4B4-7B8D1F138622}"/>
              </a:ext>
            </a:extLst>
          </p:cNvPr>
          <p:cNvGrpSpPr>
            <a:grpSpLocks noChangeAspect="1"/>
          </p:cNvGrpSpPr>
          <p:nvPr userDrawn="1"/>
        </p:nvGrpSpPr>
        <p:grpSpPr bwMode="auto">
          <a:xfrm>
            <a:off x="10012722" y="5110406"/>
            <a:ext cx="1665605" cy="1314119"/>
            <a:chOff x="1103" y="-2"/>
            <a:chExt cx="5478" cy="4322"/>
          </a:xfrm>
          <a:solidFill>
            <a:srgbClr val="FFFFFF">
              <a:alpha val="49000"/>
            </a:srgbClr>
          </a:solidFill>
        </p:grpSpPr>
        <p:sp>
          <p:nvSpPr>
            <p:cNvPr id="8" name="Freeform 13">
              <a:extLst>
                <a:ext uri="{FF2B5EF4-FFF2-40B4-BE49-F238E27FC236}">
                  <a16:creationId xmlns:a16="http://schemas.microsoft.com/office/drawing/2014/main" id="{149424B0-45F1-4EC4-9462-6B17B35FC31C}"/>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0" name="Freeform 14">
              <a:extLst>
                <a:ext uri="{FF2B5EF4-FFF2-40B4-BE49-F238E27FC236}">
                  <a16:creationId xmlns:a16="http://schemas.microsoft.com/office/drawing/2014/main" id="{8B58B805-FFBE-45E5-8748-0994DD9EC98A}"/>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1" name="Freeform 15">
              <a:extLst>
                <a:ext uri="{FF2B5EF4-FFF2-40B4-BE49-F238E27FC236}">
                  <a16:creationId xmlns:a16="http://schemas.microsoft.com/office/drawing/2014/main" id="{AF3CF05F-5013-43A0-822D-8DEF031506F6}"/>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spTree>
    <p:extLst>
      <p:ext uri="{BB962C8B-B14F-4D97-AF65-F5344CB8AC3E}">
        <p14:creationId xmlns:p14="http://schemas.microsoft.com/office/powerpoint/2010/main" val="891267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23265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8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AZURE LOGO">
            <a:extLst>
              <a:ext uri="{FF2B5EF4-FFF2-40B4-BE49-F238E27FC236}">
                <a16:creationId xmlns:a16="http://schemas.microsoft.com/office/drawing/2014/main" id="{D7700383-DA26-402D-B4B4-7B8D1F138622}"/>
              </a:ext>
            </a:extLst>
          </p:cNvPr>
          <p:cNvGrpSpPr>
            <a:grpSpLocks noChangeAspect="1"/>
          </p:cNvGrpSpPr>
          <p:nvPr userDrawn="1"/>
        </p:nvGrpSpPr>
        <p:grpSpPr bwMode="auto">
          <a:xfrm>
            <a:off x="10012722" y="5110406"/>
            <a:ext cx="1665605" cy="1314119"/>
            <a:chOff x="1103" y="-2"/>
            <a:chExt cx="5478" cy="4322"/>
          </a:xfrm>
          <a:solidFill>
            <a:srgbClr val="FFFFFF">
              <a:alpha val="49000"/>
            </a:srgbClr>
          </a:solidFill>
        </p:grpSpPr>
        <p:sp>
          <p:nvSpPr>
            <p:cNvPr id="8" name="Freeform 13">
              <a:extLst>
                <a:ext uri="{FF2B5EF4-FFF2-40B4-BE49-F238E27FC236}">
                  <a16:creationId xmlns:a16="http://schemas.microsoft.com/office/drawing/2014/main" id="{149424B0-45F1-4EC4-9462-6B17B35FC31C}"/>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0" name="Freeform 14">
              <a:extLst>
                <a:ext uri="{FF2B5EF4-FFF2-40B4-BE49-F238E27FC236}">
                  <a16:creationId xmlns:a16="http://schemas.microsoft.com/office/drawing/2014/main" id="{8B58B805-FFBE-45E5-8748-0994DD9EC98A}"/>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1" name="Freeform 15">
              <a:extLst>
                <a:ext uri="{FF2B5EF4-FFF2-40B4-BE49-F238E27FC236}">
                  <a16:creationId xmlns:a16="http://schemas.microsoft.com/office/drawing/2014/main" id="{AF3CF05F-5013-43A0-822D-8DEF031506F6}"/>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spTree>
    <p:extLst>
      <p:ext uri="{BB962C8B-B14F-4D97-AF65-F5344CB8AC3E}">
        <p14:creationId xmlns:p14="http://schemas.microsoft.com/office/powerpoint/2010/main" val="680726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9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AZURE LOGO">
            <a:extLst>
              <a:ext uri="{FF2B5EF4-FFF2-40B4-BE49-F238E27FC236}">
                <a16:creationId xmlns:a16="http://schemas.microsoft.com/office/drawing/2014/main" id="{D7700383-DA26-402D-B4B4-7B8D1F138622}"/>
              </a:ext>
            </a:extLst>
          </p:cNvPr>
          <p:cNvGrpSpPr>
            <a:grpSpLocks noChangeAspect="1"/>
          </p:cNvGrpSpPr>
          <p:nvPr userDrawn="1"/>
        </p:nvGrpSpPr>
        <p:grpSpPr bwMode="auto">
          <a:xfrm>
            <a:off x="10012722" y="5110406"/>
            <a:ext cx="1665605" cy="1314119"/>
            <a:chOff x="1103" y="-2"/>
            <a:chExt cx="5478" cy="4322"/>
          </a:xfrm>
          <a:solidFill>
            <a:srgbClr val="FFFFFF">
              <a:alpha val="49000"/>
            </a:srgbClr>
          </a:solidFill>
        </p:grpSpPr>
        <p:sp>
          <p:nvSpPr>
            <p:cNvPr id="8" name="Freeform 13">
              <a:extLst>
                <a:ext uri="{FF2B5EF4-FFF2-40B4-BE49-F238E27FC236}">
                  <a16:creationId xmlns:a16="http://schemas.microsoft.com/office/drawing/2014/main" id="{149424B0-45F1-4EC4-9462-6B17B35FC31C}"/>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0" name="Freeform 14">
              <a:extLst>
                <a:ext uri="{FF2B5EF4-FFF2-40B4-BE49-F238E27FC236}">
                  <a16:creationId xmlns:a16="http://schemas.microsoft.com/office/drawing/2014/main" id="{8B58B805-FFBE-45E5-8748-0994DD9EC98A}"/>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1" name="Freeform 15">
              <a:extLst>
                <a:ext uri="{FF2B5EF4-FFF2-40B4-BE49-F238E27FC236}">
                  <a16:creationId xmlns:a16="http://schemas.microsoft.com/office/drawing/2014/main" id="{AF3CF05F-5013-43A0-822D-8DEF031506F6}"/>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spTree>
    <p:extLst>
      <p:ext uri="{BB962C8B-B14F-4D97-AF65-F5344CB8AC3E}">
        <p14:creationId xmlns:p14="http://schemas.microsoft.com/office/powerpoint/2010/main" val="3110395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0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AZURE LOGO">
            <a:extLst>
              <a:ext uri="{FF2B5EF4-FFF2-40B4-BE49-F238E27FC236}">
                <a16:creationId xmlns:a16="http://schemas.microsoft.com/office/drawing/2014/main" id="{D7700383-DA26-402D-B4B4-7B8D1F138622}"/>
              </a:ext>
            </a:extLst>
          </p:cNvPr>
          <p:cNvGrpSpPr>
            <a:grpSpLocks noChangeAspect="1"/>
          </p:cNvGrpSpPr>
          <p:nvPr userDrawn="1"/>
        </p:nvGrpSpPr>
        <p:grpSpPr bwMode="auto">
          <a:xfrm>
            <a:off x="10012722" y="5110406"/>
            <a:ext cx="1665605" cy="1314119"/>
            <a:chOff x="1103" y="-2"/>
            <a:chExt cx="5478" cy="4322"/>
          </a:xfrm>
          <a:solidFill>
            <a:srgbClr val="FFFFFF">
              <a:alpha val="49000"/>
            </a:srgbClr>
          </a:solidFill>
        </p:grpSpPr>
        <p:sp>
          <p:nvSpPr>
            <p:cNvPr id="8" name="Freeform 13">
              <a:extLst>
                <a:ext uri="{FF2B5EF4-FFF2-40B4-BE49-F238E27FC236}">
                  <a16:creationId xmlns:a16="http://schemas.microsoft.com/office/drawing/2014/main" id="{149424B0-45F1-4EC4-9462-6B17B35FC31C}"/>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0" name="Freeform 14">
              <a:extLst>
                <a:ext uri="{FF2B5EF4-FFF2-40B4-BE49-F238E27FC236}">
                  <a16:creationId xmlns:a16="http://schemas.microsoft.com/office/drawing/2014/main" id="{8B58B805-FFBE-45E5-8748-0994DD9EC98A}"/>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1" name="Freeform 15">
              <a:extLst>
                <a:ext uri="{FF2B5EF4-FFF2-40B4-BE49-F238E27FC236}">
                  <a16:creationId xmlns:a16="http://schemas.microsoft.com/office/drawing/2014/main" id="{AF3CF05F-5013-43A0-822D-8DEF031506F6}"/>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spTree>
    <p:extLst>
      <p:ext uri="{BB962C8B-B14F-4D97-AF65-F5344CB8AC3E}">
        <p14:creationId xmlns:p14="http://schemas.microsoft.com/office/powerpoint/2010/main" val="927782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AZURE LOGO">
            <a:extLst>
              <a:ext uri="{FF2B5EF4-FFF2-40B4-BE49-F238E27FC236}">
                <a16:creationId xmlns:a16="http://schemas.microsoft.com/office/drawing/2014/main" id="{D7700383-DA26-402D-B4B4-7B8D1F138622}"/>
              </a:ext>
            </a:extLst>
          </p:cNvPr>
          <p:cNvGrpSpPr>
            <a:grpSpLocks noChangeAspect="1"/>
          </p:cNvGrpSpPr>
          <p:nvPr userDrawn="1"/>
        </p:nvGrpSpPr>
        <p:grpSpPr bwMode="auto">
          <a:xfrm>
            <a:off x="10012722" y="5110406"/>
            <a:ext cx="1665605" cy="1314119"/>
            <a:chOff x="1103" y="-2"/>
            <a:chExt cx="5478" cy="4322"/>
          </a:xfrm>
          <a:solidFill>
            <a:srgbClr val="FFFFFF">
              <a:alpha val="49000"/>
            </a:srgbClr>
          </a:solidFill>
        </p:grpSpPr>
        <p:sp>
          <p:nvSpPr>
            <p:cNvPr id="8" name="Freeform 13">
              <a:extLst>
                <a:ext uri="{FF2B5EF4-FFF2-40B4-BE49-F238E27FC236}">
                  <a16:creationId xmlns:a16="http://schemas.microsoft.com/office/drawing/2014/main" id="{149424B0-45F1-4EC4-9462-6B17B35FC31C}"/>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0" name="Freeform 14">
              <a:extLst>
                <a:ext uri="{FF2B5EF4-FFF2-40B4-BE49-F238E27FC236}">
                  <a16:creationId xmlns:a16="http://schemas.microsoft.com/office/drawing/2014/main" id="{8B58B805-FFBE-45E5-8748-0994DD9EC98A}"/>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1" name="Freeform 15">
              <a:extLst>
                <a:ext uri="{FF2B5EF4-FFF2-40B4-BE49-F238E27FC236}">
                  <a16:creationId xmlns:a16="http://schemas.microsoft.com/office/drawing/2014/main" id="{AF3CF05F-5013-43A0-822D-8DEF031506F6}"/>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spTree>
    <p:extLst>
      <p:ext uri="{BB962C8B-B14F-4D97-AF65-F5344CB8AC3E}">
        <p14:creationId xmlns:p14="http://schemas.microsoft.com/office/powerpoint/2010/main" val="799882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9C78C4-DF1F-4541-A75E-C9D3F23C8F9E}"/>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D39C78C4-DF1F-4541-A75E-C9D3F23C8F9E}"/>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F3040C11-329D-46DC-BE63-D0C7E8B7856B}"/>
              </a:ext>
            </a:extLst>
          </p:cNvPr>
          <p:cNvSpPr>
            <a:spLocks noGrp="1"/>
          </p:cNvSpPr>
          <p:nvPr>
            <p:ph type="ftr" sz="quarter" idx="10"/>
          </p:nvPr>
        </p:nvSpPr>
        <p:spPr/>
        <p:txBody>
          <a:bodyPr/>
          <a:lstStyle/>
          <a:p>
            <a:pPr algn="l"/>
            <a:r>
              <a:rPr lang="en-US"/>
              <a:t>Microsoft Confidential</a:t>
            </a:r>
          </a:p>
        </p:txBody>
      </p:sp>
      <p:sp>
        <p:nvSpPr>
          <p:cNvPr id="6" name="Slide Number Placeholder 5">
            <a:extLst>
              <a:ext uri="{FF2B5EF4-FFF2-40B4-BE49-F238E27FC236}">
                <a16:creationId xmlns:a16="http://schemas.microsoft.com/office/drawing/2014/main" id="{9503EC8A-D10D-46BE-8EB5-E1927E3BAD04}"/>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3392941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Title Slide">
    <p:bg>
      <p:bgPr>
        <a:solidFill>
          <a:srgbClr val="0D0D0D"/>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78"/>
            <a:ext cx="9144000" cy="4985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04067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Speakers">
    <p:spTree>
      <p:nvGrpSpPr>
        <p:cNvPr id="1" name=""/>
        <p:cNvGrpSpPr/>
        <p:nvPr/>
      </p:nvGrpSpPr>
      <p:grpSpPr>
        <a:xfrm>
          <a:off x="0" y="0"/>
          <a:ext cx="0" cy="0"/>
          <a:chOff x="0" y="0"/>
          <a:chExt cx="0" cy="0"/>
        </a:xfrm>
      </p:grpSpPr>
      <p:pic>
        <p:nvPicPr>
          <p:cNvPr id="13" name="Picture 12" descr="A blue light in the dark&#10;&#10;Description automatically generated with low confidence">
            <a:extLst>
              <a:ext uri="{FF2B5EF4-FFF2-40B4-BE49-F238E27FC236}">
                <a16:creationId xmlns:a16="http://schemas.microsoft.com/office/drawing/2014/main" id="{E490237C-99B3-4664-7462-6C4BF3FC7320}"/>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0" y="1252627"/>
            <a:ext cx="12192000" cy="5612369"/>
          </a:xfrm>
          <a:prstGeom prst="rect">
            <a:avLst/>
          </a:prstGeom>
        </p:spPr>
      </p:pic>
      <p:pic>
        <p:nvPicPr>
          <p:cNvPr id="6" name="Picture 5" descr="MMS Logo">
            <a:extLst>
              <a:ext uri="{FF2B5EF4-FFF2-40B4-BE49-F238E27FC236}">
                <a16:creationId xmlns:a16="http://schemas.microsoft.com/office/drawing/2014/main" id="{58B90811-A51E-65F2-5CD6-98D6CF98110B}"/>
              </a:ext>
            </a:extLst>
          </p:cNvPr>
          <p:cNvPicPr>
            <a:picLocks noChangeAspect="1"/>
          </p:cNvPicPr>
          <p:nvPr userDrawn="1"/>
        </p:nvPicPr>
        <p:blipFill>
          <a:blip r:embed="rId3">
            <a:alphaModFix amt="20000"/>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595625" y="5930596"/>
            <a:ext cx="1596375" cy="914400"/>
          </a:xfrm>
          <a:prstGeom prst="rect">
            <a:avLst/>
          </a:prstGeom>
        </p:spPr>
      </p:pic>
      <p:sp>
        <p:nvSpPr>
          <p:cNvPr id="5" name="Picture Placeholder 4">
            <a:extLst>
              <a:ext uri="{FF2B5EF4-FFF2-40B4-BE49-F238E27FC236}">
                <a16:creationId xmlns:a16="http://schemas.microsoft.com/office/drawing/2014/main" id="{D0F2FDBB-FB45-8FD2-5F71-DB342D59755E}"/>
              </a:ext>
            </a:extLst>
          </p:cNvPr>
          <p:cNvSpPr>
            <a:spLocks noGrp="1"/>
          </p:cNvSpPr>
          <p:nvPr>
            <p:ph type="pic" sz="quarter" idx="10"/>
          </p:nvPr>
        </p:nvSpPr>
        <p:spPr>
          <a:xfrm>
            <a:off x="2396859" y="1581880"/>
            <a:ext cx="2703513" cy="2538413"/>
          </a:xfrm>
        </p:spPr>
        <p:txBody>
          <a:bodyPr/>
          <a:lstStyle/>
          <a:p>
            <a:r>
              <a:rPr lang="en-US"/>
              <a:t>Click icon to add picture</a:t>
            </a:r>
          </a:p>
        </p:txBody>
      </p:sp>
      <p:sp>
        <p:nvSpPr>
          <p:cNvPr id="8" name="Picture Placeholder 4">
            <a:extLst>
              <a:ext uri="{FF2B5EF4-FFF2-40B4-BE49-F238E27FC236}">
                <a16:creationId xmlns:a16="http://schemas.microsoft.com/office/drawing/2014/main" id="{B765F7A9-F279-484D-0F3B-4BB46B514D6C}"/>
              </a:ext>
            </a:extLst>
          </p:cNvPr>
          <p:cNvSpPr>
            <a:spLocks noGrp="1"/>
          </p:cNvSpPr>
          <p:nvPr>
            <p:ph type="pic" sz="quarter" idx="11"/>
          </p:nvPr>
        </p:nvSpPr>
        <p:spPr>
          <a:xfrm>
            <a:off x="7114594" y="1579653"/>
            <a:ext cx="2703513" cy="2538413"/>
          </a:xfrm>
        </p:spPr>
        <p:txBody>
          <a:bodyPr/>
          <a:lstStyle/>
          <a:p>
            <a:r>
              <a:rPr lang="en-US"/>
              <a:t>Click icon to add picture</a:t>
            </a:r>
          </a:p>
        </p:txBody>
      </p:sp>
      <p:sp>
        <p:nvSpPr>
          <p:cNvPr id="9" name="Rectangle 8">
            <a:extLst>
              <a:ext uri="{FF2B5EF4-FFF2-40B4-BE49-F238E27FC236}">
                <a16:creationId xmlns:a16="http://schemas.microsoft.com/office/drawing/2014/main" id="{5F6FE98B-7FAF-CBE0-DE78-7629C4DAC585}"/>
              </a:ext>
            </a:extLst>
          </p:cNvPr>
          <p:cNvSpPr/>
          <p:nvPr userDrawn="1"/>
        </p:nvSpPr>
        <p:spPr>
          <a:xfrm>
            <a:off x="4293904" y="195263"/>
            <a:ext cx="3604192" cy="1200329"/>
          </a:xfrm>
          <a:prstGeom prst="rect">
            <a:avLst/>
          </a:prstGeom>
          <a:noFill/>
        </p:spPr>
        <p:txBody>
          <a:bodyPr vert="horz" wrap="none" lIns="91440" tIns="45720" rIns="91440" bIns="45720">
            <a:spAutoFit/>
          </a:bodyPr>
          <a:lstStyle/>
          <a:p>
            <a:pPr algn="ctr"/>
            <a:r>
              <a:rPr lang="en-US" sz="7200" b="1" u="none" cap="none" spc="0" baseline="0">
                <a:ln w="0"/>
                <a:solidFill>
                  <a:schemeClr val="bg1"/>
                </a:solidFill>
                <a:effectLst>
                  <a:outerShdw blurRad="38100" dist="19050" dir="2700000" algn="tl" rotWithShape="0">
                    <a:schemeClr val="dk1">
                      <a:alpha val="40000"/>
                    </a:schemeClr>
                  </a:outerShdw>
                </a:effectLst>
              </a:rPr>
              <a:t>Speakers</a:t>
            </a:r>
          </a:p>
        </p:txBody>
      </p:sp>
      <p:pic>
        <p:nvPicPr>
          <p:cNvPr id="11" name="Graphic 10" descr="Radio microphone with solid fill">
            <a:extLst>
              <a:ext uri="{FF2B5EF4-FFF2-40B4-BE49-F238E27FC236}">
                <a16:creationId xmlns:a16="http://schemas.microsoft.com/office/drawing/2014/main" id="{081F717A-90EF-F96A-D83B-54E6307A315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59804" y="338227"/>
            <a:ext cx="914400" cy="914400"/>
          </a:xfrm>
          <a:prstGeom prst="rect">
            <a:avLst/>
          </a:prstGeom>
        </p:spPr>
      </p:pic>
      <p:sp>
        <p:nvSpPr>
          <p:cNvPr id="17" name="Text Placeholder 16">
            <a:extLst>
              <a:ext uri="{FF2B5EF4-FFF2-40B4-BE49-F238E27FC236}">
                <a16:creationId xmlns:a16="http://schemas.microsoft.com/office/drawing/2014/main" id="{2E8946D3-04F0-0641-9424-10E785AD7371}"/>
              </a:ext>
            </a:extLst>
          </p:cNvPr>
          <p:cNvSpPr>
            <a:spLocks noGrp="1"/>
          </p:cNvSpPr>
          <p:nvPr>
            <p:ph type="body" sz="quarter" idx="12" hasCustomPrompt="1"/>
          </p:nvPr>
        </p:nvSpPr>
        <p:spPr>
          <a:xfrm>
            <a:off x="1439693" y="4206239"/>
            <a:ext cx="4572000" cy="457200"/>
          </a:xfrm>
        </p:spPr>
        <p:txBody>
          <a:bodyPr/>
          <a:lstStyle>
            <a:lvl1pPr marL="0" indent="0" algn="ctr">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1 Name</a:t>
            </a:r>
          </a:p>
        </p:txBody>
      </p:sp>
      <p:sp>
        <p:nvSpPr>
          <p:cNvPr id="18" name="Text Placeholder 16">
            <a:extLst>
              <a:ext uri="{FF2B5EF4-FFF2-40B4-BE49-F238E27FC236}">
                <a16:creationId xmlns:a16="http://schemas.microsoft.com/office/drawing/2014/main" id="{4E852539-A3B0-BF16-FE8E-4CC8EFF8ACE6}"/>
              </a:ext>
            </a:extLst>
          </p:cNvPr>
          <p:cNvSpPr>
            <a:spLocks noGrp="1"/>
          </p:cNvSpPr>
          <p:nvPr>
            <p:ph type="body" sz="quarter" idx="13" hasCustomPrompt="1"/>
          </p:nvPr>
        </p:nvSpPr>
        <p:spPr>
          <a:xfrm>
            <a:off x="6168867" y="4206239"/>
            <a:ext cx="4572000" cy="457200"/>
          </a:xfrm>
        </p:spPr>
        <p:txBody>
          <a:bodyPr/>
          <a:lstStyle>
            <a:lvl1pPr marL="0" indent="0" algn="ctr">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2 Name</a:t>
            </a:r>
          </a:p>
        </p:txBody>
      </p:sp>
      <p:sp>
        <p:nvSpPr>
          <p:cNvPr id="19" name="Text Placeholder 16">
            <a:extLst>
              <a:ext uri="{FF2B5EF4-FFF2-40B4-BE49-F238E27FC236}">
                <a16:creationId xmlns:a16="http://schemas.microsoft.com/office/drawing/2014/main" id="{F8B8F0D3-A682-04D8-7E0B-F26D56163FA4}"/>
              </a:ext>
            </a:extLst>
          </p:cNvPr>
          <p:cNvSpPr>
            <a:spLocks noGrp="1"/>
          </p:cNvSpPr>
          <p:nvPr>
            <p:ph type="body" sz="quarter" idx="14" hasCustomPrompt="1"/>
          </p:nvPr>
        </p:nvSpPr>
        <p:spPr>
          <a:xfrm>
            <a:off x="1439693" y="5303520"/>
            <a:ext cx="4572000" cy="914400"/>
          </a:xfrm>
        </p:spPr>
        <p:txBody>
          <a:bodyPr>
            <a:normAutofit/>
          </a:bodyPr>
          <a:lstStyle>
            <a:lvl1pPr marL="0" indent="0" algn="ctr">
              <a:buFontTx/>
              <a:buNone/>
              <a:defRPr sz="2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1 contact info</a:t>
            </a:r>
          </a:p>
        </p:txBody>
      </p:sp>
      <p:sp>
        <p:nvSpPr>
          <p:cNvPr id="20" name="Text Placeholder 16">
            <a:extLst>
              <a:ext uri="{FF2B5EF4-FFF2-40B4-BE49-F238E27FC236}">
                <a16:creationId xmlns:a16="http://schemas.microsoft.com/office/drawing/2014/main" id="{A3D27F1E-071E-F20C-9FA4-6FF3260A1116}"/>
              </a:ext>
            </a:extLst>
          </p:cNvPr>
          <p:cNvSpPr>
            <a:spLocks noGrp="1"/>
          </p:cNvSpPr>
          <p:nvPr>
            <p:ph type="body" sz="quarter" idx="15" hasCustomPrompt="1"/>
          </p:nvPr>
        </p:nvSpPr>
        <p:spPr>
          <a:xfrm>
            <a:off x="6180307" y="5303520"/>
            <a:ext cx="4572000" cy="914400"/>
          </a:xfrm>
        </p:spPr>
        <p:txBody>
          <a:bodyPr/>
          <a:lstStyle>
            <a:lvl1pPr marL="0" indent="0" algn="ctr">
              <a:buFontTx/>
              <a:buNone/>
              <a:defRPr sz="2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2 contact info</a:t>
            </a:r>
          </a:p>
        </p:txBody>
      </p:sp>
      <p:sp>
        <p:nvSpPr>
          <p:cNvPr id="21" name="Text Placeholder 16">
            <a:extLst>
              <a:ext uri="{FF2B5EF4-FFF2-40B4-BE49-F238E27FC236}">
                <a16:creationId xmlns:a16="http://schemas.microsoft.com/office/drawing/2014/main" id="{725C257A-1E0B-90CB-FDAB-F164B5FB84B2}"/>
              </a:ext>
            </a:extLst>
          </p:cNvPr>
          <p:cNvSpPr>
            <a:spLocks noGrp="1"/>
          </p:cNvSpPr>
          <p:nvPr>
            <p:ph type="body" sz="quarter" idx="16" hasCustomPrompt="1"/>
          </p:nvPr>
        </p:nvSpPr>
        <p:spPr>
          <a:xfrm>
            <a:off x="1439693" y="4754880"/>
            <a:ext cx="4572000" cy="457200"/>
          </a:xfrm>
        </p:spPr>
        <p:txBody>
          <a:bodyPr>
            <a:normAutofit/>
          </a:bodyPr>
          <a:lstStyle>
            <a:lvl1pPr marL="0" indent="0" algn="ctr">
              <a:buFontTx/>
              <a:buNone/>
              <a:defRPr sz="2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1 info</a:t>
            </a:r>
          </a:p>
        </p:txBody>
      </p:sp>
      <p:sp>
        <p:nvSpPr>
          <p:cNvPr id="22" name="Text Placeholder 16">
            <a:extLst>
              <a:ext uri="{FF2B5EF4-FFF2-40B4-BE49-F238E27FC236}">
                <a16:creationId xmlns:a16="http://schemas.microsoft.com/office/drawing/2014/main" id="{F028274B-3D73-8DB7-57F5-8758A5761592}"/>
              </a:ext>
            </a:extLst>
          </p:cNvPr>
          <p:cNvSpPr>
            <a:spLocks noGrp="1"/>
          </p:cNvSpPr>
          <p:nvPr>
            <p:ph type="body" sz="quarter" idx="17" hasCustomPrompt="1"/>
          </p:nvPr>
        </p:nvSpPr>
        <p:spPr>
          <a:xfrm>
            <a:off x="6180350" y="4754880"/>
            <a:ext cx="4572000" cy="457200"/>
          </a:xfrm>
        </p:spPr>
        <p:txBody>
          <a:bodyPr>
            <a:normAutofit/>
          </a:bodyPr>
          <a:lstStyle>
            <a:lvl1pPr marL="0" indent="0" algn="ctr">
              <a:buFontTx/>
              <a:buNone/>
              <a:defRPr sz="2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2 info</a:t>
            </a:r>
          </a:p>
        </p:txBody>
      </p:sp>
      <p:sp>
        <p:nvSpPr>
          <p:cNvPr id="23" name="Rectangle 22">
            <a:extLst>
              <a:ext uri="{FF2B5EF4-FFF2-40B4-BE49-F238E27FC236}">
                <a16:creationId xmlns:a16="http://schemas.microsoft.com/office/drawing/2014/main" id="{1E3E2B6C-976C-B840-C89F-B4F3065660F9}"/>
              </a:ext>
            </a:extLst>
          </p:cNvPr>
          <p:cNvSpPr/>
          <p:nvPr userDrawn="1"/>
        </p:nvSpPr>
        <p:spPr>
          <a:xfrm>
            <a:off x="2286669" y="6401767"/>
            <a:ext cx="7618661" cy="259381"/>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cap="none" spc="0">
                <a:ln w="0"/>
                <a:solidFill>
                  <a:schemeClr val="bg1"/>
                </a:solidFill>
                <a:effectLst>
                  <a:outerShdw blurRad="38100" dist="19050" dir="2700000" algn="tl" rotWithShape="0">
                    <a:schemeClr val="dk1">
                      <a:alpha val="40000"/>
                    </a:schemeClr>
                  </a:outerShdw>
                </a:effectLst>
              </a:rPr>
              <a:t>Can’t see our slides? Can’t hear? Need to repeat the question? Call us out!</a:t>
            </a:r>
          </a:p>
        </p:txBody>
      </p:sp>
    </p:spTree>
    <p:extLst>
      <p:ext uri="{BB962C8B-B14F-4D97-AF65-F5344CB8AC3E}">
        <p14:creationId xmlns:p14="http://schemas.microsoft.com/office/powerpoint/2010/main" val="349211417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8404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04290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8"/>
            <a:ext cx="6274973" cy="1796218"/>
          </a:xfrm>
        </p:spPr>
        <p:txBody>
          <a:bodyPr wrap="square">
            <a:spAutoFit/>
          </a:bodyPr>
          <a:lstStyle>
            <a:lvl1pPr marL="392019" indent="-392019">
              <a:spcBef>
                <a:spcPts val="1200"/>
              </a:spcBef>
              <a:buClr>
                <a:srgbClr val="92D050"/>
              </a:buClr>
              <a:buSzPct val="100000"/>
              <a:buFont typeface="Wingdings" panose="05000000000000000000" pitchFamily="2" charset="2"/>
              <a:buChar char="ü"/>
              <a:defRPr sz="3135">
                <a:gradFill>
                  <a:gsLst>
                    <a:gs pos="7500">
                      <a:schemeClr val="bg1"/>
                    </a:gs>
                    <a:gs pos="43000">
                      <a:schemeClr val="bg1"/>
                    </a:gs>
                  </a:gsLst>
                  <a:lin ang="5400000" scaled="0"/>
                </a:gradFill>
              </a:defRPr>
            </a:lvl1pPr>
            <a:lvl2pPr marL="672032" indent="-280013">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477" indent="267569">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044" indent="22401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055" indent="-22401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9"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9"/>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58" tIns="34280" rIns="68558" bIns="34280"/>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321"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434221"/>
          </a:xfrm>
        </p:spPr>
        <p:txBody>
          <a:bodyPr/>
          <a:lstStyle>
            <a:lvl1pPr marL="0" indent="0">
              <a:buFontTx/>
              <a:buNone/>
              <a:defRPr lang="en-US" sz="3135"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016"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9"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30" tIns="44814" rIns="89630" bIns="4481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1" y="981281"/>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30" tIns="44814" rIns="89630" bIns="44814"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3"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90595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3" name="Picture 2" descr="A black and white logo&#10;&#10;Description automatically generated">
            <a:extLst>
              <a:ext uri="{FF2B5EF4-FFF2-40B4-BE49-F238E27FC236}">
                <a16:creationId xmlns:a16="http://schemas.microsoft.com/office/drawing/2014/main" id="{12A9FC2B-F80F-0D69-8F21-BBA9A17007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2717" y="226472"/>
            <a:ext cx="2917683" cy="965047"/>
          </a:xfrm>
          <a:prstGeom prst="rect">
            <a:avLst/>
          </a:prstGeom>
        </p:spPr>
      </p:pic>
    </p:spTree>
    <p:extLst>
      <p:ext uri="{BB962C8B-B14F-4D97-AF65-F5344CB8AC3E}">
        <p14:creationId xmlns:p14="http://schemas.microsoft.com/office/powerpoint/2010/main" val="3998067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64790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2014384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05827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8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51361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6467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97488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19742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37039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43408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61222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270823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88181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663009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251544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26757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617198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422109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89925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29269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038675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06175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59088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41537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40458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51746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561138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76056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13668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86835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376770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887309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857333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166956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947379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223372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770892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96179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13392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0897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flipH="1">
            <a:off x="304800" y="292100"/>
            <a:ext cx="11582400" cy="6272213"/>
          </a:xfrm>
          <a:prstGeom prst="rect">
            <a:avLst/>
          </a:prstGeom>
          <a:gradFill>
            <a:gsLst>
              <a:gs pos="64000">
                <a:srgbClr val="0D82CB"/>
              </a:gs>
              <a:gs pos="1000">
                <a:schemeClr val="accent3"/>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332897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4491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Tree>
    <p:extLst>
      <p:ext uri="{BB962C8B-B14F-4D97-AF65-F5344CB8AC3E}">
        <p14:creationId xmlns:p14="http://schemas.microsoft.com/office/powerpoint/2010/main" val="426133714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460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7749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987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034712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55097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39373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47995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228054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665EE4-0A4A-2B2C-119B-2F341C139E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11DF5D-CB3B-BA76-1722-DD0D7E7805E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5" name="Picture 4" descr="MMS Logo">
            <a:extLst>
              <a:ext uri="{FF2B5EF4-FFF2-40B4-BE49-F238E27FC236}">
                <a16:creationId xmlns:a16="http://schemas.microsoft.com/office/drawing/2014/main" id="{7A94F116-969A-0346-AE10-98CF6F785B0F}"/>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10595625" y="5930596"/>
            <a:ext cx="1596375" cy="914400"/>
          </a:xfrm>
          <a:prstGeom prst="rect">
            <a:avLst/>
          </a:prstGeom>
        </p:spPr>
      </p:pic>
      <p:pic>
        <p:nvPicPr>
          <p:cNvPr id="8" name="Picture 7" descr="A picture containing furniture, curtain&#10;&#10;Description automatically generated">
            <a:extLst>
              <a:ext uri="{FF2B5EF4-FFF2-40B4-BE49-F238E27FC236}">
                <a16:creationId xmlns:a16="http://schemas.microsoft.com/office/drawing/2014/main" id="{3AC1A3A1-7EDB-D367-2230-49C5F099A592}"/>
              </a:ext>
            </a:extLst>
          </p:cNvPr>
          <p:cNvPicPr>
            <a:picLocks noChangeAspect="1"/>
          </p:cNvPicPr>
          <p:nvPr userDrawn="1"/>
        </p:nvPicPr>
        <p:blipFill>
          <a:blip r:embed="rId3">
            <a:alphaModFix amt="25000"/>
            <a:extLst>
              <a:ext uri="{28A0092B-C50C-407E-A947-70E740481C1C}">
                <a14:useLocalDpi xmlns:a14="http://schemas.microsoft.com/office/drawing/2010/main" val="0"/>
              </a:ext>
            </a:extLst>
          </a:blip>
          <a:stretch>
            <a:fillRect/>
          </a:stretch>
        </p:blipFill>
        <p:spPr>
          <a:xfrm>
            <a:off x="1292379" y="0"/>
            <a:ext cx="9607242" cy="6858000"/>
          </a:xfrm>
          <a:prstGeom prst="rect">
            <a:avLst/>
          </a:prstGeom>
        </p:spPr>
      </p:pic>
    </p:spTree>
    <p:extLst>
      <p:ext uri="{BB962C8B-B14F-4D97-AF65-F5344CB8AC3E}">
        <p14:creationId xmlns:p14="http://schemas.microsoft.com/office/powerpoint/2010/main" val="29116562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74718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6761372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EA717-82BF-9A46-8E1F-1B3228D929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88E18DF-60EA-C41F-9F8D-D8E1874FA7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BCE670E-B750-3745-9983-871BE4E904E2}"/>
              </a:ext>
            </a:extLst>
          </p:cNvPr>
          <p:cNvSpPr>
            <a:spLocks noGrp="1"/>
          </p:cNvSpPr>
          <p:nvPr>
            <p:ph type="dt" sz="half" idx="10"/>
          </p:nvPr>
        </p:nvSpPr>
        <p:spPr/>
        <p:txBody>
          <a:bodyPr/>
          <a:lstStyle/>
          <a:p>
            <a:fld id="{5EC83F9A-A1EF-3E43-92E0-D395641BD1C2}" type="datetimeFigureOut">
              <a:rPr lang="en-US" smtClean="0"/>
              <a:t>8/16/2024</a:t>
            </a:fld>
            <a:endParaRPr lang="en-US"/>
          </a:p>
        </p:txBody>
      </p:sp>
      <p:sp>
        <p:nvSpPr>
          <p:cNvPr id="5" name="Footer Placeholder 4">
            <a:extLst>
              <a:ext uri="{FF2B5EF4-FFF2-40B4-BE49-F238E27FC236}">
                <a16:creationId xmlns:a16="http://schemas.microsoft.com/office/drawing/2014/main" id="{A360DC97-7D33-B072-E657-10728A4B8A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93B5B-CEA2-4FE1-CA60-97645F5040FE}"/>
              </a:ext>
            </a:extLst>
          </p:cNvPr>
          <p:cNvSpPr>
            <a:spLocks noGrp="1"/>
          </p:cNvSpPr>
          <p:nvPr>
            <p:ph type="sldNum" sz="quarter" idx="12"/>
          </p:nvPr>
        </p:nvSpPr>
        <p:spPr/>
        <p:txBody>
          <a:bodyPr/>
          <a:lstStyle/>
          <a:p>
            <a:fld id="{7716FEB6-7F69-0045-BD9B-4125644844F9}" type="slidenum">
              <a:rPr lang="en-US" smtClean="0"/>
              <a:t>‹#›</a:t>
            </a:fld>
            <a:endParaRPr lang="en-US"/>
          </a:p>
        </p:txBody>
      </p:sp>
    </p:spTree>
    <p:extLst>
      <p:ext uri="{BB962C8B-B14F-4D97-AF65-F5344CB8AC3E}">
        <p14:creationId xmlns:p14="http://schemas.microsoft.com/office/powerpoint/2010/main" val="186094379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5_Title Slide">
    <p:bg>
      <p:bgPr>
        <a:gradFill>
          <a:gsLst>
            <a:gs pos="98696">
              <a:schemeClr val="accent1">
                <a:lumMod val="50000"/>
              </a:schemeClr>
            </a:gs>
            <a:gs pos="49000">
              <a:schemeClr val="accent1"/>
            </a:gs>
            <a:gs pos="0">
              <a:schemeClr val="accent3"/>
            </a:gs>
          </a:gsLst>
          <a:lin ang="3000000" scaled="0"/>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6" name="Graphic 5">
            <a:extLst>
              <a:ext uri="{FF2B5EF4-FFF2-40B4-BE49-F238E27FC236}">
                <a16:creationId xmlns:a16="http://schemas.microsoft.com/office/drawing/2014/main" id="{5987DB73-58F1-2950-F879-69389764280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5625"/>
          <a:stretch/>
        </p:blipFill>
        <p:spPr>
          <a:xfrm>
            <a:off x="5236298" y="-1"/>
            <a:ext cx="6792864" cy="7027101"/>
          </a:xfrm>
          <a:prstGeom prst="rect">
            <a:avLst/>
          </a:prstGeom>
        </p:spPr>
      </p:pic>
      <p:pic>
        <p:nvPicPr>
          <p:cNvPr id="8" name="Picture 7" descr="A white text on a black background&#10;&#10;Description automatically generated">
            <a:extLst>
              <a:ext uri="{FF2B5EF4-FFF2-40B4-BE49-F238E27FC236}">
                <a16:creationId xmlns:a16="http://schemas.microsoft.com/office/drawing/2014/main" id="{869C17FF-C2C7-EBB6-7F8D-E6DC07BB9AED}"/>
              </a:ext>
            </a:extLst>
          </p:cNvPr>
          <p:cNvPicPr>
            <a:picLocks noChangeAspect="1"/>
          </p:cNvPicPr>
          <p:nvPr userDrawn="1"/>
        </p:nvPicPr>
        <p:blipFill>
          <a:blip r:embed="rId4"/>
          <a:stretch>
            <a:fillRect/>
          </a:stretch>
        </p:blipFill>
        <p:spPr>
          <a:xfrm>
            <a:off x="587976" y="585788"/>
            <a:ext cx="1968840" cy="281530"/>
          </a:xfrm>
          <a:prstGeom prst="rect">
            <a:avLst/>
          </a:prstGeom>
        </p:spPr>
      </p:pic>
    </p:spTree>
    <p:extLst>
      <p:ext uri="{BB962C8B-B14F-4D97-AF65-F5344CB8AC3E}">
        <p14:creationId xmlns:p14="http://schemas.microsoft.com/office/powerpoint/2010/main" val="39420404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2845073778"/>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4183063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1205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21547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7965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83899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826936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00957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04385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36275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63891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27253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12443466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2855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870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98573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329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5905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94440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77586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252454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813559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14312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3046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Only with Azure 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9776E5-DC33-E1B3-AFBC-BE29834093A3}"/>
              </a:ext>
            </a:extLst>
          </p:cNvPr>
          <p:cNvSpPr/>
          <p:nvPr userDrawn="1"/>
        </p:nvSpPr>
        <p:spPr bwMode="auto">
          <a:xfrm>
            <a:off x="0" y="0"/>
            <a:ext cx="12191998" cy="6858000"/>
          </a:xfrm>
          <a:prstGeom prst="rect">
            <a:avLst/>
          </a:prstGeom>
          <a:gradFill>
            <a:gsLst>
              <a:gs pos="100000">
                <a:schemeClr val="accent3"/>
              </a:gs>
              <a:gs pos="84000">
                <a:srgbClr val="26A0C2">
                  <a:alpha val="90000"/>
                </a:srgbClr>
              </a:gs>
              <a:gs pos="18000">
                <a:srgbClr val="1F98C5">
                  <a:alpha val="90000"/>
                </a:srgbClr>
              </a:gs>
              <a:gs pos="50000">
                <a:schemeClr val="accent1"/>
              </a:gs>
              <a:gs pos="0">
                <a:schemeClr val="accent3"/>
              </a:gs>
            </a:gsLst>
            <a:lin ang="7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4037E984-6196-F309-0CC2-6BAA472BFC9B}"/>
              </a:ext>
            </a:extLst>
          </p:cNvPr>
          <p:cNvSpPr/>
          <p:nvPr userDrawn="1"/>
        </p:nvSpPr>
        <p:spPr bwMode="auto">
          <a:xfrm>
            <a:off x="0" y="0"/>
            <a:ext cx="12191998" cy="6858000"/>
          </a:xfrm>
          <a:prstGeom prst="rect">
            <a:avLst/>
          </a:prstGeom>
          <a:gradFill flip="none" rotWithShape="1">
            <a:gsLst>
              <a:gs pos="100000">
                <a:schemeClr val="bg1">
                  <a:alpha val="18000"/>
                </a:schemeClr>
              </a:gs>
              <a:gs pos="19000">
                <a:schemeClr val="bg1"/>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3304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991301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64435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51577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14769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98335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46313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5302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810814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625664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6476081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2703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2344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0775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6778700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45806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10625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864465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49858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16757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87718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47647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59926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10188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625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11492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0320190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717236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547931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600774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238912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520053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34764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22176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868217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589285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657293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945039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8868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68236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75221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8306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17689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7190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21993237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3586733"/>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58503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594760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694296064"/>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240583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40523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9121606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2724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5024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09715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021707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Title Only with Simpl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968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7042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66308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27291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08613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20651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06536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Presenters">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FF3B1D4-3D40-2348-FC3B-F469F167656E}"/>
              </a:ext>
            </a:extLst>
          </p:cNvPr>
          <p:cNvSpPr txBox="1"/>
          <p:nvPr userDrawn="1"/>
        </p:nvSpPr>
        <p:spPr>
          <a:xfrm flipH="1">
            <a:off x="881884" y="470936"/>
            <a:ext cx="10428231" cy="677108"/>
          </a:xfrm>
          <a:prstGeom prst="rect">
            <a:avLst/>
          </a:prstGeom>
          <a:noFill/>
        </p:spPr>
        <p:txBody>
          <a:bodyPr wrap="square" lIns="0" tIns="0" rIns="0" bIns="0" rtlCol="0">
            <a:spAutoFit/>
          </a:bodyPr>
          <a:lstStyle/>
          <a:p>
            <a:pPr algn="ctr"/>
            <a:r>
              <a:rPr lang="en-US" sz="4400" b="1" dirty="0">
                <a:solidFill>
                  <a:srgbClr val="0078D4"/>
                </a:solidFill>
              </a:rPr>
              <a:t> Speakers</a:t>
            </a:r>
          </a:p>
        </p:txBody>
      </p:sp>
      <p:pic>
        <p:nvPicPr>
          <p:cNvPr id="6" name="Graphic 5" descr="Employee badge with solid fill">
            <a:extLst>
              <a:ext uri="{FF2B5EF4-FFF2-40B4-BE49-F238E27FC236}">
                <a16:creationId xmlns:a16="http://schemas.microsoft.com/office/drawing/2014/main" id="{312C10F7-7ECE-0C86-D0E2-235DD512D0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24947" y="383875"/>
            <a:ext cx="914400" cy="914400"/>
          </a:xfrm>
          <a:prstGeom prst="rect">
            <a:avLst/>
          </a:prstGeom>
        </p:spPr>
      </p:pic>
      <p:sp>
        <p:nvSpPr>
          <p:cNvPr id="8" name="Picture Placeholder 7">
            <a:extLst>
              <a:ext uri="{FF2B5EF4-FFF2-40B4-BE49-F238E27FC236}">
                <a16:creationId xmlns:a16="http://schemas.microsoft.com/office/drawing/2014/main" id="{4704A264-511F-18F2-2097-F532D2BABB97}"/>
              </a:ext>
            </a:extLst>
          </p:cNvPr>
          <p:cNvSpPr>
            <a:spLocks noGrp="1"/>
          </p:cNvSpPr>
          <p:nvPr>
            <p:ph type="pic" sz="quarter" idx="10"/>
          </p:nvPr>
        </p:nvSpPr>
        <p:spPr>
          <a:xfrm>
            <a:off x="881885" y="1643840"/>
            <a:ext cx="2119312" cy="2117725"/>
          </a:xfrm>
        </p:spPr>
        <p:txBody>
          <a:bodyPr/>
          <a:lstStyle/>
          <a:p>
            <a:r>
              <a:rPr lang="en-US"/>
              <a:t>Click icon to add picture</a:t>
            </a:r>
            <a:endParaRPr lang="en-US" dirty="0"/>
          </a:p>
        </p:txBody>
      </p:sp>
      <p:sp>
        <p:nvSpPr>
          <p:cNvPr id="11" name="Picture Placeholder 10">
            <a:extLst>
              <a:ext uri="{FF2B5EF4-FFF2-40B4-BE49-F238E27FC236}">
                <a16:creationId xmlns:a16="http://schemas.microsoft.com/office/drawing/2014/main" id="{F23B73CC-4B47-4096-1252-8D95F27F272A}"/>
              </a:ext>
            </a:extLst>
          </p:cNvPr>
          <p:cNvSpPr>
            <a:spLocks noGrp="1"/>
          </p:cNvSpPr>
          <p:nvPr>
            <p:ph type="pic" sz="quarter" idx="11"/>
          </p:nvPr>
        </p:nvSpPr>
        <p:spPr>
          <a:xfrm>
            <a:off x="881885" y="4257856"/>
            <a:ext cx="2119311" cy="2117725"/>
          </a:xfrm>
        </p:spPr>
        <p:txBody>
          <a:bodyPr/>
          <a:lstStyle/>
          <a:p>
            <a:r>
              <a:rPr lang="en-US"/>
              <a:t>Click icon to add picture</a:t>
            </a:r>
            <a:endParaRPr lang="en-US" dirty="0"/>
          </a:p>
        </p:txBody>
      </p:sp>
      <p:sp>
        <p:nvSpPr>
          <p:cNvPr id="13" name="Text Placeholder 12">
            <a:extLst>
              <a:ext uri="{FF2B5EF4-FFF2-40B4-BE49-F238E27FC236}">
                <a16:creationId xmlns:a16="http://schemas.microsoft.com/office/drawing/2014/main" id="{DA551708-E4AB-6957-4687-7F54D955A75F}"/>
              </a:ext>
            </a:extLst>
          </p:cNvPr>
          <p:cNvSpPr>
            <a:spLocks noGrp="1"/>
          </p:cNvSpPr>
          <p:nvPr>
            <p:ph type="body" sz="quarter" idx="12" hasCustomPrompt="1"/>
          </p:nvPr>
        </p:nvSpPr>
        <p:spPr>
          <a:xfrm>
            <a:off x="3352801" y="1643840"/>
            <a:ext cx="7957314" cy="553998"/>
          </a:xfrm>
        </p:spPr>
        <p:txBody>
          <a:bodyPr/>
          <a:lstStyle>
            <a:lvl1pPr marL="0" indent="0">
              <a:buNone/>
              <a:defRPr sz="3600" b="1"/>
            </a:lvl1pPr>
          </a:lstStyle>
          <a:p>
            <a:pPr lvl="0"/>
            <a:r>
              <a:rPr lang="en-US" dirty="0"/>
              <a:t>Speaker 1 Name</a:t>
            </a:r>
          </a:p>
        </p:txBody>
      </p:sp>
      <p:sp>
        <p:nvSpPr>
          <p:cNvPr id="14" name="Text Placeholder 12">
            <a:extLst>
              <a:ext uri="{FF2B5EF4-FFF2-40B4-BE49-F238E27FC236}">
                <a16:creationId xmlns:a16="http://schemas.microsoft.com/office/drawing/2014/main" id="{9F8AEAC0-EA47-3E03-DD03-32BFF97DDDE3}"/>
              </a:ext>
            </a:extLst>
          </p:cNvPr>
          <p:cNvSpPr>
            <a:spLocks noGrp="1"/>
          </p:cNvSpPr>
          <p:nvPr>
            <p:ph type="body" sz="quarter" idx="13" hasCustomPrompt="1"/>
          </p:nvPr>
        </p:nvSpPr>
        <p:spPr>
          <a:xfrm>
            <a:off x="4066393" y="2604927"/>
            <a:ext cx="7243722" cy="276999"/>
          </a:xfrm>
        </p:spPr>
        <p:txBody>
          <a:bodyPr/>
          <a:lstStyle>
            <a:lvl1pPr marL="0" indent="0">
              <a:buNone/>
              <a:defRPr sz="1800" b="0"/>
            </a:lvl1pPr>
          </a:lstStyle>
          <a:p>
            <a:pPr lvl="0"/>
            <a:r>
              <a:rPr lang="en-US" dirty="0"/>
              <a:t>Speaker 1 </a:t>
            </a:r>
            <a:r>
              <a:rPr lang="en-US" dirty="0" err="1"/>
              <a:t>Linkedin</a:t>
            </a:r>
            <a:endParaRPr lang="en-US" dirty="0"/>
          </a:p>
        </p:txBody>
      </p:sp>
      <p:pic>
        <p:nvPicPr>
          <p:cNvPr id="16" name="Graphic 15">
            <a:extLst>
              <a:ext uri="{FF2B5EF4-FFF2-40B4-BE49-F238E27FC236}">
                <a16:creationId xmlns:a16="http://schemas.microsoft.com/office/drawing/2014/main" id="{C3B26DB9-BF54-C163-6558-F62991BC265E}"/>
              </a:ext>
            </a:extLst>
          </p:cNvPr>
          <p:cNvPicPr>
            <a:picLocks noChangeAspect="1"/>
          </p:cNvPicPr>
          <p:nvPr userDrawn="1"/>
        </p:nvPicPr>
        <p:blipFill>
          <a:blip r:embed="rId4">
            <a:extLst>
              <a:ext uri="{96DAC541-7B7A-43D3-8B79-37D633B846F1}">
                <asvg:svgBlip xmlns:asvg="http://schemas.microsoft.com/office/drawing/2016/SVG/main" r:embed="rId5"/>
              </a:ext>
              <a:ext uri="{837473B0-CC2E-450A-ABE3-18F120FF3D39}">
                <a1611:picAttrSrcUrl xmlns:a1611="http://schemas.microsoft.com/office/drawing/2016/11/main" r:id="rId6"/>
              </a:ext>
            </a:extLst>
          </a:blip>
          <a:stretch>
            <a:fillRect/>
          </a:stretch>
        </p:blipFill>
        <p:spPr>
          <a:xfrm>
            <a:off x="3352801" y="2609979"/>
            <a:ext cx="370113" cy="370113"/>
          </a:xfrm>
          <a:prstGeom prst="rect">
            <a:avLst/>
          </a:prstGeom>
        </p:spPr>
      </p:pic>
      <p:pic>
        <p:nvPicPr>
          <p:cNvPr id="19" name="Picture 18" descr="A blue logo with black dots&#10;&#10;Description automatically generated">
            <a:extLst>
              <a:ext uri="{FF2B5EF4-FFF2-40B4-BE49-F238E27FC236}">
                <a16:creationId xmlns:a16="http://schemas.microsoft.com/office/drawing/2014/main" id="{9F5FED04-8878-5591-3722-82DB08ABDF90}"/>
              </a:ext>
            </a:extLst>
          </p:cNvPr>
          <p:cNvPicPr>
            <a:picLocks noChangeAspect="1"/>
          </p:cNvPicPr>
          <p:nvPr userDrawn="1"/>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3352800" y="3002251"/>
            <a:ext cx="370113" cy="370113"/>
          </a:xfrm>
          <a:prstGeom prst="rect">
            <a:avLst/>
          </a:prstGeom>
        </p:spPr>
      </p:pic>
      <p:sp>
        <p:nvSpPr>
          <p:cNvPr id="21" name="Text Placeholder 12">
            <a:extLst>
              <a:ext uri="{FF2B5EF4-FFF2-40B4-BE49-F238E27FC236}">
                <a16:creationId xmlns:a16="http://schemas.microsoft.com/office/drawing/2014/main" id="{C35EB7F6-3DCE-E6C1-E3C1-9C2D1E1BF4C6}"/>
              </a:ext>
            </a:extLst>
          </p:cNvPr>
          <p:cNvSpPr>
            <a:spLocks noGrp="1"/>
          </p:cNvSpPr>
          <p:nvPr>
            <p:ph type="body" sz="quarter" idx="14" hasCustomPrompt="1"/>
          </p:nvPr>
        </p:nvSpPr>
        <p:spPr>
          <a:xfrm>
            <a:off x="4066393" y="3399662"/>
            <a:ext cx="7243722" cy="276999"/>
          </a:xfrm>
        </p:spPr>
        <p:txBody>
          <a:bodyPr/>
          <a:lstStyle>
            <a:lvl1pPr marL="0" indent="0">
              <a:buNone/>
              <a:defRPr sz="1800" b="0"/>
            </a:lvl1pPr>
          </a:lstStyle>
          <a:p>
            <a:pPr lvl="0"/>
            <a:r>
              <a:rPr lang="en-US" dirty="0"/>
              <a:t>Speaker 1 Website</a:t>
            </a:r>
          </a:p>
        </p:txBody>
      </p:sp>
      <p:sp>
        <p:nvSpPr>
          <p:cNvPr id="22" name="Text Placeholder 12">
            <a:extLst>
              <a:ext uri="{FF2B5EF4-FFF2-40B4-BE49-F238E27FC236}">
                <a16:creationId xmlns:a16="http://schemas.microsoft.com/office/drawing/2014/main" id="{5AB2E75E-8CD8-70D8-6272-625FFD135430}"/>
              </a:ext>
            </a:extLst>
          </p:cNvPr>
          <p:cNvSpPr>
            <a:spLocks noGrp="1"/>
          </p:cNvSpPr>
          <p:nvPr>
            <p:ph type="body" sz="quarter" idx="15" hasCustomPrompt="1"/>
          </p:nvPr>
        </p:nvSpPr>
        <p:spPr>
          <a:xfrm>
            <a:off x="4066393" y="3005601"/>
            <a:ext cx="7243722" cy="276999"/>
          </a:xfrm>
        </p:spPr>
        <p:txBody>
          <a:bodyPr/>
          <a:lstStyle>
            <a:lvl1pPr marL="0" indent="0">
              <a:buNone/>
              <a:defRPr sz="1800" b="0"/>
            </a:lvl1pPr>
          </a:lstStyle>
          <a:p>
            <a:pPr lvl="0"/>
            <a:r>
              <a:rPr lang="en-US" dirty="0"/>
              <a:t>Speaker 1 Social</a:t>
            </a:r>
          </a:p>
        </p:txBody>
      </p:sp>
      <p:pic>
        <p:nvPicPr>
          <p:cNvPr id="24" name="Graphic 23">
            <a:extLst>
              <a:ext uri="{FF2B5EF4-FFF2-40B4-BE49-F238E27FC236}">
                <a16:creationId xmlns:a16="http://schemas.microsoft.com/office/drawing/2014/main" id="{70D69CE4-FCD3-B522-42FB-6B9D49BC0EF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3352801" y="3394524"/>
            <a:ext cx="370112" cy="370112"/>
          </a:xfrm>
          <a:prstGeom prst="rect">
            <a:avLst/>
          </a:prstGeom>
        </p:spPr>
      </p:pic>
      <p:sp>
        <p:nvSpPr>
          <p:cNvPr id="33" name="Text Placeholder 32">
            <a:extLst>
              <a:ext uri="{FF2B5EF4-FFF2-40B4-BE49-F238E27FC236}">
                <a16:creationId xmlns:a16="http://schemas.microsoft.com/office/drawing/2014/main" id="{7D7D6964-E6E2-63BA-68C3-075D9DB47097}"/>
              </a:ext>
            </a:extLst>
          </p:cNvPr>
          <p:cNvSpPr>
            <a:spLocks noGrp="1"/>
          </p:cNvSpPr>
          <p:nvPr>
            <p:ph type="body" sz="quarter" idx="20" hasCustomPrompt="1"/>
          </p:nvPr>
        </p:nvSpPr>
        <p:spPr>
          <a:xfrm>
            <a:off x="3352802" y="2257829"/>
            <a:ext cx="7957314" cy="246221"/>
          </a:xfrm>
        </p:spPr>
        <p:txBody>
          <a:bodyPr/>
          <a:lstStyle>
            <a:lvl1pPr marL="0" indent="0">
              <a:buNone/>
              <a:defRPr sz="1600"/>
            </a:lvl1pPr>
          </a:lstStyle>
          <a:p>
            <a:pPr lvl="0"/>
            <a:r>
              <a:rPr lang="en-US" dirty="0"/>
              <a:t>Speaker 1 Title</a:t>
            </a:r>
          </a:p>
        </p:txBody>
      </p:sp>
      <p:sp>
        <p:nvSpPr>
          <p:cNvPr id="4" name="Text Placeholder 12">
            <a:extLst>
              <a:ext uri="{FF2B5EF4-FFF2-40B4-BE49-F238E27FC236}">
                <a16:creationId xmlns:a16="http://schemas.microsoft.com/office/drawing/2014/main" id="{DF085D5B-50D1-3A88-D52B-E03123524662}"/>
              </a:ext>
            </a:extLst>
          </p:cNvPr>
          <p:cNvSpPr>
            <a:spLocks noGrp="1"/>
          </p:cNvSpPr>
          <p:nvPr>
            <p:ph type="body" sz="quarter" idx="21" hasCustomPrompt="1"/>
          </p:nvPr>
        </p:nvSpPr>
        <p:spPr>
          <a:xfrm>
            <a:off x="3352800" y="4253507"/>
            <a:ext cx="7957314" cy="553998"/>
          </a:xfrm>
        </p:spPr>
        <p:txBody>
          <a:bodyPr/>
          <a:lstStyle>
            <a:lvl1pPr marL="0" indent="0">
              <a:buNone/>
              <a:defRPr sz="3600" b="1"/>
            </a:lvl1pPr>
          </a:lstStyle>
          <a:p>
            <a:pPr lvl="0"/>
            <a:r>
              <a:rPr lang="en-US" dirty="0"/>
              <a:t>Speaker 2 Name</a:t>
            </a:r>
          </a:p>
        </p:txBody>
      </p:sp>
      <p:sp>
        <p:nvSpPr>
          <p:cNvPr id="5" name="Text Placeholder 12">
            <a:extLst>
              <a:ext uri="{FF2B5EF4-FFF2-40B4-BE49-F238E27FC236}">
                <a16:creationId xmlns:a16="http://schemas.microsoft.com/office/drawing/2014/main" id="{5B8BF086-D51D-1736-492D-C622310959AC}"/>
              </a:ext>
            </a:extLst>
          </p:cNvPr>
          <p:cNvSpPr>
            <a:spLocks noGrp="1"/>
          </p:cNvSpPr>
          <p:nvPr>
            <p:ph type="body" sz="quarter" idx="22" hasCustomPrompt="1"/>
          </p:nvPr>
        </p:nvSpPr>
        <p:spPr>
          <a:xfrm>
            <a:off x="4066392" y="5214594"/>
            <a:ext cx="7243722" cy="276999"/>
          </a:xfrm>
        </p:spPr>
        <p:txBody>
          <a:bodyPr/>
          <a:lstStyle>
            <a:lvl1pPr marL="0" indent="0">
              <a:buNone/>
              <a:defRPr sz="1800" b="0"/>
            </a:lvl1pPr>
          </a:lstStyle>
          <a:p>
            <a:pPr lvl="0"/>
            <a:r>
              <a:rPr lang="en-US" dirty="0"/>
              <a:t>Speaker 2 </a:t>
            </a:r>
            <a:r>
              <a:rPr lang="en-US" dirty="0" err="1"/>
              <a:t>Linkedin</a:t>
            </a:r>
            <a:endParaRPr lang="en-US" dirty="0"/>
          </a:p>
        </p:txBody>
      </p:sp>
      <p:pic>
        <p:nvPicPr>
          <p:cNvPr id="7" name="Graphic 6">
            <a:extLst>
              <a:ext uri="{FF2B5EF4-FFF2-40B4-BE49-F238E27FC236}">
                <a16:creationId xmlns:a16="http://schemas.microsoft.com/office/drawing/2014/main" id="{56259C76-A1A9-7120-FC95-E64FBA5EA98A}"/>
              </a:ext>
            </a:extLst>
          </p:cNvPr>
          <p:cNvPicPr>
            <a:picLocks noChangeAspect="1"/>
          </p:cNvPicPr>
          <p:nvPr userDrawn="1"/>
        </p:nvPicPr>
        <p:blipFill>
          <a:blip r:embed="rId4">
            <a:extLst>
              <a:ext uri="{96DAC541-7B7A-43D3-8B79-37D633B846F1}">
                <asvg:svgBlip xmlns:asvg="http://schemas.microsoft.com/office/drawing/2016/SVG/main" r:embed="rId5"/>
              </a:ext>
              <a:ext uri="{837473B0-CC2E-450A-ABE3-18F120FF3D39}">
                <a1611:picAttrSrcUrl xmlns:a1611="http://schemas.microsoft.com/office/drawing/2016/11/main" r:id="rId6"/>
              </a:ext>
            </a:extLst>
          </a:blip>
          <a:stretch>
            <a:fillRect/>
          </a:stretch>
        </p:blipFill>
        <p:spPr>
          <a:xfrm>
            <a:off x="3352800" y="5219646"/>
            <a:ext cx="370113" cy="370113"/>
          </a:xfrm>
          <a:prstGeom prst="rect">
            <a:avLst/>
          </a:prstGeom>
        </p:spPr>
      </p:pic>
      <p:pic>
        <p:nvPicPr>
          <p:cNvPr id="9" name="Picture 8" descr="A blue logo with black dots&#10;&#10;Description automatically generated">
            <a:extLst>
              <a:ext uri="{FF2B5EF4-FFF2-40B4-BE49-F238E27FC236}">
                <a16:creationId xmlns:a16="http://schemas.microsoft.com/office/drawing/2014/main" id="{285ABDB4-8155-ECBE-DA62-BFA545892FC3}"/>
              </a:ext>
            </a:extLst>
          </p:cNvPr>
          <p:cNvPicPr>
            <a:picLocks noChangeAspect="1"/>
          </p:cNvPicPr>
          <p:nvPr userDrawn="1"/>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3352799" y="5611918"/>
            <a:ext cx="370113" cy="370113"/>
          </a:xfrm>
          <a:prstGeom prst="rect">
            <a:avLst/>
          </a:prstGeom>
        </p:spPr>
      </p:pic>
      <p:sp>
        <p:nvSpPr>
          <p:cNvPr id="10" name="Text Placeholder 12">
            <a:extLst>
              <a:ext uri="{FF2B5EF4-FFF2-40B4-BE49-F238E27FC236}">
                <a16:creationId xmlns:a16="http://schemas.microsoft.com/office/drawing/2014/main" id="{9FC5AAA1-155D-802D-D692-7F7F17C1A3DC}"/>
              </a:ext>
            </a:extLst>
          </p:cNvPr>
          <p:cNvSpPr>
            <a:spLocks noGrp="1"/>
          </p:cNvSpPr>
          <p:nvPr>
            <p:ph type="body" sz="quarter" idx="23" hasCustomPrompt="1"/>
          </p:nvPr>
        </p:nvSpPr>
        <p:spPr>
          <a:xfrm>
            <a:off x="4066392" y="6009329"/>
            <a:ext cx="7243722" cy="276999"/>
          </a:xfrm>
        </p:spPr>
        <p:txBody>
          <a:bodyPr/>
          <a:lstStyle>
            <a:lvl1pPr marL="0" indent="0">
              <a:buNone/>
              <a:defRPr sz="1800" b="0"/>
            </a:lvl1pPr>
          </a:lstStyle>
          <a:p>
            <a:pPr lvl="0"/>
            <a:r>
              <a:rPr lang="en-US" dirty="0"/>
              <a:t>Speaker 1 Website</a:t>
            </a:r>
          </a:p>
        </p:txBody>
      </p:sp>
      <p:sp>
        <p:nvSpPr>
          <p:cNvPr id="12" name="Text Placeholder 12">
            <a:extLst>
              <a:ext uri="{FF2B5EF4-FFF2-40B4-BE49-F238E27FC236}">
                <a16:creationId xmlns:a16="http://schemas.microsoft.com/office/drawing/2014/main" id="{90482558-FAF5-5F86-17DE-B416A1071A2F}"/>
              </a:ext>
            </a:extLst>
          </p:cNvPr>
          <p:cNvSpPr>
            <a:spLocks noGrp="1"/>
          </p:cNvSpPr>
          <p:nvPr>
            <p:ph type="body" sz="quarter" idx="24" hasCustomPrompt="1"/>
          </p:nvPr>
        </p:nvSpPr>
        <p:spPr>
          <a:xfrm>
            <a:off x="4066392" y="5615268"/>
            <a:ext cx="7243722" cy="276999"/>
          </a:xfrm>
        </p:spPr>
        <p:txBody>
          <a:bodyPr/>
          <a:lstStyle>
            <a:lvl1pPr marL="0" indent="0">
              <a:buNone/>
              <a:defRPr sz="1800" b="0"/>
            </a:lvl1pPr>
          </a:lstStyle>
          <a:p>
            <a:pPr lvl="0"/>
            <a:r>
              <a:rPr lang="en-US" dirty="0"/>
              <a:t>Speaker 1 Social</a:t>
            </a:r>
          </a:p>
        </p:txBody>
      </p:sp>
      <p:pic>
        <p:nvPicPr>
          <p:cNvPr id="15" name="Graphic 14">
            <a:extLst>
              <a:ext uri="{FF2B5EF4-FFF2-40B4-BE49-F238E27FC236}">
                <a16:creationId xmlns:a16="http://schemas.microsoft.com/office/drawing/2014/main" id="{E56367F6-F95F-74E4-E6EE-44BE049C250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3352800" y="6004191"/>
            <a:ext cx="370112" cy="370112"/>
          </a:xfrm>
          <a:prstGeom prst="rect">
            <a:avLst/>
          </a:prstGeom>
        </p:spPr>
      </p:pic>
      <p:sp>
        <p:nvSpPr>
          <p:cNvPr id="17" name="Text Placeholder 32">
            <a:extLst>
              <a:ext uri="{FF2B5EF4-FFF2-40B4-BE49-F238E27FC236}">
                <a16:creationId xmlns:a16="http://schemas.microsoft.com/office/drawing/2014/main" id="{E01BB1AD-73D0-D4F1-8962-9BBB501B09B4}"/>
              </a:ext>
            </a:extLst>
          </p:cNvPr>
          <p:cNvSpPr>
            <a:spLocks noGrp="1"/>
          </p:cNvSpPr>
          <p:nvPr>
            <p:ph type="body" sz="quarter" idx="25" hasCustomPrompt="1"/>
          </p:nvPr>
        </p:nvSpPr>
        <p:spPr>
          <a:xfrm>
            <a:off x="3352801" y="4867496"/>
            <a:ext cx="7957314" cy="246221"/>
          </a:xfrm>
        </p:spPr>
        <p:txBody>
          <a:bodyPr/>
          <a:lstStyle>
            <a:lvl1pPr marL="0" indent="0">
              <a:buNone/>
              <a:defRPr sz="1600"/>
            </a:lvl1pPr>
          </a:lstStyle>
          <a:p>
            <a:pPr lvl="0"/>
            <a:r>
              <a:rPr lang="en-US" dirty="0"/>
              <a:t>Speaker 2 Title</a:t>
            </a:r>
          </a:p>
        </p:txBody>
      </p:sp>
    </p:spTree>
    <p:extLst>
      <p:ext uri="{BB962C8B-B14F-4D97-AF65-F5344CB8AC3E}">
        <p14:creationId xmlns:p14="http://schemas.microsoft.com/office/powerpoint/2010/main" val="219380251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7387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32586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590545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172837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206597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68016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741951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68707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933196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60798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Pres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AFE06-1FC8-BFD9-2A7D-9221E226351C}"/>
              </a:ext>
            </a:extLst>
          </p:cNvPr>
          <p:cNvSpPr>
            <a:spLocks noGrp="1"/>
          </p:cNvSpPr>
          <p:nvPr>
            <p:ph type="title" hasCustomPrompt="1"/>
          </p:nvPr>
        </p:nvSpPr>
        <p:spPr/>
        <p:txBody>
          <a:bodyPr/>
          <a:lstStyle>
            <a:lvl1pPr algn="ctr">
              <a:defRPr/>
            </a:lvl1pPr>
          </a:lstStyle>
          <a:p>
            <a:r>
              <a:rPr lang="en-US" dirty="0"/>
              <a:t>Speaker</a:t>
            </a:r>
          </a:p>
        </p:txBody>
      </p:sp>
      <p:pic>
        <p:nvPicPr>
          <p:cNvPr id="6" name="Graphic 5" descr="Employee badge with solid fill">
            <a:extLst>
              <a:ext uri="{FF2B5EF4-FFF2-40B4-BE49-F238E27FC236}">
                <a16:creationId xmlns:a16="http://schemas.microsoft.com/office/drawing/2014/main" id="{312C10F7-7ECE-0C86-D0E2-235DD512D0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84320" y="276999"/>
            <a:ext cx="914400" cy="914400"/>
          </a:xfrm>
          <a:prstGeom prst="rect">
            <a:avLst/>
          </a:prstGeom>
        </p:spPr>
      </p:pic>
      <p:sp>
        <p:nvSpPr>
          <p:cNvPr id="8" name="Picture Placeholder 7">
            <a:extLst>
              <a:ext uri="{FF2B5EF4-FFF2-40B4-BE49-F238E27FC236}">
                <a16:creationId xmlns:a16="http://schemas.microsoft.com/office/drawing/2014/main" id="{4704A264-511F-18F2-2097-F532D2BABB97}"/>
              </a:ext>
            </a:extLst>
          </p:cNvPr>
          <p:cNvSpPr>
            <a:spLocks noGrp="1"/>
          </p:cNvSpPr>
          <p:nvPr>
            <p:ph type="pic" sz="quarter" idx="10"/>
          </p:nvPr>
        </p:nvSpPr>
        <p:spPr>
          <a:xfrm>
            <a:off x="881885" y="1643840"/>
            <a:ext cx="2119312" cy="2117725"/>
          </a:xfrm>
        </p:spPr>
        <p:txBody>
          <a:bodyPr/>
          <a:lstStyle/>
          <a:p>
            <a:r>
              <a:rPr lang="en-US"/>
              <a:t>Click icon to add picture</a:t>
            </a:r>
            <a:endParaRPr lang="en-US" dirty="0"/>
          </a:p>
        </p:txBody>
      </p:sp>
      <p:sp>
        <p:nvSpPr>
          <p:cNvPr id="13" name="Text Placeholder 12">
            <a:extLst>
              <a:ext uri="{FF2B5EF4-FFF2-40B4-BE49-F238E27FC236}">
                <a16:creationId xmlns:a16="http://schemas.microsoft.com/office/drawing/2014/main" id="{DA551708-E4AB-6957-4687-7F54D955A75F}"/>
              </a:ext>
            </a:extLst>
          </p:cNvPr>
          <p:cNvSpPr>
            <a:spLocks noGrp="1"/>
          </p:cNvSpPr>
          <p:nvPr>
            <p:ph type="body" sz="quarter" idx="12" hasCustomPrompt="1"/>
          </p:nvPr>
        </p:nvSpPr>
        <p:spPr>
          <a:xfrm>
            <a:off x="3352801" y="1643840"/>
            <a:ext cx="7957314" cy="553998"/>
          </a:xfrm>
        </p:spPr>
        <p:txBody>
          <a:bodyPr/>
          <a:lstStyle>
            <a:lvl1pPr marL="0" indent="0">
              <a:buNone/>
              <a:defRPr sz="3600" b="1"/>
            </a:lvl1pPr>
          </a:lstStyle>
          <a:p>
            <a:pPr lvl="0"/>
            <a:r>
              <a:rPr lang="en-US" dirty="0"/>
              <a:t>Speaker 1 Name</a:t>
            </a:r>
          </a:p>
        </p:txBody>
      </p:sp>
      <p:sp>
        <p:nvSpPr>
          <p:cNvPr id="14" name="Text Placeholder 12">
            <a:extLst>
              <a:ext uri="{FF2B5EF4-FFF2-40B4-BE49-F238E27FC236}">
                <a16:creationId xmlns:a16="http://schemas.microsoft.com/office/drawing/2014/main" id="{9F8AEAC0-EA47-3E03-DD03-32BFF97DDDE3}"/>
              </a:ext>
            </a:extLst>
          </p:cNvPr>
          <p:cNvSpPr>
            <a:spLocks noGrp="1"/>
          </p:cNvSpPr>
          <p:nvPr>
            <p:ph type="body" sz="quarter" idx="13" hasCustomPrompt="1"/>
          </p:nvPr>
        </p:nvSpPr>
        <p:spPr>
          <a:xfrm>
            <a:off x="4074518" y="2298740"/>
            <a:ext cx="7243722" cy="369332"/>
          </a:xfrm>
        </p:spPr>
        <p:txBody>
          <a:bodyPr/>
          <a:lstStyle>
            <a:lvl1pPr marL="0" indent="0">
              <a:buNone/>
              <a:defRPr b="0"/>
            </a:lvl1pPr>
          </a:lstStyle>
          <a:p>
            <a:pPr lvl="0"/>
            <a:r>
              <a:rPr lang="en-US" dirty="0"/>
              <a:t>Speaker 1 </a:t>
            </a:r>
            <a:r>
              <a:rPr lang="en-US" dirty="0" err="1"/>
              <a:t>Linkedin</a:t>
            </a:r>
            <a:endParaRPr lang="en-US" dirty="0"/>
          </a:p>
        </p:txBody>
      </p:sp>
      <p:pic>
        <p:nvPicPr>
          <p:cNvPr id="16" name="Graphic 15">
            <a:extLst>
              <a:ext uri="{FF2B5EF4-FFF2-40B4-BE49-F238E27FC236}">
                <a16:creationId xmlns:a16="http://schemas.microsoft.com/office/drawing/2014/main" id="{C3B26DB9-BF54-C163-6558-F62991BC265E}"/>
              </a:ext>
            </a:extLst>
          </p:cNvPr>
          <p:cNvPicPr>
            <a:picLocks noChangeAspect="1"/>
          </p:cNvPicPr>
          <p:nvPr userDrawn="1"/>
        </p:nvPicPr>
        <p:blipFill>
          <a:blip r:embed="rId4">
            <a:extLst>
              <a:ext uri="{96DAC541-7B7A-43D3-8B79-37D633B846F1}">
                <asvg:svgBlip xmlns:asvg="http://schemas.microsoft.com/office/drawing/2016/SVG/main" r:embed="rId5"/>
              </a:ext>
              <a:ext uri="{837473B0-CC2E-450A-ABE3-18F120FF3D39}">
                <a1611:picAttrSrcUrl xmlns:a1611="http://schemas.microsoft.com/office/drawing/2016/11/main" r:id="rId6"/>
              </a:ext>
            </a:extLst>
          </a:blip>
          <a:stretch>
            <a:fillRect/>
          </a:stretch>
        </p:blipFill>
        <p:spPr>
          <a:xfrm>
            <a:off x="3352801" y="2297959"/>
            <a:ext cx="370113" cy="370113"/>
          </a:xfrm>
          <a:prstGeom prst="rect">
            <a:avLst/>
          </a:prstGeom>
        </p:spPr>
      </p:pic>
      <p:pic>
        <p:nvPicPr>
          <p:cNvPr id="19" name="Picture 18" descr="A blue logo with black dots&#10;&#10;Description automatically generated">
            <a:extLst>
              <a:ext uri="{FF2B5EF4-FFF2-40B4-BE49-F238E27FC236}">
                <a16:creationId xmlns:a16="http://schemas.microsoft.com/office/drawing/2014/main" id="{9F5FED04-8878-5591-3722-82DB08ABDF90}"/>
              </a:ext>
            </a:extLst>
          </p:cNvPr>
          <p:cNvPicPr>
            <a:picLocks noChangeAspect="1"/>
          </p:cNvPicPr>
          <p:nvPr userDrawn="1"/>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3352801" y="2845486"/>
            <a:ext cx="370113" cy="370113"/>
          </a:xfrm>
          <a:prstGeom prst="rect">
            <a:avLst/>
          </a:prstGeom>
        </p:spPr>
      </p:pic>
      <p:sp>
        <p:nvSpPr>
          <p:cNvPr id="21" name="Text Placeholder 12">
            <a:extLst>
              <a:ext uri="{FF2B5EF4-FFF2-40B4-BE49-F238E27FC236}">
                <a16:creationId xmlns:a16="http://schemas.microsoft.com/office/drawing/2014/main" id="{C35EB7F6-3DCE-E6C1-E3C1-9C2D1E1BF4C6}"/>
              </a:ext>
            </a:extLst>
          </p:cNvPr>
          <p:cNvSpPr>
            <a:spLocks noGrp="1"/>
          </p:cNvSpPr>
          <p:nvPr>
            <p:ph type="body" sz="quarter" idx="14" hasCustomPrompt="1"/>
          </p:nvPr>
        </p:nvSpPr>
        <p:spPr>
          <a:xfrm>
            <a:off x="4084320" y="3392233"/>
            <a:ext cx="7243722" cy="369332"/>
          </a:xfrm>
        </p:spPr>
        <p:txBody>
          <a:bodyPr/>
          <a:lstStyle>
            <a:lvl1pPr marL="0" indent="0">
              <a:buNone/>
              <a:defRPr b="0"/>
            </a:lvl1pPr>
          </a:lstStyle>
          <a:p>
            <a:pPr lvl="0"/>
            <a:r>
              <a:rPr lang="en-US" dirty="0"/>
              <a:t>Speaker 1 Website</a:t>
            </a:r>
          </a:p>
        </p:txBody>
      </p:sp>
      <p:sp>
        <p:nvSpPr>
          <p:cNvPr id="22" name="Text Placeholder 12">
            <a:extLst>
              <a:ext uri="{FF2B5EF4-FFF2-40B4-BE49-F238E27FC236}">
                <a16:creationId xmlns:a16="http://schemas.microsoft.com/office/drawing/2014/main" id="{5AB2E75E-8CD8-70D8-6272-625FFD135430}"/>
              </a:ext>
            </a:extLst>
          </p:cNvPr>
          <p:cNvSpPr>
            <a:spLocks noGrp="1"/>
          </p:cNvSpPr>
          <p:nvPr>
            <p:ph type="body" sz="quarter" idx="15" hasCustomPrompt="1"/>
          </p:nvPr>
        </p:nvSpPr>
        <p:spPr>
          <a:xfrm>
            <a:off x="4074516" y="2845486"/>
            <a:ext cx="7243722" cy="369332"/>
          </a:xfrm>
        </p:spPr>
        <p:txBody>
          <a:bodyPr/>
          <a:lstStyle>
            <a:lvl1pPr marL="0" indent="0">
              <a:buNone/>
              <a:defRPr b="0"/>
            </a:lvl1pPr>
          </a:lstStyle>
          <a:p>
            <a:pPr lvl="0"/>
            <a:r>
              <a:rPr lang="en-US" dirty="0"/>
              <a:t>Speaker 1 Social</a:t>
            </a:r>
          </a:p>
        </p:txBody>
      </p:sp>
      <p:pic>
        <p:nvPicPr>
          <p:cNvPr id="24" name="Graphic 23">
            <a:extLst>
              <a:ext uri="{FF2B5EF4-FFF2-40B4-BE49-F238E27FC236}">
                <a16:creationId xmlns:a16="http://schemas.microsoft.com/office/drawing/2014/main" id="{70D69CE4-FCD3-B522-42FB-6B9D49BC0EF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3352801" y="3392233"/>
            <a:ext cx="370112" cy="370112"/>
          </a:xfrm>
          <a:prstGeom prst="rect">
            <a:avLst/>
          </a:prstGeom>
        </p:spPr>
      </p:pic>
      <p:sp>
        <p:nvSpPr>
          <p:cNvPr id="33" name="Text Placeholder 32">
            <a:extLst>
              <a:ext uri="{FF2B5EF4-FFF2-40B4-BE49-F238E27FC236}">
                <a16:creationId xmlns:a16="http://schemas.microsoft.com/office/drawing/2014/main" id="{7D7D6964-E6E2-63BA-68C3-075D9DB47097}"/>
              </a:ext>
            </a:extLst>
          </p:cNvPr>
          <p:cNvSpPr>
            <a:spLocks noGrp="1"/>
          </p:cNvSpPr>
          <p:nvPr>
            <p:ph type="body" sz="quarter" idx="20" hasCustomPrompt="1"/>
          </p:nvPr>
        </p:nvSpPr>
        <p:spPr>
          <a:xfrm>
            <a:off x="881884" y="3819264"/>
            <a:ext cx="10446157" cy="246221"/>
          </a:xfrm>
        </p:spPr>
        <p:txBody>
          <a:bodyPr/>
          <a:lstStyle>
            <a:lvl1pPr marL="0" indent="0">
              <a:buNone/>
              <a:defRPr sz="1600"/>
            </a:lvl1pPr>
          </a:lstStyle>
          <a:p>
            <a:pPr lvl="0"/>
            <a:r>
              <a:rPr lang="en-US" dirty="0"/>
              <a:t>Speaker 1 Title</a:t>
            </a:r>
          </a:p>
        </p:txBody>
      </p:sp>
    </p:spTree>
    <p:extLst>
      <p:ext uri="{BB962C8B-B14F-4D97-AF65-F5344CB8AC3E}">
        <p14:creationId xmlns:p14="http://schemas.microsoft.com/office/powerpoint/2010/main" val="20532555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262050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flipH="1">
            <a:off x="304800" y="292100"/>
            <a:ext cx="11582400" cy="6272213"/>
          </a:xfrm>
          <a:prstGeom prst="rect">
            <a:avLst/>
          </a:prstGeom>
          <a:gradFill>
            <a:gsLst>
              <a:gs pos="64000">
                <a:srgbClr val="0D82CB"/>
              </a:gs>
              <a:gs pos="1000">
                <a:schemeClr val="accent3"/>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63520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5653416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43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9023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39447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225400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77739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50610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3120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2321068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665EE4-0A4A-2B2C-119B-2F341C139E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11DF5D-CB3B-BA76-1722-DD0D7E7805E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5" name="Picture 4" descr="MMS Logo">
            <a:extLst>
              <a:ext uri="{FF2B5EF4-FFF2-40B4-BE49-F238E27FC236}">
                <a16:creationId xmlns:a16="http://schemas.microsoft.com/office/drawing/2014/main" id="{7A94F116-969A-0346-AE10-98CF6F785B0F}"/>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10595625" y="5930596"/>
            <a:ext cx="1596375" cy="914400"/>
          </a:xfrm>
          <a:prstGeom prst="rect">
            <a:avLst/>
          </a:prstGeom>
        </p:spPr>
      </p:pic>
      <p:pic>
        <p:nvPicPr>
          <p:cNvPr id="8" name="Picture 7" descr="A picture containing furniture, curtain&#10;&#10;Description automatically generated">
            <a:extLst>
              <a:ext uri="{FF2B5EF4-FFF2-40B4-BE49-F238E27FC236}">
                <a16:creationId xmlns:a16="http://schemas.microsoft.com/office/drawing/2014/main" id="{3AC1A3A1-7EDB-D367-2230-49C5F099A592}"/>
              </a:ext>
            </a:extLst>
          </p:cNvPr>
          <p:cNvPicPr>
            <a:picLocks noChangeAspect="1"/>
          </p:cNvPicPr>
          <p:nvPr userDrawn="1"/>
        </p:nvPicPr>
        <p:blipFill>
          <a:blip r:embed="rId3">
            <a:alphaModFix amt="25000"/>
            <a:extLst>
              <a:ext uri="{28A0092B-C50C-407E-A947-70E740481C1C}">
                <a14:useLocalDpi xmlns:a14="http://schemas.microsoft.com/office/drawing/2010/main" val="0"/>
              </a:ext>
            </a:extLst>
          </a:blip>
          <a:stretch>
            <a:fillRect/>
          </a:stretch>
        </p:blipFill>
        <p:spPr>
          <a:xfrm>
            <a:off x="1292379" y="0"/>
            <a:ext cx="9607242" cy="6858000"/>
          </a:xfrm>
          <a:prstGeom prst="rect">
            <a:avLst/>
          </a:prstGeom>
        </p:spPr>
      </p:pic>
    </p:spTree>
    <p:extLst>
      <p:ext uri="{BB962C8B-B14F-4D97-AF65-F5344CB8AC3E}">
        <p14:creationId xmlns:p14="http://schemas.microsoft.com/office/powerpoint/2010/main" val="3211264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6658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325468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F37773-C313-4D0B-8418-41BA59B31DF6}"/>
              </a:ext>
            </a:extLst>
          </p:cNvPr>
          <p:cNvPicPr>
            <a:picLocks noChangeAspect="1"/>
          </p:cNvPicPr>
          <p:nvPr userDrawn="1"/>
        </p:nvPicPr>
        <p:blipFill>
          <a:blip r:embed="rId2"/>
          <a:stretch>
            <a:fillRect/>
          </a:stretch>
        </p:blipFill>
        <p:spPr>
          <a:xfrm>
            <a:off x="291578" y="585788"/>
            <a:ext cx="11900423" cy="5980694"/>
          </a:xfrm>
          <a:prstGeom prst="rect">
            <a:avLst/>
          </a:prstGeom>
        </p:spPr>
      </p:pic>
    </p:spTree>
    <p:extLst>
      <p:ext uri="{BB962C8B-B14F-4D97-AF65-F5344CB8AC3E}">
        <p14:creationId xmlns:p14="http://schemas.microsoft.com/office/powerpoint/2010/main" val="30374721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8C8DA4-1AAF-484E-965D-9B04B83694CC}"/>
              </a:ext>
            </a:extLst>
          </p:cNvPr>
          <p:cNvPicPr>
            <a:picLocks noChangeAspect="1"/>
          </p:cNvPicPr>
          <p:nvPr userDrawn="1"/>
        </p:nvPicPr>
        <p:blipFill>
          <a:blip r:embed="rId2"/>
          <a:stretch>
            <a:fillRect/>
          </a:stretch>
        </p:blipFill>
        <p:spPr>
          <a:xfrm>
            <a:off x="585216" y="0"/>
            <a:ext cx="11606785" cy="6858000"/>
          </a:xfrm>
          <a:prstGeom prst="rect">
            <a:avLst/>
          </a:prstGeom>
        </p:spPr>
      </p:pic>
    </p:spTree>
    <p:extLst>
      <p:ext uri="{BB962C8B-B14F-4D97-AF65-F5344CB8AC3E}">
        <p14:creationId xmlns:p14="http://schemas.microsoft.com/office/powerpoint/2010/main" val="37557543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33990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36865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4707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86226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667568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55611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310655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217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84858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721934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5853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126988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20230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C8001E3F-49F4-4C1C-8E4C-1EF3D4651C9E}"/>
              </a:ext>
            </a:extLst>
          </p:cNvPr>
          <p:cNvPicPr>
            <a:picLocks noChangeAspect="1"/>
          </p:cNvPicPr>
          <p:nvPr userDrawn="1"/>
        </p:nvPicPr>
        <p:blipFill>
          <a:blip r:embed="rId2"/>
          <a:stretch>
            <a:fillRect/>
          </a:stretch>
        </p:blipFill>
        <p:spPr>
          <a:xfrm>
            <a:off x="600426" y="-12699"/>
            <a:ext cx="11634317" cy="6913586"/>
          </a:xfrm>
          <a:prstGeom prst="rect">
            <a:avLst/>
          </a:prstGeom>
        </p:spPr>
      </p:pic>
    </p:spTree>
    <p:extLst>
      <p:ext uri="{BB962C8B-B14F-4D97-AF65-F5344CB8AC3E}">
        <p14:creationId xmlns:p14="http://schemas.microsoft.com/office/powerpoint/2010/main" val="3234832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90525784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1937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707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386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8502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169525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87924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25875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5755974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8"/>
            <a:ext cx="1165584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6413959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nterior1">
    <p:bg>
      <p:bgPr>
        <a:solidFill>
          <a:schemeClr val="bg1">
            <a:lumMod val="95000"/>
          </a:schemeClr>
        </a:solidFill>
        <a:effectLst/>
      </p:bgPr>
    </p:bg>
    <p:spTree>
      <p:nvGrpSpPr>
        <p:cNvPr id="1" name=""/>
        <p:cNvGrpSpPr/>
        <p:nvPr/>
      </p:nvGrpSpPr>
      <p:grpSpPr>
        <a:xfrm>
          <a:off x="0" y="0"/>
          <a:ext cx="0" cy="0"/>
          <a:chOff x="0" y="0"/>
          <a:chExt cx="0" cy="0"/>
        </a:xfrm>
      </p:grpSpPr>
      <p:sp>
        <p:nvSpPr>
          <p:cNvPr id="15" name="Rectangle 14"/>
          <p:cNvSpPr>
            <a:spLocks/>
          </p:cNvSpPr>
          <p:nvPr userDrawn="1"/>
        </p:nvSpPr>
        <p:spPr>
          <a:xfrm>
            <a:off x="0" y="0"/>
            <a:ext cx="12192000" cy="12192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sp>
        <p:nvSpPr>
          <p:cNvPr id="13" name="Content Placeholder 2"/>
          <p:cNvSpPr>
            <a:spLocks noGrp="1"/>
          </p:cNvSpPr>
          <p:nvPr>
            <p:ph idx="1" hasCustomPrompt="1"/>
          </p:nvPr>
        </p:nvSpPr>
        <p:spPr>
          <a:xfrm>
            <a:off x="0" y="1237241"/>
            <a:ext cx="12192000" cy="2613949"/>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783" indent="-457130">
              <a:spcBef>
                <a:spcPts val="1333"/>
              </a:spcBef>
              <a:buFont typeface="Arial" panose="020B0604020202020204" pitchFamily="34" charset="0"/>
              <a:buChar char="•"/>
              <a:defRPr sz="3200">
                <a:solidFill>
                  <a:schemeClr val="bg2"/>
                </a:solidFill>
                <a:latin typeface="Segoe UI Light"/>
                <a:cs typeface="Segoe UI Light"/>
              </a:defRPr>
            </a:lvl2pPr>
            <a:lvl3pPr marL="1219011">
              <a:spcBef>
                <a:spcPts val="1333"/>
              </a:spcBef>
              <a:buFont typeface="Arial"/>
              <a:buChar char="•"/>
              <a:defRPr sz="2933">
                <a:solidFill>
                  <a:schemeClr val="bg2"/>
                </a:solidFill>
                <a:latin typeface="Segoe UI Light"/>
                <a:cs typeface="Segoe UI Light"/>
              </a:defRPr>
            </a:lvl3pPr>
            <a:lvl4pPr marL="1706615">
              <a:spcBef>
                <a:spcPts val="1333"/>
              </a:spcBef>
              <a:buFont typeface="Arial"/>
              <a:buChar char="•"/>
              <a:defRPr sz="2666" baseline="0">
                <a:solidFill>
                  <a:schemeClr val="bg2"/>
                </a:solidFill>
                <a:latin typeface="Segoe UI Light"/>
                <a:cs typeface="Segoe UI Light"/>
              </a:defRPr>
            </a:lvl4pPr>
            <a:lvl5pPr marL="1950417" indent="243803">
              <a:spcBef>
                <a:spcPts val="1333"/>
              </a:spcBef>
              <a:buFont typeface="Arial"/>
              <a:buChar char="•"/>
              <a:tabLst>
                <a:tab pos="2135386" algn="l"/>
              </a:tabLst>
              <a:defRPr sz="2400" baseline="0">
                <a:solidFill>
                  <a:schemeClr val="bg2"/>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20" name="Title 1"/>
          <p:cNvSpPr>
            <a:spLocks noGrp="1" noChangeAspect="1"/>
          </p:cNvSpPr>
          <p:nvPr>
            <p:ph type="title"/>
          </p:nvPr>
        </p:nvSpPr>
        <p:spPr>
          <a:xfrm>
            <a:off x="139022" y="207609"/>
            <a:ext cx="10958970" cy="796670"/>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p>
        </p:txBody>
      </p:sp>
      <p:grpSp>
        <p:nvGrpSpPr>
          <p:cNvPr id="23" name="Group 22"/>
          <p:cNvGrpSpPr/>
          <p:nvPr userDrawn="1"/>
        </p:nvGrpSpPr>
        <p:grpSpPr>
          <a:xfrm>
            <a:off x="-6096" y="6228895"/>
            <a:ext cx="12204192" cy="629101"/>
            <a:chOff x="-4572" y="4671674"/>
            <a:chExt cx="9153144" cy="471826"/>
          </a:xfrm>
          <a:solidFill>
            <a:schemeClr val="tx2"/>
          </a:solidFill>
        </p:grpSpPr>
        <p:sp>
          <p:nvSpPr>
            <p:cNvPr id="25" name="Rectangle 24"/>
            <p:cNvSpPr>
              <a:spLocks/>
            </p:cNvSpPr>
            <p:nvPr userDrawn="1"/>
          </p:nvSpPr>
          <p:spPr>
            <a:xfrm>
              <a:off x="-4572" y="4671674"/>
              <a:ext cx="9153144" cy="471826"/>
            </a:xfrm>
            <a:prstGeom prst="rect">
              <a:avLst/>
            </a:prstGeom>
            <a:gr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pic>
          <p:nvPicPr>
            <p:cNvPr id="27" name="Picture 26" descr="MSFT_logo_rgb_C-Wht.png"/>
            <p:cNvPicPr>
              <a:picLocks noChangeAspect="1"/>
            </p:cNvPicPr>
            <p:nvPr userDrawn="1"/>
          </p:nvPicPr>
          <mc:AlternateContent xmlns:mc="http://schemas.openxmlformats.org/markup-compatibility/2006">
            <mc:Choice xmlns="" xmlns:ma="http://schemas.microsoft.com/office/mac/drawingml/2008/main" xmlns:mv="urn:schemas-microsoft-com:mac:vml" Requires="ma">
              <p:blipFill>
                <a:blip r:embed="rId3"/>
                <a:stretch>
                  <a:fillRect/>
                </a:stretch>
              </p:blipFill>
            </mc:Choice>
            <mc:Fallback>
              <p:blipFill>
                <a:blip r:embed="rId4"/>
                <a:stretch>
                  <a:fillRect/>
                </a:stretch>
              </p:blipFill>
            </mc:Fallback>
          </mc:AlternateContent>
          <p:spPr>
            <a:xfrm>
              <a:off x="8020979" y="4719627"/>
              <a:ext cx="1022096" cy="375920"/>
            </a:xfrm>
            <a:prstGeom prst="rect">
              <a:avLst/>
            </a:prstGeom>
            <a:grpFill/>
          </p:spPr>
        </p:pic>
      </p:grpSp>
    </p:spTree>
    <p:extLst>
      <p:ext uri="{BB962C8B-B14F-4D97-AF65-F5344CB8AC3E}">
        <p14:creationId xmlns:p14="http://schemas.microsoft.com/office/powerpoint/2010/main" val="13056168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03417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8"/>
            <a:ext cx="6274973" cy="1796218"/>
          </a:xfrm>
        </p:spPr>
        <p:txBody>
          <a:bodyPr wrap="square">
            <a:spAutoFit/>
          </a:bodyPr>
          <a:lstStyle>
            <a:lvl1pPr marL="392019" indent="-392019">
              <a:spcBef>
                <a:spcPts val="1200"/>
              </a:spcBef>
              <a:buClr>
                <a:srgbClr val="92D050"/>
              </a:buClr>
              <a:buSzPct val="100000"/>
              <a:buFont typeface="Wingdings" panose="05000000000000000000" pitchFamily="2" charset="2"/>
              <a:buChar char="ü"/>
              <a:defRPr sz="3135">
                <a:gradFill>
                  <a:gsLst>
                    <a:gs pos="7500">
                      <a:schemeClr val="bg1"/>
                    </a:gs>
                    <a:gs pos="43000">
                      <a:schemeClr val="bg1"/>
                    </a:gs>
                  </a:gsLst>
                  <a:lin ang="5400000" scaled="0"/>
                </a:gradFill>
              </a:defRPr>
            </a:lvl1pPr>
            <a:lvl2pPr marL="672032" indent="-280013">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477" indent="267569">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044" indent="22401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055" indent="-22401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9"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9"/>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58" tIns="34280" rIns="68558" bIns="34280"/>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321"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434221"/>
          </a:xfrm>
        </p:spPr>
        <p:txBody>
          <a:bodyPr/>
          <a:lstStyle>
            <a:lvl1pPr marL="0" indent="0">
              <a:buFontTx/>
              <a:buNone/>
              <a:defRPr lang="en-US" sz="3135"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016"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9"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30" tIns="44814" rIns="89630" bIns="4481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1" y="981281"/>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30" tIns="44814" rIns="89630" bIns="44814"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3"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53069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52698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555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267116"/>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07844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055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772412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amp; 2-color Non-bulleted text with image wide">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7067127" y="1262333"/>
            <a:ext cx="4855634" cy="1597113"/>
          </a:xfrm>
        </p:spPr>
        <p:txBody>
          <a:bodyPr/>
          <a:lstStyle>
            <a:lvl1pPr marL="0" indent="0">
              <a:buNone/>
              <a:defRPr sz="2745">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07445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amp; 2-color Non-bulleted text with image">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722489" y="1262333"/>
            <a:ext cx="6200273" cy="1597113"/>
          </a:xfrm>
        </p:spPr>
        <p:txBody>
          <a:bodyPr/>
          <a:lstStyle>
            <a:lvl1pPr marL="0" indent="0">
              <a:buNone/>
              <a:defRPr sz="2745">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8689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furniture, curtain, lit, dark&#10;&#10;Description automatically generated">
            <a:extLst>
              <a:ext uri="{FF2B5EF4-FFF2-40B4-BE49-F238E27FC236}">
                <a16:creationId xmlns:a16="http://schemas.microsoft.com/office/drawing/2014/main" id="{08F41F8B-F45C-0143-DBFB-8291CFE6AD7E}"/>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0" y="284922"/>
            <a:ext cx="12192000" cy="6573078"/>
          </a:xfrm>
          <a:prstGeom prst="rect">
            <a:avLst/>
          </a:prstGeom>
        </p:spPr>
      </p:pic>
      <p:sp>
        <p:nvSpPr>
          <p:cNvPr id="2" name="Title 1">
            <a:extLst>
              <a:ext uri="{FF2B5EF4-FFF2-40B4-BE49-F238E27FC236}">
                <a16:creationId xmlns:a16="http://schemas.microsoft.com/office/drawing/2014/main" id="{D508B2AB-1AF2-C3EC-A0DA-7900482B4860}"/>
              </a:ext>
            </a:extLst>
          </p:cNvPr>
          <p:cNvSpPr>
            <a:spLocks noGrp="1"/>
          </p:cNvSpPr>
          <p:nvPr>
            <p:ph type="ctrTitle"/>
          </p:nvPr>
        </p:nvSpPr>
        <p:spPr>
          <a:xfrm>
            <a:off x="1524000" y="3682"/>
            <a:ext cx="9144000" cy="2306637"/>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5AC045E-7E31-838B-3E84-BF7CAB2CBCDF}"/>
              </a:ext>
            </a:extLst>
          </p:cNvPr>
          <p:cNvSpPr>
            <a:spLocks noGrp="1"/>
          </p:cNvSpPr>
          <p:nvPr>
            <p:ph type="subTitle" idx="1"/>
          </p:nvPr>
        </p:nvSpPr>
        <p:spPr>
          <a:xfrm>
            <a:off x="1524000" y="2490281"/>
            <a:ext cx="9144000" cy="142023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MMS Logo">
            <a:extLst>
              <a:ext uri="{FF2B5EF4-FFF2-40B4-BE49-F238E27FC236}">
                <a16:creationId xmlns:a16="http://schemas.microsoft.com/office/drawing/2014/main" id="{0E09F665-1CDC-0B16-708D-E8AD544B3FBE}"/>
              </a:ext>
            </a:extLst>
          </p:cNvPr>
          <p:cNvPicPr>
            <a:picLocks noChangeAspect="1"/>
          </p:cNvPicPr>
          <p:nvPr userDrawn="1"/>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797437" y="0"/>
            <a:ext cx="2394563" cy="1371600"/>
          </a:xfrm>
          <a:prstGeom prst="rect">
            <a:avLst/>
          </a:prstGeom>
        </p:spPr>
      </p:pic>
      <p:pic>
        <p:nvPicPr>
          <p:cNvPr id="14" name="Graphic 13">
            <a:extLst>
              <a:ext uri="{FF2B5EF4-FFF2-40B4-BE49-F238E27FC236}">
                <a16:creationId xmlns:a16="http://schemas.microsoft.com/office/drawing/2014/main" id="{C1C6F0CE-A001-978A-D698-EB6C97BB9BA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2310319"/>
            <a:ext cx="12192000" cy="734379"/>
          </a:xfrm>
          <a:prstGeom prst="rect">
            <a:avLst/>
          </a:prstGeom>
        </p:spPr>
      </p:pic>
    </p:spTree>
    <p:extLst>
      <p:ext uri="{BB962C8B-B14F-4D97-AF65-F5344CB8AC3E}">
        <p14:creationId xmlns:p14="http://schemas.microsoft.com/office/powerpoint/2010/main" val="16256248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peakers">
    <p:spTree>
      <p:nvGrpSpPr>
        <p:cNvPr id="1" name=""/>
        <p:cNvGrpSpPr/>
        <p:nvPr/>
      </p:nvGrpSpPr>
      <p:grpSpPr>
        <a:xfrm>
          <a:off x="0" y="0"/>
          <a:ext cx="0" cy="0"/>
          <a:chOff x="0" y="0"/>
          <a:chExt cx="0" cy="0"/>
        </a:xfrm>
      </p:grpSpPr>
      <p:pic>
        <p:nvPicPr>
          <p:cNvPr id="13" name="Picture 12" descr="A blue light in the dark&#10;&#10;Description automatically generated with low confidence">
            <a:extLst>
              <a:ext uri="{FF2B5EF4-FFF2-40B4-BE49-F238E27FC236}">
                <a16:creationId xmlns:a16="http://schemas.microsoft.com/office/drawing/2014/main" id="{E490237C-99B3-4664-7462-6C4BF3FC7320}"/>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0" y="1252627"/>
            <a:ext cx="12192000" cy="5612369"/>
          </a:xfrm>
          <a:prstGeom prst="rect">
            <a:avLst/>
          </a:prstGeom>
        </p:spPr>
      </p:pic>
      <p:pic>
        <p:nvPicPr>
          <p:cNvPr id="6" name="Picture 5" descr="MMS Logo">
            <a:extLst>
              <a:ext uri="{FF2B5EF4-FFF2-40B4-BE49-F238E27FC236}">
                <a16:creationId xmlns:a16="http://schemas.microsoft.com/office/drawing/2014/main" id="{58B90811-A51E-65F2-5CD6-98D6CF98110B}"/>
              </a:ext>
            </a:extLst>
          </p:cNvPr>
          <p:cNvPicPr>
            <a:picLocks noChangeAspect="1"/>
          </p:cNvPicPr>
          <p:nvPr userDrawn="1"/>
        </p:nvPicPr>
        <p:blipFill>
          <a:blip r:embed="rId3">
            <a:alphaModFix amt="20000"/>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595625" y="5930596"/>
            <a:ext cx="1596375" cy="914400"/>
          </a:xfrm>
          <a:prstGeom prst="rect">
            <a:avLst/>
          </a:prstGeom>
        </p:spPr>
      </p:pic>
      <p:sp>
        <p:nvSpPr>
          <p:cNvPr id="5" name="Picture Placeholder 4">
            <a:extLst>
              <a:ext uri="{FF2B5EF4-FFF2-40B4-BE49-F238E27FC236}">
                <a16:creationId xmlns:a16="http://schemas.microsoft.com/office/drawing/2014/main" id="{D0F2FDBB-FB45-8FD2-5F71-DB342D59755E}"/>
              </a:ext>
            </a:extLst>
          </p:cNvPr>
          <p:cNvSpPr>
            <a:spLocks noGrp="1"/>
          </p:cNvSpPr>
          <p:nvPr>
            <p:ph type="pic" sz="quarter" idx="10"/>
          </p:nvPr>
        </p:nvSpPr>
        <p:spPr>
          <a:xfrm>
            <a:off x="2396859" y="1581880"/>
            <a:ext cx="2703513" cy="2538413"/>
          </a:xfrm>
        </p:spPr>
        <p:txBody>
          <a:bodyPr/>
          <a:lstStyle/>
          <a:p>
            <a:r>
              <a:rPr lang="en-US"/>
              <a:t>Click icon to add picture</a:t>
            </a:r>
          </a:p>
        </p:txBody>
      </p:sp>
      <p:sp>
        <p:nvSpPr>
          <p:cNvPr id="8" name="Picture Placeholder 4">
            <a:extLst>
              <a:ext uri="{FF2B5EF4-FFF2-40B4-BE49-F238E27FC236}">
                <a16:creationId xmlns:a16="http://schemas.microsoft.com/office/drawing/2014/main" id="{B765F7A9-F279-484D-0F3B-4BB46B514D6C}"/>
              </a:ext>
            </a:extLst>
          </p:cNvPr>
          <p:cNvSpPr>
            <a:spLocks noGrp="1"/>
          </p:cNvSpPr>
          <p:nvPr>
            <p:ph type="pic" sz="quarter" idx="11"/>
          </p:nvPr>
        </p:nvSpPr>
        <p:spPr>
          <a:xfrm>
            <a:off x="7114594" y="1579653"/>
            <a:ext cx="2703513" cy="2538413"/>
          </a:xfrm>
        </p:spPr>
        <p:txBody>
          <a:bodyPr/>
          <a:lstStyle/>
          <a:p>
            <a:r>
              <a:rPr lang="en-US"/>
              <a:t>Click icon to add picture</a:t>
            </a:r>
          </a:p>
        </p:txBody>
      </p:sp>
      <p:sp>
        <p:nvSpPr>
          <p:cNvPr id="9" name="Rectangle 8">
            <a:extLst>
              <a:ext uri="{FF2B5EF4-FFF2-40B4-BE49-F238E27FC236}">
                <a16:creationId xmlns:a16="http://schemas.microsoft.com/office/drawing/2014/main" id="{5F6FE98B-7FAF-CBE0-DE78-7629C4DAC585}"/>
              </a:ext>
            </a:extLst>
          </p:cNvPr>
          <p:cNvSpPr/>
          <p:nvPr userDrawn="1"/>
        </p:nvSpPr>
        <p:spPr>
          <a:xfrm>
            <a:off x="4293904" y="195263"/>
            <a:ext cx="3604192" cy="1200329"/>
          </a:xfrm>
          <a:prstGeom prst="rect">
            <a:avLst/>
          </a:prstGeom>
          <a:noFill/>
        </p:spPr>
        <p:txBody>
          <a:bodyPr vert="horz" wrap="none" lIns="91440" tIns="45720" rIns="91440" bIns="45720">
            <a:spAutoFit/>
          </a:bodyPr>
          <a:lstStyle/>
          <a:p>
            <a:pPr algn="ctr"/>
            <a:r>
              <a:rPr lang="en-US" sz="7200" b="1" u="none" cap="none" spc="0" baseline="0" dirty="0">
                <a:ln w="0"/>
                <a:solidFill>
                  <a:schemeClr val="bg1"/>
                </a:solidFill>
                <a:effectLst>
                  <a:outerShdw blurRad="38100" dist="19050" dir="2700000" algn="tl" rotWithShape="0">
                    <a:schemeClr val="dk1">
                      <a:alpha val="40000"/>
                    </a:schemeClr>
                  </a:outerShdw>
                </a:effectLst>
              </a:rPr>
              <a:t>Speakers</a:t>
            </a:r>
          </a:p>
        </p:txBody>
      </p:sp>
      <p:pic>
        <p:nvPicPr>
          <p:cNvPr id="11" name="Graphic 10" descr="Radio microphone with solid fill">
            <a:extLst>
              <a:ext uri="{FF2B5EF4-FFF2-40B4-BE49-F238E27FC236}">
                <a16:creationId xmlns:a16="http://schemas.microsoft.com/office/drawing/2014/main" id="{081F717A-90EF-F96A-D83B-54E6307A315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59804" y="338227"/>
            <a:ext cx="914400" cy="914400"/>
          </a:xfrm>
          <a:prstGeom prst="rect">
            <a:avLst/>
          </a:prstGeom>
        </p:spPr>
      </p:pic>
      <p:sp>
        <p:nvSpPr>
          <p:cNvPr id="17" name="Text Placeholder 16">
            <a:extLst>
              <a:ext uri="{FF2B5EF4-FFF2-40B4-BE49-F238E27FC236}">
                <a16:creationId xmlns:a16="http://schemas.microsoft.com/office/drawing/2014/main" id="{2E8946D3-04F0-0641-9424-10E785AD7371}"/>
              </a:ext>
            </a:extLst>
          </p:cNvPr>
          <p:cNvSpPr>
            <a:spLocks noGrp="1"/>
          </p:cNvSpPr>
          <p:nvPr>
            <p:ph type="body" sz="quarter" idx="12" hasCustomPrompt="1"/>
          </p:nvPr>
        </p:nvSpPr>
        <p:spPr>
          <a:xfrm>
            <a:off x="1439693" y="4206239"/>
            <a:ext cx="4572000" cy="457200"/>
          </a:xfrm>
        </p:spPr>
        <p:txBody>
          <a:bodyPr/>
          <a:lstStyle>
            <a:lvl1pPr marL="0" indent="0" algn="ctr">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1 Name</a:t>
            </a:r>
          </a:p>
        </p:txBody>
      </p:sp>
      <p:sp>
        <p:nvSpPr>
          <p:cNvPr id="18" name="Text Placeholder 16">
            <a:extLst>
              <a:ext uri="{FF2B5EF4-FFF2-40B4-BE49-F238E27FC236}">
                <a16:creationId xmlns:a16="http://schemas.microsoft.com/office/drawing/2014/main" id="{4E852539-A3B0-BF16-FE8E-4CC8EFF8ACE6}"/>
              </a:ext>
            </a:extLst>
          </p:cNvPr>
          <p:cNvSpPr>
            <a:spLocks noGrp="1"/>
          </p:cNvSpPr>
          <p:nvPr>
            <p:ph type="body" sz="quarter" idx="13" hasCustomPrompt="1"/>
          </p:nvPr>
        </p:nvSpPr>
        <p:spPr>
          <a:xfrm>
            <a:off x="6168867" y="4206239"/>
            <a:ext cx="4572000" cy="457200"/>
          </a:xfrm>
        </p:spPr>
        <p:txBody>
          <a:bodyPr/>
          <a:lstStyle>
            <a:lvl1pPr marL="0" indent="0" algn="ctr">
              <a:buFontTx/>
              <a:buNone/>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2 Name</a:t>
            </a:r>
          </a:p>
        </p:txBody>
      </p:sp>
      <p:sp>
        <p:nvSpPr>
          <p:cNvPr id="19" name="Text Placeholder 16">
            <a:extLst>
              <a:ext uri="{FF2B5EF4-FFF2-40B4-BE49-F238E27FC236}">
                <a16:creationId xmlns:a16="http://schemas.microsoft.com/office/drawing/2014/main" id="{F8B8F0D3-A682-04D8-7E0B-F26D56163FA4}"/>
              </a:ext>
            </a:extLst>
          </p:cNvPr>
          <p:cNvSpPr>
            <a:spLocks noGrp="1"/>
          </p:cNvSpPr>
          <p:nvPr>
            <p:ph type="body" sz="quarter" idx="14" hasCustomPrompt="1"/>
          </p:nvPr>
        </p:nvSpPr>
        <p:spPr>
          <a:xfrm>
            <a:off x="1439693" y="5303520"/>
            <a:ext cx="4572000" cy="914400"/>
          </a:xfrm>
        </p:spPr>
        <p:txBody>
          <a:bodyPr>
            <a:normAutofit/>
          </a:bodyPr>
          <a:lstStyle>
            <a:lvl1pPr marL="0" indent="0" algn="ctr">
              <a:buFontTx/>
              <a:buNone/>
              <a:defRPr sz="2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1 contact info</a:t>
            </a:r>
          </a:p>
        </p:txBody>
      </p:sp>
      <p:sp>
        <p:nvSpPr>
          <p:cNvPr id="20" name="Text Placeholder 16">
            <a:extLst>
              <a:ext uri="{FF2B5EF4-FFF2-40B4-BE49-F238E27FC236}">
                <a16:creationId xmlns:a16="http://schemas.microsoft.com/office/drawing/2014/main" id="{A3D27F1E-071E-F20C-9FA4-6FF3260A1116}"/>
              </a:ext>
            </a:extLst>
          </p:cNvPr>
          <p:cNvSpPr>
            <a:spLocks noGrp="1"/>
          </p:cNvSpPr>
          <p:nvPr>
            <p:ph type="body" sz="quarter" idx="15" hasCustomPrompt="1"/>
          </p:nvPr>
        </p:nvSpPr>
        <p:spPr>
          <a:xfrm>
            <a:off x="6180307" y="5303520"/>
            <a:ext cx="4572000" cy="914400"/>
          </a:xfrm>
        </p:spPr>
        <p:txBody>
          <a:bodyPr/>
          <a:lstStyle>
            <a:lvl1pPr marL="0" indent="0" algn="ctr">
              <a:buFontTx/>
              <a:buNone/>
              <a:defRPr sz="2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2 contact info</a:t>
            </a:r>
          </a:p>
        </p:txBody>
      </p:sp>
      <p:sp>
        <p:nvSpPr>
          <p:cNvPr id="21" name="Text Placeholder 16">
            <a:extLst>
              <a:ext uri="{FF2B5EF4-FFF2-40B4-BE49-F238E27FC236}">
                <a16:creationId xmlns:a16="http://schemas.microsoft.com/office/drawing/2014/main" id="{725C257A-1E0B-90CB-FDAB-F164B5FB84B2}"/>
              </a:ext>
            </a:extLst>
          </p:cNvPr>
          <p:cNvSpPr>
            <a:spLocks noGrp="1"/>
          </p:cNvSpPr>
          <p:nvPr>
            <p:ph type="body" sz="quarter" idx="16" hasCustomPrompt="1"/>
          </p:nvPr>
        </p:nvSpPr>
        <p:spPr>
          <a:xfrm>
            <a:off x="1439693" y="4754880"/>
            <a:ext cx="4572000" cy="457200"/>
          </a:xfrm>
        </p:spPr>
        <p:txBody>
          <a:bodyPr>
            <a:normAutofit/>
          </a:bodyPr>
          <a:lstStyle>
            <a:lvl1pPr marL="0" indent="0" algn="ctr">
              <a:buFontTx/>
              <a:buNone/>
              <a:defRPr sz="2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1 info</a:t>
            </a:r>
          </a:p>
        </p:txBody>
      </p:sp>
      <p:sp>
        <p:nvSpPr>
          <p:cNvPr id="22" name="Text Placeholder 16">
            <a:extLst>
              <a:ext uri="{FF2B5EF4-FFF2-40B4-BE49-F238E27FC236}">
                <a16:creationId xmlns:a16="http://schemas.microsoft.com/office/drawing/2014/main" id="{F028274B-3D73-8DB7-57F5-8758A5761592}"/>
              </a:ext>
            </a:extLst>
          </p:cNvPr>
          <p:cNvSpPr>
            <a:spLocks noGrp="1"/>
          </p:cNvSpPr>
          <p:nvPr>
            <p:ph type="body" sz="quarter" idx="17" hasCustomPrompt="1"/>
          </p:nvPr>
        </p:nvSpPr>
        <p:spPr>
          <a:xfrm>
            <a:off x="6180350" y="4754880"/>
            <a:ext cx="4572000" cy="457200"/>
          </a:xfrm>
        </p:spPr>
        <p:txBody>
          <a:bodyPr>
            <a:normAutofit/>
          </a:bodyPr>
          <a:lstStyle>
            <a:lvl1pPr marL="0" indent="0" algn="ctr">
              <a:buFontTx/>
              <a:buNone/>
              <a:defRPr sz="2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Speaker 2 info</a:t>
            </a:r>
          </a:p>
        </p:txBody>
      </p:sp>
      <p:sp>
        <p:nvSpPr>
          <p:cNvPr id="23" name="Rectangle 22">
            <a:extLst>
              <a:ext uri="{FF2B5EF4-FFF2-40B4-BE49-F238E27FC236}">
                <a16:creationId xmlns:a16="http://schemas.microsoft.com/office/drawing/2014/main" id="{1E3E2B6C-976C-B840-C89F-B4F3065660F9}"/>
              </a:ext>
            </a:extLst>
          </p:cNvPr>
          <p:cNvSpPr/>
          <p:nvPr userDrawn="1"/>
        </p:nvSpPr>
        <p:spPr>
          <a:xfrm>
            <a:off x="2286669" y="6401767"/>
            <a:ext cx="7618661" cy="259381"/>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cap="none" spc="0">
                <a:ln w="0"/>
                <a:solidFill>
                  <a:schemeClr val="bg1"/>
                </a:solidFill>
                <a:effectLst>
                  <a:outerShdw blurRad="38100" dist="19050" dir="2700000" algn="tl" rotWithShape="0">
                    <a:schemeClr val="dk1">
                      <a:alpha val="40000"/>
                    </a:schemeClr>
                  </a:outerShdw>
                </a:effectLst>
              </a:rPr>
              <a:t>Can’t see our slides? Can’t hear? Need to repeat the question? Call us out!</a:t>
            </a:r>
          </a:p>
        </p:txBody>
      </p:sp>
    </p:spTree>
    <p:extLst>
      <p:ext uri="{BB962C8B-B14F-4D97-AF65-F5344CB8AC3E}">
        <p14:creationId xmlns:p14="http://schemas.microsoft.com/office/powerpoint/2010/main" val="12540070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665EE4-0A4A-2B2C-119B-2F341C139E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11DF5D-CB3B-BA76-1722-DD0D7E7805E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5" name="Picture 4" descr="MMS Logo">
            <a:extLst>
              <a:ext uri="{FF2B5EF4-FFF2-40B4-BE49-F238E27FC236}">
                <a16:creationId xmlns:a16="http://schemas.microsoft.com/office/drawing/2014/main" id="{7A94F116-969A-0346-AE10-98CF6F785B0F}"/>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10595625" y="5930596"/>
            <a:ext cx="1596375" cy="914400"/>
          </a:xfrm>
          <a:prstGeom prst="rect">
            <a:avLst/>
          </a:prstGeom>
        </p:spPr>
      </p:pic>
      <p:pic>
        <p:nvPicPr>
          <p:cNvPr id="8" name="Picture 7" descr="A picture containing furniture, curtain&#10;&#10;Description automatically generated">
            <a:extLst>
              <a:ext uri="{FF2B5EF4-FFF2-40B4-BE49-F238E27FC236}">
                <a16:creationId xmlns:a16="http://schemas.microsoft.com/office/drawing/2014/main" id="{3AC1A3A1-7EDB-D367-2230-49C5F099A592}"/>
              </a:ext>
            </a:extLst>
          </p:cNvPr>
          <p:cNvPicPr>
            <a:picLocks noChangeAspect="1"/>
          </p:cNvPicPr>
          <p:nvPr userDrawn="1"/>
        </p:nvPicPr>
        <p:blipFill>
          <a:blip r:embed="rId3">
            <a:alphaModFix amt="25000"/>
            <a:extLst>
              <a:ext uri="{28A0092B-C50C-407E-A947-70E740481C1C}">
                <a14:useLocalDpi xmlns:a14="http://schemas.microsoft.com/office/drawing/2010/main" val="0"/>
              </a:ext>
            </a:extLst>
          </a:blip>
          <a:stretch>
            <a:fillRect/>
          </a:stretch>
        </p:blipFill>
        <p:spPr>
          <a:xfrm>
            <a:off x="1292379" y="0"/>
            <a:ext cx="9607242" cy="6858000"/>
          </a:xfrm>
          <a:prstGeom prst="rect">
            <a:avLst/>
          </a:prstGeom>
        </p:spPr>
      </p:pic>
    </p:spTree>
    <p:extLst>
      <p:ext uri="{BB962C8B-B14F-4D97-AF65-F5344CB8AC3E}">
        <p14:creationId xmlns:p14="http://schemas.microsoft.com/office/powerpoint/2010/main" val="2737698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5" name="Picture 4" descr="MMS Logo">
            <a:extLst>
              <a:ext uri="{FF2B5EF4-FFF2-40B4-BE49-F238E27FC236}">
                <a16:creationId xmlns:a16="http://schemas.microsoft.com/office/drawing/2014/main" id="{7874FAA7-EB4D-5A79-909E-CB927AFCC6FD}"/>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10595625" y="5930596"/>
            <a:ext cx="1596375" cy="914400"/>
          </a:xfrm>
          <a:prstGeom prst="rect">
            <a:avLst/>
          </a:prstGeom>
        </p:spPr>
      </p:pic>
      <p:pic>
        <p:nvPicPr>
          <p:cNvPr id="3" name="Picture 2" descr="A bright light in the dark&#10;&#10;Description automatically generated with low confidence">
            <a:extLst>
              <a:ext uri="{FF2B5EF4-FFF2-40B4-BE49-F238E27FC236}">
                <a16:creationId xmlns:a16="http://schemas.microsoft.com/office/drawing/2014/main" id="{91CD3819-7A9B-F720-70A3-7B872324A26E}"/>
              </a:ext>
            </a:extLst>
          </p:cNvPr>
          <p:cNvPicPr>
            <a:picLocks noChangeAspect="1"/>
          </p:cNvPicPr>
          <p:nvPr userDrawn="1"/>
        </p:nvPicPr>
        <p:blipFill>
          <a:blip r:embed="rId3">
            <a:alphaModFix amt="25000"/>
            <a:extLst>
              <a:ext uri="{28A0092B-C50C-407E-A947-70E740481C1C}">
                <a14:useLocalDpi xmlns:a14="http://schemas.microsoft.com/office/drawing/2010/main" val="0"/>
              </a:ext>
            </a:extLst>
          </a:blip>
          <a:stretch>
            <a:fillRect/>
          </a:stretch>
        </p:blipFill>
        <p:spPr>
          <a:xfrm>
            <a:off x="0" y="683890"/>
            <a:ext cx="12192000" cy="5490220"/>
          </a:xfrm>
          <a:prstGeom prst="rect">
            <a:avLst/>
          </a:prstGeom>
        </p:spPr>
      </p:pic>
    </p:spTree>
    <p:extLst>
      <p:ext uri="{BB962C8B-B14F-4D97-AF65-F5344CB8AC3E}">
        <p14:creationId xmlns:p14="http://schemas.microsoft.com/office/powerpoint/2010/main" val="37467660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ave the Datea">
    <p:spTree>
      <p:nvGrpSpPr>
        <p:cNvPr id="1" name=""/>
        <p:cNvGrpSpPr/>
        <p:nvPr/>
      </p:nvGrpSpPr>
      <p:grpSpPr>
        <a:xfrm>
          <a:off x="0" y="0"/>
          <a:ext cx="0" cy="0"/>
          <a:chOff x="0" y="0"/>
          <a:chExt cx="0" cy="0"/>
        </a:xfrm>
      </p:grpSpPr>
      <p:pic>
        <p:nvPicPr>
          <p:cNvPr id="13" name="Picture 12" descr="Green lights in the sky&#10;&#10;Description automatically generated">
            <a:extLst>
              <a:ext uri="{FF2B5EF4-FFF2-40B4-BE49-F238E27FC236}">
                <a16:creationId xmlns:a16="http://schemas.microsoft.com/office/drawing/2014/main" id="{F5E8B56B-52B5-564F-D2AA-662534D8CE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2" name="Picture 11" descr="Logo&#10;&#10;Description automatically generated">
            <a:extLst>
              <a:ext uri="{FF2B5EF4-FFF2-40B4-BE49-F238E27FC236}">
                <a16:creationId xmlns:a16="http://schemas.microsoft.com/office/drawing/2014/main" id="{9CE8F994-3F43-B6B2-27DC-2BA65CDAD3E7}"/>
              </a:ext>
            </a:extLst>
          </p:cNvPr>
          <p:cNvPicPr>
            <a:picLocks noChangeAspect="1"/>
          </p:cNvPicPr>
          <p:nvPr userDrawn="1"/>
        </p:nvPicPr>
        <p:blipFill>
          <a:blip r:embed="rId3"/>
          <a:stretch>
            <a:fillRect/>
          </a:stretch>
        </p:blipFill>
        <p:spPr>
          <a:xfrm>
            <a:off x="4615652" y="1956816"/>
            <a:ext cx="2971800" cy="2980355"/>
          </a:xfrm>
          <a:prstGeom prst="rect">
            <a:avLst/>
          </a:prstGeom>
        </p:spPr>
      </p:pic>
      <p:sp>
        <p:nvSpPr>
          <p:cNvPr id="4" name="TextBox 3">
            <a:extLst>
              <a:ext uri="{FF2B5EF4-FFF2-40B4-BE49-F238E27FC236}">
                <a16:creationId xmlns:a16="http://schemas.microsoft.com/office/drawing/2014/main" id="{E0828A95-6D43-E388-3D4E-E5117E2A09F8}"/>
              </a:ext>
            </a:extLst>
          </p:cNvPr>
          <p:cNvSpPr txBox="1"/>
          <p:nvPr userDrawn="1"/>
        </p:nvSpPr>
        <p:spPr>
          <a:xfrm>
            <a:off x="755363" y="1488483"/>
            <a:ext cx="2973203" cy="461665"/>
          </a:xfrm>
          <a:prstGeom prst="rect">
            <a:avLst/>
          </a:prstGeom>
          <a:noFill/>
        </p:spPr>
        <p:txBody>
          <a:bodyPr wrap="square" rtlCol="0">
            <a:spAutoFit/>
          </a:bodyPr>
          <a:lstStyle/>
          <a:p>
            <a:pPr algn="ctr"/>
            <a:r>
              <a:rPr lang="en-US" sz="2400" b="1">
                <a:solidFill>
                  <a:schemeClr val="bg1"/>
                </a:solidFill>
              </a:rPr>
              <a:t>20-23 Oct. 2024</a:t>
            </a:r>
          </a:p>
        </p:txBody>
      </p:sp>
      <p:sp>
        <p:nvSpPr>
          <p:cNvPr id="5" name="TextBox 4">
            <a:extLst>
              <a:ext uri="{FF2B5EF4-FFF2-40B4-BE49-F238E27FC236}">
                <a16:creationId xmlns:a16="http://schemas.microsoft.com/office/drawing/2014/main" id="{E8F11CDB-CD01-841A-69AB-B3D3A5872802}"/>
              </a:ext>
            </a:extLst>
          </p:cNvPr>
          <p:cNvSpPr txBox="1"/>
          <p:nvPr userDrawn="1"/>
        </p:nvSpPr>
        <p:spPr>
          <a:xfrm>
            <a:off x="8431814" y="1488483"/>
            <a:ext cx="2952400" cy="461665"/>
          </a:xfrm>
          <a:prstGeom prst="rect">
            <a:avLst/>
          </a:prstGeom>
          <a:noFill/>
        </p:spPr>
        <p:txBody>
          <a:bodyPr wrap="square" rtlCol="0">
            <a:spAutoFit/>
          </a:bodyPr>
          <a:lstStyle/>
          <a:p>
            <a:pPr algn="ctr"/>
            <a:r>
              <a:rPr lang="en-US" sz="2400" b="1">
                <a:solidFill>
                  <a:schemeClr val="bg1"/>
                </a:solidFill>
              </a:rPr>
              <a:t>12-15 Oct, 2025</a:t>
            </a:r>
          </a:p>
        </p:txBody>
      </p:sp>
      <p:sp>
        <p:nvSpPr>
          <p:cNvPr id="6" name="Rectangle 5">
            <a:extLst>
              <a:ext uri="{FF2B5EF4-FFF2-40B4-BE49-F238E27FC236}">
                <a16:creationId xmlns:a16="http://schemas.microsoft.com/office/drawing/2014/main" id="{D5699D8C-C70E-FE1E-2A0F-D2D47884EE8D}"/>
              </a:ext>
            </a:extLst>
          </p:cNvPr>
          <p:cNvSpPr/>
          <p:nvPr userDrawn="1"/>
        </p:nvSpPr>
        <p:spPr>
          <a:xfrm>
            <a:off x="3183119" y="230806"/>
            <a:ext cx="5825762" cy="1200329"/>
          </a:xfrm>
          <a:prstGeom prst="rect">
            <a:avLst/>
          </a:prstGeom>
          <a:noFill/>
        </p:spPr>
        <p:txBody>
          <a:bodyPr vert="horz" wrap="none" lIns="91440" tIns="45720" rIns="91440" bIns="45720">
            <a:spAutoFit/>
          </a:bodyPr>
          <a:lstStyle/>
          <a:p>
            <a:pPr algn="ctr"/>
            <a:r>
              <a:rPr lang="en-US" sz="7200" b="1" u="none" cap="none" spc="0" baseline="0">
                <a:ln w="0"/>
                <a:solidFill>
                  <a:schemeClr val="bg1"/>
                </a:solidFill>
                <a:effectLst>
                  <a:outerShdw blurRad="38100" dist="19050" dir="2700000" algn="tl" rotWithShape="0">
                    <a:schemeClr val="dk1">
                      <a:alpha val="40000"/>
                    </a:schemeClr>
                  </a:outerShdw>
                </a:effectLst>
              </a:rPr>
              <a:t>Save the Dates</a:t>
            </a:r>
          </a:p>
        </p:txBody>
      </p:sp>
      <p:pic>
        <p:nvPicPr>
          <p:cNvPr id="8" name="Picture 7" descr="A blue cover with a pink flamingo and colorful leaves&#10;&#10;Description automatically generated">
            <a:hlinkClick r:id="rId4"/>
            <a:extLst>
              <a:ext uri="{FF2B5EF4-FFF2-40B4-BE49-F238E27FC236}">
                <a16:creationId xmlns:a16="http://schemas.microsoft.com/office/drawing/2014/main" id="{DF019BF1-E70D-416E-D949-256783483DD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55362" y="1950601"/>
            <a:ext cx="2973204" cy="2973204"/>
          </a:xfrm>
          <a:prstGeom prst="rect">
            <a:avLst/>
          </a:prstGeom>
        </p:spPr>
      </p:pic>
      <p:pic>
        <p:nvPicPr>
          <p:cNvPr id="7" name="Picture 6" descr="A black guitar with red text&#10;&#10;Description automatically generated">
            <a:extLst>
              <a:ext uri="{FF2B5EF4-FFF2-40B4-BE49-F238E27FC236}">
                <a16:creationId xmlns:a16="http://schemas.microsoft.com/office/drawing/2014/main" id="{E2832214-9DA1-42E5-8B1F-2472EBF4575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74538" y="1970182"/>
            <a:ext cx="2971800" cy="2971800"/>
          </a:xfrm>
          <a:prstGeom prst="rect">
            <a:avLst/>
          </a:prstGeom>
        </p:spPr>
      </p:pic>
      <p:sp>
        <p:nvSpPr>
          <p:cNvPr id="9" name="TextBox 8">
            <a:extLst>
              <a:ext uri="{FF2B5EF4-FFF2-40B4-BE49-F238E27FC236}">
                <a16:creationId xmlns:a16="http://schemas.microsoft.com/office/drawing/2014/main" id="{1407CC49-AA2C-0E73-1A86-E77BA5C7526E}"/>
              </a:ext>
            </a:extLst>
          </p:cNvPr>
          <p:cNvSpPr txBox="1"/>
          <p:nvPr userDrawn="1"/>
        </p:nvSpPr>
        <p:spPr>
          <a:xfrm>
            <a:off x="4671628" y="1492834"/>
            <a:ext cx="2952400" cy="461665"/>
          </a:xfrm>
          <a:prstGeom prst="rect">
            <a:avLst/>
          </a:prstGeom>
          <a:noFill/>
        </p:spPr>
        <p:txBody>
          <a:bodyPr wrap="square" rtlCol="0">
            <a:spAutoFit/>
          </a:bodyPr>
          <a:lstStyle/>
          <a:p>
            <a:pPr algn="ctr"/>
            <a:r>
              <a:rPr lang="en-US" sz="2400" b="1">
                <a:solidFill>
                  <a:schemeClr val="bg1"/>
                </a:solidFill>
              </a:rPr>
              <a:t>4-8 May, 2025</a:t>
            </a:r>
          </a:p>
        </p:txBody>
      </p:sp>
    </p:spTree>
    <p:extLst>
      <p:ext uri="{BB962C8B-B14F-4D97-AF65-F5344CB8AC3E}">
        <p14:creationId xmlns:p14="http://schemas.microsoft.com/office/powerpoint/2010/main" val="15582595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88738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2407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752BDC34-C7D1-45E8-8F07-DB2E9FD7891B}"/>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4163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amp; 2-color Non-bulleted text with image">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722489" y="1262333"/>
            <a:ext cx="6200273" cy="1597113"/>
          </a:xfrm>
        </p:spPr>
        <p:txBody>
          <a:bodyPr/>
          <a:lstStyle>
            <a:lvl1pPr marL="0" indent="0">
              <a:buNone/>
              <a:defRPr sz="2745">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1952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84460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49727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Title &amp; 2-color Non-bulleted text with image wide">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7067127" y="1262333"/>
            <a:ext cx="4855634" cy="1597113"/>
          </a:xfrm>
        </p:spPr>
        <p:txBody>
          <a:bodyPr/>
          <a:lstStyle>
            <a:lvl1pPr marL="0" indent="0">
              <a:buNone/>
              <a:defRPr sz="2745">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92763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8"/>
            <a:ext cx="6274973" cy="1943393"/>
          </a:xfrm>
        </p:spPr>
        <p:txBody>
          <a:bodyPr wrap="square">
            <a:spAutoFit/>
          </a:bodyPr>
          <a:lstStyle>
            <a:lvl1pPr marL="392019" indent="-392019">
              <a:spcBef>
                <a:spcPts val="1200"/>
              </a:spcBef>
              <a:buClr>
                <a:srgbClr val="92D050"/>
              </a:buClr>
              <a:buSzPct val="100000"/>
              <a:buFont typeface="Wingdings" panose="05000000000000000000" pitchFamily="2" charset="2"/>
              <a:buChar char="ü"/>
              <a:defRPr sz="3135">
                <a:gradFill>
                  <a:gsLst>
                    <a:gs pos="7500">
                      <a:schemeClr val="bg1"/>
                    </a:gs>
                    <a:gs pos="43000">
                      <a:schemeClr val="bg1"/>
                    </a:gs>
                  </a:gsLst>
                  <a:lin ang="5400000" scaled="0"/>
                </a:gradFill>
              </a:defRPr>
            </a:lvl1pPr>
            <a:lvl2pPr marL="672032" indent="-280013">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477" indent="267569">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044" indent="22401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055" indent="-22401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9"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9"/>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58" tIns="34280" rIns="68558" bIns="34280"/>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321"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5"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016"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9"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30" tIns="44814" rIns="89630" bIns="4481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1" y="981281"/>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30" tIns="44814" rIns="89630" bIns="44814"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3"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812879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Only Clouds Blu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C1316A-325C-4A2D-8CB8-6AD6EE6F5A79}"/>
              </a:ext>
            </a:extLst>
          </p:cNvPr>
          <p:cNvPicPr>
            <a:picLocks noChangeAspect="1"/>
          </p:cNvPicPr>
          <p:nvPr userDrawn="1"/>
        </p:nvPicPr>
        <p:blipFill>
          <a:blip r:embed="rId2"/>
          <a:stretch>
            <a:fillRect/>
          </a:stretch>
        </p:blipFill>
        <p:spPr>
          <a:xfrm>
            <a:off x="0" y="7620"/>
            <a:ext cx="12192000" cy="6842760"/>
          </a:xfrm>
          <a:prstGeom prst="rect">
            <a:avLst/>
          </a:prstGeom>
        </p:spPr>
      </p:pic>
      <p:sp>
        <p:nvSpPr>
          <p:cNvPr id="4" name="Rectangle 3">
            <a:extLst>
              <a:ext uri="{FF2B5EF4-FFF2-40B4-BE49-F238E27FC236}">
                <a16:creationId xmlns:a16="http://schemas.microsoft.com/office/drawing/2014/main" id="{CE9169AE-3A17-49E0-8D3B-167049A7BF8A}"/>
              </a:ext>
            </a:extLst>
          </p:cNvPr>
          <p:cNvSpPr/>
          <p:nvPr userDrawn="1"/>
        </p:nvSpPr>
        <p:spPr bwMode="auto">
          <a:xfrm>
            <a:off x="0" y="1"/>
            <a:ext cx="12192000" cy="6883121"/>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18947E2-C89A-4EED-81A7-1CC2F33D3AB0}"/>
              </a:ext>
            </a:extLst>
          </p:cNvPr>
          <p:cNvSpPr>
            <a:spLocks noGrp="1"/>
          </p:cNvSpPr>
          <p:nvPr>
            <p:ph type="ftr" sz="quarter" idx="10"/>
          </p:nvPr>
        </p:nvSpPr>
        <p:spPr/>
        <p:txBody>
          <a:bodyPr/>
          <a:lstStyle/>
          <a:p>
            <a:pPr algn="l"/>
            <a:r>
              <a:rPr lang="en-US"/>
              <a:t>Microsoft Confidential</a:t>
            </a:r>
          </a:p>
        </p:txBody>
      </p:sp>
      <p:sp>
        <p:nvSpPr>
          <p:cNvPr id="6" name="Slide Number Placeholder 5">
            <a:extLst>
              <a:ext uri="{FF2B5EF4-FFF2-40B4-BE49-F238E27FC236}">
                <a16:creationId xmlns:a16="http://schemas.microsoft.com/office/drawing/2014/main" id="{6E9A5577-26DD-443D-AA2E-74243484D71E}"/>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226578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AZURE LOGO">
            <a:extLst>
              <a:ext uri="{FF2B5EF4-FFF2-40B4-BE49-F238E27FC236}">
                <a16:creationId xmlns:a16="http://schemas.microsoft.com/office/drawing/2014/main" id="{D7700383-DA26-402D-B4B4-7B8D1F138622}"/>
              </a:ext>
            </a:extLst>
          </p:cNvPr>
          <p:cNvGrpSpPr>
            <a:grpSpLocks noChangeAspect="1"/>
          </p:cNvGrpSpPr>
          <p:nvPr userDrawn="1"/>
        </p:nvGrpSpPr>
        <p:grpSpPr bwMode="auto">
          <a:xfrm>
            <a:off x="10012722" y="5110406"/>
            <a:ext cx="1665605" cy="1314119"/>
            <a:chOff x="1103" y="-2"/>
            <a:chExt cx="5478" cy="4322"/>
          </a:xfrm>
          <a:solidFill>
            <a:srgbClr val="FFFFFF">
              <a:alpha val="49000"/>
            </a:srgbClr>
          </a:solidFill>
        </p:grpSpPr>
        <p:sp>
          <p:nvSpPr>
            <p:cNvPr id="8" name="Freeform 13">
              <a:extLst>
                <a:ext uri="{FF2B5EF4-FFF2-40B4-BE49-F238E27FC236}">
                  <a16:creationId xmlns:a16="http://schemas.microsoft.com/office/drawing/2014/main" id="{149424B0-45F1-4EC4-9462-6B17B35FC31C}"/>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0" name="Freeform 14">
              <a:extLst>
                <a:ext uri="{FF2B5EF4-FFF2-40B4-BE49-F238E27FC236}">
                  <a16:creationId xmlns:a16="http://schemas.microsoft.com/office/drawing/2014/main" id="{8B58B805-FFBE-45E5-8748-0994DD9EC98A}"/>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1" name="Freeform 15">
              <a:extLst>
                <a:ext uri="{FF2B5EF4-FFF2-40B4-BE49-F238E27FC236}">
                  <a16:creationId xmlns:a16="http://schemas.microsoft.com/office/drawing/2014/main" id="{AF3CF05F-5013-43A0-822D-8DEF031506F6}"/>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spTree>
    <p:extLst>
      <p:ext uri="{BB962C8B-B14F-4D97-AF65-F5344CB8AC3E}">
        <p14:creationId xmlns:p14="http://schemas.microsoft.com/office/powerpoint/2010/main" val="1348731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AZURE LOGO">
            <a:extLst>
              <a:ext uri="{FF2B5EF4-FFF2-40B4-BE49-F238E27FC236}">
                <a16:creationId xmlns:a16="http://schemas.microsoft.com/office/drawing/2014/main" id="{D7700383-DA26-402D-B4B4-7B8D1F138622}"/>
              </a:ext>
            </a:extLst>
          </p:cNvPr>
          <p:cNvGrpSpPr>
            <a:grpSpLocks noChangeAspect="1"/>
          </p:cNvGrpSpPr>
          <p:nvPr userDrawn="1"/>
        </p:nvGrpSpPr>
        <p:grpSpPr bwMode="auto">
          <a:xfrm>
            <a:off x="10012722" y="5110406"/>
            <a:ext cx="1665605" cy="1314119"/>
            <a:chOff x="1103" y="-2"/>
            <a:chExt cx="5478" cy="4322"/>
          </a:xfrm>
          <a:solidFill>
            <a:srgbClr val="FFFFFF">
              <a:alpha val="49000"/>
            </a:srgbClr>
          </a:solidFill>
        </p:grpSpPr>
        <p:sp>
          <p:nvSpPr>
            <p:cNvPr id="8" name="Freeform 13">
              <a:extLst>
                <a:ext uri="{FF2B5EF4-FFF2-40B4-BE49-F238E27FC236}">
                  <a16:creationId xmlns:a16="http://schemas.microsoft.com/office/drawing/2014/main" id="{149424B0-45F1-4EC4-9462-6B17B35FC31C}"/>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0" name="Freeform 14">
              <a:extLst>
                <a:ext uri="{FF2B5EF4-FFF2-40B4-BE49-F238E27FC236}">
                  <a16:creationId xmlns:a16="http://schemas.microsoft.com/office/drawing/2014/main" id="{8B58B805-FFBE-45E5-8748-0994DD9EC98A}"/>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1" name="Freeform 15">
              <a:extLst>
                <a:ext uri="{FF2B5EF4-FFF2-40B4-BE49-F238E27FC236}">
                  <a16:creationId xmlns:a16="http://schemas.microsoft.com/office/drawing/2014/main" id="{AF3CF05F-5013-43A0-822D-8DEF031506F6}"/>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spTree>
    <p:extLst>
      <p:ext uri="{BB962C8B-B14F-4D97-AF65-F5344CB8AC3E}">
        <p14:creationId xmlns:p14="http://schemas.microsoft.com/office/powerpoint/2010/main" val="4200344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7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AZURE LOGO">
            <a:extLst>
              <a:ext uri="{FF2B5EF4-FFF2-40B4-BE49-F238E27FC236}">
                <a16:creationId xmlns:a16="http://schemas.microsoft.com/office/drawing/2014/main" id="{D7700383-DA26-402D-B4B4-7B8D1F138622}"/>
              </a:ext>
            </a:extLst>
          </p:cNvPr>
          <p:cNvGrpSpPr>
            <a:grpSpLocks noChangeAspect="1"/>
          </p:cNvGrpSpPr>
          <p:nvPr userDrawn="1"/>
        </p:nvGrpSpPr>
        <p:grpSpPr bwMode="auto">
          <a:xfrm>
            <a:off x="10012722" y="5110406"/>
            <a:ext cx="1665605" cy="1314119"/>
            <a:chOff x="1103" y="-2"/>
            <a:chExt cx="5478" cy="4322"/>
          </a:xfrm>
          <a:solidFill>
            <a:srgbClr val="FFFFFF">
              <a:alpha val="49000"/>
            </a:srgbClr>
          </a:solidFill>
        </p:grpSpPr>
        <p:sp>
          <p:nvSpPr>
            <p:cNvPr id="8" name="Freeform 13">
              <a:extLst>
                <a:ext uri="{FF2B5EF4-FFF2-40B4-BE49-F238E27FC236}">
                  <a16:creationId xmlns:a16="http://schemas.microsoft.com/office/drawing/2014/main" id="{149424B0-45F1-4EC4-9462-6B17B35FC31C}"/>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0" name="Freeform 14">
              <a:extLst>
                <a:ext uri="{FF2B5EF4-FFF2-40B4-BE49-F238E27FC236}">
                  <a16:creationId xmlns:a16="http://schemas.microsoft.com/office/drawing/2014/main" id="{8B58B805-FFBE-45E5-8748-0994DD9EC98A}"/>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11" name="Freeform 15">
              <a:extLst>
                <a:ext uri="{FF2B5EF4-FFF2-40B4-BE49-F238E27FC236}">
                  <a16:creationId xmlns:a16="http://schemas.microsoft.com/office/drawing/2014/main" id="{AF3CF05F-5013-43A0-822D-8DEF031506F6}"/>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spTree>
    <p:extLst>
      <p:ext uri="{BB962C8B-B14F-4D97-AF65-F5344CB8AC3E}">
        <p14:creationId xmlns:p14="http://schemas.microsoft.com/office/powerpoint/2010/main" val="3528876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5" Type="http://schemas.openxmlformats.org/officeDocument/2006/relationships/slideLayout" Target="../slideLayouts/slideLayout56.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slideLayout" Target="../slideLayouts/slideLayout152.xml"/><Relationship Id="rId47" Type="http://schemas.openxmlformats.org/officeDocument/2006/relationships/slideLayout" Target="../slideLayouts/slideLayout157.xml"/><Relationship Id="rId50" Type="http://schemas.openxmlformats.org/officeDocument/2006/relationships/slideLayout" Target="../slideLayouts/slideLayout160.xml"/><Relationship Id="rId7" Type="http://schemas.openxmlformats.org/officeDocument/2006/relationships/slideLayout" Target="../slideLayouts/slideLayout11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9" Type="http://schemas.openxmlformats.org/officeDocument/2006/relationships/slideLayout" Target="../slideLayouts/slideLayout139.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slideLayout" Target="../slideLayouts/slideLayout150.xml"/><Relationship Id="rId45" Type="http://schemas.openxmlformats.org/officeDocument/2006/relationships/slideLayout" Target="../slideLayouts/slideLayout155.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49" Type="http://schemas.openxmlformats.org/officeDocument/2006/relationships/slideLayout" Target="../slideLayouts/slideLayout159.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4" Type="http://schemas.openxmlformats.org/officeDocument/2006/relationships/slideLayout" Target="../slideLayouts/slideLayout154.xml"/><Relationship Id="rId52" Type="http://schemas.openxmlformats.org/officeDocument/2006/relationships/theme" Target="../theme/theme3.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slideLayout" Target="../slideLayouts/slideLayout153.xml"/><Relationship Id="rId48" Type="http://schemas.openxmlformats.org/officeDocument/2006/relationships/slideLayout" Target="../slideLayouts/slideLayout158.xml"/><Relationship Id="rId8" Type="http://schemas.openxmlformats.org/officeDocument/2006/relationships/slideLayout" Target="../slideLayouts/slideLayout118.xml"/><Relationship Id="rId51" Type="http://schemas.openxmlformats.org/officeDocument/2006/relationships/slideLayout" Target="../slideLayouts/slideLayout161.xml"/><Relationship Id="rId3" Type="http://schemas.openxmlformats.org/officeDocument/2006/relationships/slideLayout" Target="../slideLayouts/slideLayout113.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46" Type="http://schemas.openxmlformats.org/officeDocument/2006/relationships/slideLayout" Target="../slideLayouts/slideLayout156.xml"/><Relationship Id="rId20" Type="http://schemas.openxmlformats.org/officeDocument/2006/relationships/slideLayout" Target="../slideLayouts/slideLayout130.xml"/><Relationship Id="rId41" Type="http://schemas.openxmlformats.org/officeDocument/2006/relationships/slideLayout" Target="../slideLayouts/slideLayout151.xml"/><Relationship Id="rId1" Type="http://schemas.openxmlformats.org/officeDocument/2006/relationships/slideLayout" Target="../slideLayouts/slideLayout111.xml"/><Relationship Id="rId6" Type="http://schemas.openxmlformats.org/officeDocument/2006/relationships/slideLayout" Target="../slideLayouts/slideLayout11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87.xml"/><Relationship Id="rId21" Type="http://schemas.openxmlformats.org/officeDocument/2006/relationships/slideLayout" Target="../slideLayouts/slideLayout182.xml"/><Relationship Id="rId42" Type="http://schemas.openxmlformats.org/officeDocument/2006/relationships/slideLayout" Target="../slideLayouts/slideLayout203.xml"/><Relationship Id="rId47" Type="http://schemas.openxmlformats.org/officeDocument/2006/relationships/slideLayout" Target="../slideLayouts/slideLayout208.xml"/><Relationship Id="rId63" Type="http://schemas.openxmlformats.org/officeDocument/2006/relationships/slideLayout" Target="../slideLayouts/slideLayout224.xml"/><Relationship Id="rId68" Type="http://schemas.openxmlformats.org/officeDocument/2006/relationships/slideLayout" Target="../slideLayouts/slideLayout229.xml"/><Relationship Id="rId16" Type="http://schemas.openxmlformats.org/officeDocument/2006/relationships/slideLayout" Target="../slideLayouts/slideLayout17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3" Type="http://schemas.openxmlformats.org/officeDocument/2006/relationships/slideLayout" Target="../slideLayouts/slideLayout214.xml"/><Relationship Id="rId58" Type="http://schemas.openxmlformats.org/officeDocument/2006/relationships/slideLayout" Target="../slideLayouts/slideLayout219.xml"/><Relationship Id="rId66" Type="http://schemas.openxmlformats.org/officeDocument/2006/relationships/slideLayout" Target="../slideLayouts/slideLayout227.xml"/><Relationship Id="rId74" Type="http://schemas.openxmlformats.org/officeDocument/2006/relationships/slideLayout" Target="../slideLayouts/slideLayout235.xml"/><Relationship Id="rId5" Type="http://schemas.openxmlformats.org/officeDocument/2006/relationships/slideLayout" Target="../slideLayouts/slideLayout166.xml"/><Relationship Id="rId61" Type="http://schemas.openxmlformats.org/officeDocument/2006/relationships/slideLayout" Target="../slideLayouts/slideLayout222.xml"/><Relationship Id="rId19" Type="http://schemas.openxmlformats.org/officeDocument/2006/relationships/slideLayout" Target="../slideLayouts/slideLayout18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56" Type="http://schemas.openxmlformats.org/officeDocument/2006/relationships/slideLayout" Target="../slideLayouts/slideLayout217.xml"/><Relationship Id="rId64" Type="http://schemas.openxmlformats.org/officeDocument/2006/relationships/slideLayout" Target="../slideLayouts/slideLayout225.xml"/><Relationship Id="rId69" Type="http://schemas.openxmlformats.org/officeDocument/2006/relationships/slideLayout" Target="../slideLayouts/slideLayout230.xml"/><Relationship Id="rId77" Type="http://schemas.openxmlformats.org/officeDocument/2006/relationships/image" Target="../media/image41.svg"/><Relationship Id="rId8" Type="http://schemas.openxmlformats.org/officeDocument/2006/relationships/slideLayout" Target="../slideLayouts/slideLayout169.xml"/><Relationship Id="rId51" Type="http://schemas.openxmlformats.org/officeDocument/2006/relationships/slideLayout" Target="../slideLayouts/slideLayout212.xml"/><Relationship Id="rId72" Type="http://schemas.openxmlformats.org/officeDocument/2006/relationships/slideLayout" Target="../slideLayouts/slideLayout233.xml"/><Relationship Id="rId3" Type="http://schemas.openxmlformats.org/officeDocument/2006/relationships/slideLayout" Target="../slideLayouts/slideLayout164.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slideLayout" Target="../slideLayouts/slideLayout207.xml"/><Relationship Id="rId59" Type="http://schemas.openxmlformats.org/officeDocument/2006/relationships/slideLayout" Target="../slideLayouts/slideLayout220.xml"/><Relationship Id="rId67" Type="http://schemas.openxmlformats.org/officeDocument/2006/relationships/slideLayout" Target="../slideLayouts/slideLayout228.xml"/><Relationship Id="rId20" Type="http://schemas.openxmlformats.org/officeDocument/2006/relationships/slideLayout" Target="../slideLayouts/slideLayout181.xml"/><Relationship Id="rId41" Type="http://schemas.openxmlformats.org/officeDocument/2006/relationships/slideLayout" Target="../slideLayouts/slideLayout202.xml"/><Relationship Id="rId54" Type="http://schemas.openxmlformats.org/officeDocument/2006/relationships/slideLayout" Target="../slideLayouts/slideLayout215.xml"/><Relationship Id="rId62" Type="http://schemas.openxmlformats.org/officeDocument/2006/relationships/slideLayout" Target="../slideLayouts/slideLayout223.xml"/><Relationship Id="rId70" Type="http://schemas.openxmlformats.org/officeDocument/2006/relationships/slideLayout" Target="../slideLayouts/slideLayout231.xml"/><Relationship Id="rId75" Type="http://schemas.openxmlformats.org/officeDocument/2006/relationships/theme" Target="../theme/theme4.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49" Type="http://schemas.openxmlformats.org/officeDocument/2006/relationships/slideLayout" Target="../slideLayouts/slideLayout210.xml"/><Relationship Id="rId57" Type="http://schemas.openxmlformats.org/officeDocument/2006/relationships/slideLayout" Target="../slideLayouts/slideLayout218.xml"/><Relationship Id="rId10" Type="http://schemas.openxmlformats.org/officeDocument/2006/relationships/slideLayout" Target="../slideLayouts/slideLayout171.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52" Type="http://schemas.openxmlformats.org/officeDocument/2006/relationships/slideLayout" Target="../slideLayouts/slideLayout213.xml"/><Relationship Id="rId60" Type="http://schemas.openxmlformats.org/officeDocument/2006/relationships/slideLayout" Target="../slideLayouts/slideLayout221.xml"/><Relationship Id="rId65" Type="http://schemas.openxmlformats.org/officeDocument/2006/relationships/slideLayout" Target="../slideLayouts/slideLayout226.xml"/><Relationship Id="rId73" Type="http://schemas.openxmlformats.org/officeDocument/2006/relationships/slideLayout" Target="../slideLayouts/slideLayout234.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9" Type="http://schemas.openxmlformats.org/officeDocument/2006/relationships/slideLayout" Target="../slideLayouts/slideLayout200.xml"/><Relationship Id="rId34" Type="http://schemas.openxmlformats.org/officeDocument/2006/relationships/slideLayout" Target="../slideLayouts/slideLayout195.xml"/><Relationship Id="rId50" Type="http://schemas.openxmlformats.org/officeDocument/2006/relationships/slideLayout" Target="../slideLayouts/slideLayout211.xml"/><Relationship Id="rId55" Type="http://schemas.openxmlformats.org/officeDocument/2006/relationships/slideLayout" Target="../slideLayouts/slideLayout216.xml"/><Relationship Id="rId76" Type="http://schemas.openxmlformats.org/officeDocument/2006/relationships/image" Target="../media/image40.png"/><Relationship Id="rId7" Type="http://schemas.openxmlformats.org/officeDocument/2006/relationships/slideLayout" Target="../slideLayouts/slideLayout168.xml"/><Relationship Id="rId71" Type="http://schemas.openxmlformats.org/officeDocument/2006/relationships/slideLayout" Target="../slideLayouts/slideLayout232.xml"/><Relationship Id="rId2" Type="http://schemas.openxmlformats.org/officeDocument/2006/relationships/slideLayout" Target="../slideLayouts/slideLayout163.xml"/><Relationship Id="rId29"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8F3">
            <a:alpha val="20000"/>
          </a:srgb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1886" y="457200"/>
            <a:ext cx="10436354"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873759" y="1241881"/>
            <a:ext cx="10436354" cy="140346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9270353"/>
      </p:ext>
    </p:extLst>
  </p:cSld>
  <p:clrMap bg1="lt1" tx1="dk1" bg2="lt2" tx2="dk2" accent1="accent1" accent2="accent2" accent3="accent3" accent4="accent4" accent5="accent5" accent6="accent6" hlink="hlink" folHlink="folHlink"/>
  <p:sldLayoutIdLst>
    <p:sldLayoutId id="2147483666" r:id="rId1"/>
    <p:sldLayoutId id="2147483671" r:id="rId2"/>
    <p:sldLayoutId id="2147483892" r:id="rId3"/>
    <p:sldLayoutId id="2147483893"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7" r:id="rId18"/>
    <p:sldLayoutId id="2147483689" r:id="rId19"/>
    <p:sldLayoutId id="2147483690" r:id="rId20"/>
    <p:sldLayoutId id="2147483691" r:id="rId21"/>
    <p:sldLayoutId id="2147483692"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2" r:id="rId38"/>
    <p:sldLayoutId id="2147483717" r:id="rId39"/>
    <p:sldLayoutId id="2147483718" r:id="rId40"/>
    <p:sldLayoutId id="2147483723" r:id="rId41"/>
    <p:sldLayoutId id="2147483727" r:id="rId42"/>
    <p:sldLayoutId id="2147483728" r:id="rId43"/>
    <p:sldLayoutId id="2147483729" r:id="rId44"/>
    <p:sldLayoutId id="2147483730" r:id="rId45"/>
    <p:sldLayoutId id="2147483731" r:id="rId46"/>
    <p:sldLayoutId id="2147483805" r:id="rId47"/>
    <p:sldLayoutId id="2147483806" r:id="rId48"/>
    <p:sldLayoutId id="2147483891" r:id="rId49"/>
    <p:sldLayoutId id="2147483954" r:id="rId50"/>
    <p:sldLayoutId id="2147483955"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30549816"/>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 id="2147483917" r:id="rId23"/>
    <p:sldLayoutId id="2147483918" r:id="rId24"/>
    <p:sldLayoutId id="2147483919" r:id="rId25"/>
    <p:sldLayoutId id="2147483920" r:id="rId26"/>
    <p:sldLayoutId id="2147483921" r:id="rId27"/>
    <p:sldLayoutId id="2147483922" r:id="rId28"/>
    <p:sldLayoutId id="2147483923" r:id="rId29"/>
    <p:sldLayoutId id="2147483924" r:id="rId30"/>
    <p:sldLayoutId id="2147483925" r:id="rId31"/>
    <p:sldLayoutId id="2147483926" r:id="rId32"/>
    <p:sldLayoutId id="2147483927" r:id="rId33"/>
    <p:sldLayoutId id="2147483928" r:id="rId34"/>
    <p:sldLayoutId id="2147483929" r:id="rId35"/>
    <p:sldLayoutId id="2147483930" r:id="rId36"/>
    <p:sldLayoutId id="2147483931" r:id="rId37"/>
    <p:sldLayoutId id="2147483932" r:id="rId38"/>
    <p:sldLayoutId id="2147483933" r:id="rId39"/>
    <p:sldLayoutId id="2147483934" r:id="rId40"/>
    <p:sldLayoutId id="2147483935" r:id="rId41"/>
    <p:sldLayoutId id="2147483936" r:id="rId42"/>
    <p:sldLayoutId id="2147483937" r:id="rId43"/>
    <p:sldLayoutId id="2147483938" r:id="rId44"/>
    <p:sldLayoutId id="2147483939" r:id="rId45"/>
    <p:sldLayoutId id="2147483940" r:id="rId46"/>
    <p:sldLayoutId id="2147483941" r:id="rId47"/>
    <p:sldLayoutId id="2147483942" r:id="rId48"/>
    <p:sldLayoutId id="2147483943" r:id="rId49"/>
    <p:sldLayoutId id="2147483944" r:id="rId50"/>
    <p:sldLayoutId id="2147483945" r:id="rId51"/>
    <p:sldLayoutId id="2147483946" r:id="rId52"/>
    <p:sldLayoutId id="2147483947" r:id="rId53"/>
    <p:sldLayoutId id="2147483948" r:id="rId54"/>
    <p:sldLayoutId id="2147483949" r:id="rId55"/>
    <p:sldLayoutId id="2147483950" r:id="rId56"/>
    <p:sldLayoutId id="2147483951" r:id="rId57"/>
    <p:sldLayoutId id="2147483952" r:id="rId58"/>
    <p:sldLayoutId id="2147483953" r:id="rId59"/>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8F3">
            <a:alpha val="20000"/>
          </a:srgb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1886" y="457200"/>
            <a:ext cx="10436354"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873759" y="1241881"/>
            <a:ext cx="10436354" cy="140346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34435735"/>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 id="2147484007"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6">
            <a:extLst>
              <a:ext uri="{96DAC541-7B7A-43D3-8B79-37D633B846F1}">
                <asvg:svgBlip xmlns:asvg="http://schemas.microsoft.com/office/drawing/2016/SVG/main" r:embed="rId7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48538349"/>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38" r:id="rId30"/>
    <p:sldLayoutId id="2147484039" r:id="rId31"/>
    <p:sldLayoutId id="2147484040" r:id="rId32"/>
    <p:sldLayoutId id="2147484041" r:id="rId33"/>
    <p:sldLayoutId id="2147484042" r:id="rId34"/>
    <p:sldLayoutId id="2147484043" r:id="rId35"/>
    <p:sldLayoutId id="2147484044" r:id="rId36"/>
    <p:sldLayoutId id="2147484045" r:id="rId37"/>
    <p:sldLayoutId id="2147484046" r:id="rId38"/>
    <p:sldLayoutId id="2147484047" r:id="rId39"/>
    <p:sldLayoutId id="2147484048" r:id="rId40"/>
    <p:sldLayoutId id="2147484049" r:id="rId41"/>
    <p:sldLayoutId id="2147484050" r:id="rId42"/>
    <p:sldLayoutId id="2147484051" r:id="rId43"/>
    <p:sldLayoutId id="2147484052" r:id="rId44"/>
    <p:sldLayoutId id="2147484053" r:id="rId45"/>
    <p:sldLayoutId id="2147484054" r:id="rId46"/>
    <p:sldLayoutId id="2147484055" r:id="rId47"/>
    <p:sldLayoutId id="2147484056" r:id="rId48"/>
    <p:sldLayoutId id="2147484057" r:id="rId49"/>
    <p:sldLayoutId id="2147484058" r:id="rId50"/>
    <p:sldLayoutId id="2147484059" r:id="rId51"/>
    <p:sldLayoutId id="2147484060" r:id="rId52"/>
    <p:sldLayoutId id="2147484061" r:id="rId53"/>
    <p:sldLayoutId id="2147484062" r:id="rId54"/>
    <p:sldLayoutId id="2147484063" r:id="rId55"/>
    <p:sldLayoutId id="2147484064" r:id="rId56"/>
    <p:sldLayoutId id="2147484065" r:id="rId57"/>
    <p:sldLayoutId id="2147484066" r:id="rId58"/>
    <p:sldLayoutId id="2147484067" r:id="rId59"/>
    <p:sldLayoutId id="2147484068" r:id="rId60"/>
    <p:sldLayoutId id="2147484069" r:id="rId61"/>
    <p:sldLayoutId id="2147484070" r:id="rId62"/>
    <p:sldLayoutId id="2147484071" r:id="rId63"/>
    <p:sldLayoutId id="2147484072" r:id="rId64"/>
    <p:sldLayoutId id="2147484073" r:id="rId65"/>
    <p:sldLayoutId id="2147484074" r:id="rId66"/>
    <p:sldLayoutId id="2147484075" r:id="rId67"/>
    <p:sldLayoutId id="2147484076" r:id="rId68"/>
    <p:sldLayoutId id="2147484077" r:id="rId69"/>
    <p:sldLayoutId id="2147484078" r:id="rId70"/>
    <p:sldLayoutId id="2147484079" r:id="rId71"/>
    <p:sldLayoutId id="2147484080" r:id="rId72"/>
    <p:sldLayoutId id="2147484081" r:id="rId73"/>
    <p:sldLayoutId id="2147484082"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80.png"/></Relationships>
</file>

<file path=ppt/slides/_rels/slide10.xml.rels><?xml version="1.0" encoding="UTF-8" standalone="yes"?>
<Relationships xmlns="http://schemas.openxmlformats.org/package/2006/relationships"><Relationship Id="rId13" Type="http://schemas.openxmlformats.org/officeDocument/2006/relationships/image" Target="../media/image113.png"/><Relationship Id="rId18" Type="http://schemas.openxmlformats.org/officeDocument/2006/relationships/image" Target="../media/image118.png"/><Relationship Id="rId26" Type="http://schemas.openxmlformats.org/officeDocument/2006/relationships/image" Target="../media/image126.png"/><Relationship Id="rId39" Type="http://schemas.openxmlformats.org/officeDocument/2006/relationships/image" Target="../media/image139.png"/><Relationship Id="rId21" Type="http://schemas.openxmlformats.org/officeDocument/2006/relationships/image" Target="../media/image121.png"/><Relationship Id="rId34" Type="http://schemas.openxmlformats.org/officeDocument/2006/relationships/image" Target="../media/image134.png"/><Relationship Id="rId42" Type="http://schemas.openxmlformats.org/officeDocument/2006/relationships/image" Target="../media/image142.png"/><Relationship Id="rId47" Type="http://schemas.openxmlformats.org/officeDocument/2006/relationships/image" Target="../media/image147.png"/><Relationship Id="rId50" Type="http://schemas.openxmlformats.org/officeDocument/2006/relationships/image" Target="../media/image150.png"/><Relationship Id="rId55" Type="http://schemas.openxmlformats.org/officeDocument/2006/relationships/image" Target="../media/image155.png"/><Relationship Id="rId7" Type="http://schemas.openxmlformats.org/officeDocument/2006/relationships/image" Target="../media/image107.png"/><Relationship Id="rId2" Type="http://schemas.openxmlformats.org/officeDocument/2006/relationships/notesSlide" Target="../notesSlides/notesSlide2.xml"/><Relationship Id="rId16" Type="http://schemas.openxmlformats.org/officeDocument/2006/relationships/image" Target="../media/image116.png"/><Relationship Id="rId29" Type="http://schemas.openxmlformats.org/officeDocument/2006/relationships/image" Target="../media/image129.png"/><Relationship Id="rId11" Type="http://schemas.openxmlformats.org/officeDocument/2006/relationships/image" Target="../media/image111.png"/><Relationship Id="rId24" Type="http://schemas.openxmlformats.org/officeDocument/2006/relationships/image" Target="../media/image124.png"/><Relationship Id="rId32" Type="http://schemas.openxmlformats.org/officeDocument/2006/relationships/image" Target="../media/image132.png"/><Relationship Id="rId37" Type="http://schemas.openxmlformats.org/officeDocument/2006/relationships/image" Target="../media/image137.png"/><Relationship Id="rId40" Type="http://schemas.openxmlformats.org/officeDocument/2006/relationships/image" Target="../media/image140.png"/><Relationship Id="rId45" Type="http://schemas.openxmlformats.org/officeDocument/2006/relationships/image" Target="../media/image145.png"/><Relationship Id="rId53" Type="http://schemas.openxmlformats.org/officeDocument/2006/relationships/image" Target="../media/image153.png"/><Relationship Id="rId58" Type="http://schemas.openxmlformats.org/officeDocument/2006/relationships/image" Target="../media/image158.png"/><Relationship Id="rId5" Type="http://schemas.openxmlformats.org/officeDocument/2006/relationships/image" Target="../media/image105.png"/><Relationship Id="rId19" Type="http://schemas.openxmlformats.org/officeDocument/2006/relationships/image" Target="../media/image119.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4.png"/><Relationship Id="rId22" Type="http://schemas.openxmlformats.org/officeDocument/2006/relationships/image" Target="../media/image122.png"/><Relationship Id="rId27" Type="http://schemas.openxmlformats.org/officeDocument/2006/relationships/image" Target="../media/image127.png"/><Relationship Id="rId30" Type="http://schemas.openxmlformats.org/officeDocument/2006/relationships/image" Target="../media/image130.png"/><Relationship Id="rId35" Type="http://schemas.openxmlformats.org/officeDocument/2006/relationships/image" Target="../media/image135.png"/><Relationship Id="rId43" Type="http://schemas.openxmlformats.org/officeDocument/2006/relationships/image" Target="../media/image143.png"/><Relationship Id="rId48" Type="http://schemas.openxmlformats.org/officeDocument/2006/relationships/image" Target="../media/image148.png"/><Relationship Id="rId56" Type="http://schemas.openxmlformats.org/officeDocument/2006/relationships/image" Target="../media/image156.png"/><Relationship Id="rId8" Type="http://schemas.openxmlformats.org/officeDocument/2006/relationships/image" Target="../media/image108.png"/><Relationship Id="rId51" Type="http://schemas.openxmlformats.org/officeDocument/2006/relationships/image" Target="../media/image151.png"/><Relationship Id="rId3" Type="http://schemas.microsoft.com/office/2018/10/relationships/comments" Target="../comments/modernComment_1D0_6905703C.xml"/><Relationship Id="rId12" Type="http://schemas.openxmlformats.org/officeDocument/2006/relationships/image" Target="../media/image112.png"/><Relationship Id="rId17" Type="http://schemas.openxmlformats.org/officeDocument/2006/relationships/image" Target="../media/image117.png"/><Relationship Id="rId25" Type="http://schemas.openxmlformats.org/officeDocument/2006/relationships/image" Target="../media/image125.png"/><Relationship Id="rId33" Type="http://schemas.openxmlformats.org/officeDocument/2006/relationships/image" Target="../media/image133.png"/><Relationship Id="rId38" Type="http://schemas.openxmlformats.org/officeDocument/2006/relationships/image" Target="../media/image138.png"/><Relationship Id="rId46" Type="http://schemas.openxmlformats.org/officeDocument/2006/relationships/image" Target="../media/image146.png"/><Relationship Id="rId20" Type="http://schemas.openxmlformats.org/officeDocument/2006/relationships/image" Target="../media/image120.png"/><Relationship Id="rId41" Type="http://schemas.openxmlformats.org/officeDocument/2006/relationships/image" Target="../media/image141.png"/><Relationship Id="rId54" Type="http://schemas.openxmlformats.org/officeDocument/2006/relationships/image" Target="../media/image154.png"/><Relationship Id="rId1" Type="http://schemas.openxmlformats.org/officeDocument/2006/relationships/slideLayout" Target="../slideLayouts/slideLayout123.xml"/><Relationship Id="rId6" Type="http://schemas.openxmlformats.org/officeDocument/2006/relationships/image" Target="../media/image106.png"/><Relationship Id="rId15" Type="http://schemas.openxmlformats.org/officeDocument/2006/relationships/image" Target="../media/image115.png"/><Relationship Id="rId23" Type="http://schemas.openxmlformats.org/officeDocument/2006/relationships/image" Target="../media/image123.png"/><Relationship Id="rId28" Type="http://schemas.openxmlformats.org/officeDocument/2006/relationships/image" Target="../media/image128.png"/><Relationship Id="rId36" Type="http://schemas.openxmlformats.org/officeDocument/2006/relationships/image" Target="../media/image136.png"/><Relationship Id="rId49" Type="http://schemas.openxmlformats.org/officeDocument/2006/relationships/image" Target="../media/image149.png"/><Relationship Id="rId57" Type="http://schemas.openxmlformats.org/officeDocument/2006/relationships/image" Target="../media/image157.png"/><Relationship Id="rId10" Type="http://schemas.openxmlformats.org/officeDocument/2006/relationships/image" Target="../media/image110.png"/><Relationship Id="rId31" Type="http://schemas.openxmlformats.org/officeDocument/2006/relationships/image" Target="../media/image131.png"/><Relationship Id="rId44" Type="http://schemas.openxmlformats.org/officeDocument/2006/relationships/image" Target="../media/image144.png"/><Relationship Id="rId52" Type="http://schemas.openxmlformats.org/officeDocument/2006/relationships/image" Target="../media/image152.png"/></Relationships>
</file>

<file path=ppt/slides/_rels/slide1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xml"/><Relationship Id="rId1" Type="http://schemas.openxmlformats.org/officeDocument/2006/relationships/slideLayout" Target="../slideLayouts/slideLayout151.xml"/><Relationship Id="rId4" Type="http://schemas.openxmlformats.org/officeDocument/2006/relationships/image" Target="../media/image160.svg"/></Relationships>
</file>

<file path=ppt/slides/_rels/slide12.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14.xml.rels><?xml version="1.0" encoding="UTF-8" standalone="yes"?>
<Relationships xmlns="http://schemas.openxmlformats.org/package/2006/relationships"><Relationship Id="rId2" Type="http://schemas.openxmlformats.org/officeDocument/2006/relationships/hyperlink" Target="https://msportals.io/" TargetMode="External"/><Relationship Id="rId1" Type="http://schemas.openxmlformats.org/officeDocument/2006/relationships/slideLayout" Target="../slideLayouts/slideLayout15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2.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image" Target="../media/image81.jp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173.svg"/><Relationship Id="rId3" Type="http://schemas.openxmlformats.org/officeDocument/2006/relationships/image" Target="../media/image163.svg"/><Relationship Id="rId7" Type="http://schemas.openxmlformats.org/officeDocument/2006/relationships/image" Target="../media/image167.svg"/><Relationship Id="rId12" Type="http://schemas.openxmlformats.org/officeDocument/2006/relationships/image" Target="../media/image172.png"/><Relationship Id="rId2" Type="http://schemas.openxmlformats.org/officeDocument/2006/relationships/image" Target="../media/image162.png"/><Relationship Id="rId1" Type="http://schemas.openxmlformats.org/officeDocument/2006/relationships/slideLayout" Target="../slideLayouts/slideLayout123.xml"/><Relationship Id="rId6" Type="http://schemas.openxmlformats.org/officeDocument/2006/relationships/image" Target="../media/image166.png"/><Relationship Id="rId11" Type="http://schemas.openxmlformats.org/officeDocument/2006/relationships/image" Target="../media/image171.svg"/><Relationship Id="rId5" Type="http://schemas.openxmlformats.org/officeDocument/2006/relationships/image" Target="../media/image165.svg"/><Relationship Id="rId10" Type="http://schemas.openxmlformats.org/officeDocument/2006/relationships/image" Target="../media/image170.png"/><Relationship Id="rId4" Type="http://schemas.openxmlformats.org/officeDocument/2006/relationships/image" Target="../media/image164.png"/><Relationship Id="rId9" Type="http://schemas.openxmlformats.org/officeDocument/2006/relationships/image" Target="../media/image169.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23.xml.rels><?xml version="1.0" encoding="UTF-8" standalone="yes"?>
<Relationships xmlns="http://schemas.openxmlformats.org/package/2006/relationships"><Relationship Id="rId3" Type="http://schemas.openxmlformats.org/officeDocument/2006/relationships/image" Target="../media/image174.emf"/><Relationship Id="rId2" Type="http://schemas.openxmlformats.org/officeDocument/2006/relationships/notesSlide" Target="../notesSlides/notesSlide4.xml"/><Relationship Id="rId1" Type="http://schemas.openxmlformats.org/officeDocument/2006/relationships/slideLayout" Target="../slideLayouts/slideLayout151.xml"/></Relationships>
</file>

<file path=ppt/slides/_rels/slide24.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5.xml"/><Relationship Id="rId1" Type="http://schemas.openxmlformats.org/officeDocument/2006/relationships/slideLayout" Target="../slideLayouts/slideLayout151.xml"/><Relationship Id="rId4" Type="http://schemas.openxmlformats.org/officeDocument/2006/relationships/image" Target="../media/image1340.png"/></Relationships>
</file>

<file path=ppt/slides/_rels/slide2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6.xml"/><Relationship Id="rId1" Type="http://schemas.openxmlformats.org/officeDocument/2006/relationships/slideLayout" Target="../slideLayouts/slideLayout123.xml"/><Relationship Id="rId5" Type="http://schemas.openxmlformats.org/officeDocument/2006/relationships/image" Target="../media/image177.png"/><Relationship Id="rId4" Type="http://schemas.openxmlformats.org/officeDocument/2006/relationships/image" Target="../media/image176.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8.xml"/><Relationship Id="rId1" Type="http://schemas.openxmlformats.org/officeDocument/2006/relationships/slideLayout" Target="../slideLayouts/slideLayout114.xml"/><Relationship Id="rId4" Type="http://schemas.openxmlformats.org/officeDocument/2006/relationships/hyperlink" Target="https://aka.ms/edu/governance"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azure.microsoft.com/en-us/documentation/articles/azure-subscription-service-limits/" TargetMode="External"/><Relationship Id="rId2" Type="http://schemas.openxmlformats.org/officeDocument/2006/relationships/notesSlide" Target="../notesSlides/notesSlide9.xml"/><Relationship Id="rId1" Type="http://schemas.openxmlformats.org/officeDocument/2006/relationships/slideLayout" Target="../slideLayouts/slideLayout123.xml"/><Relationship Id="rId5" Type="http://schemas.openxmlformats.org/officeDocument/2006/relationships/image" Target="../media/image180.svg"/><Relationship Id="rId4" Type="http://schemas.openxmlformats.org/officeDocument/2006/relationships/image" Target="../media/image17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5.xml"/></Relationships>
</file>

<file path=ppt/slides/_rels/slide34.xml.rels><?xml version="1.0" encoding="UTF-8" standalone="yes"?>
<Relationships xmlns="http://schemas.openxmlformats.org/package/2006/relationships"><Relationship Id="rId3" Type="http://schemas.openxmlformats.org/officeDocument/2006/relationships/hyperlink" Target="https://aka.ms/edu/limits" TargetMode="External"/><Relationship Id="rId2" Type="http://schemas.openxmlformats.org/officeDocument/2006/relationships/notesSlide" Target="../notesSlides/notesSlide11.xml"/><Relationship Id="rId1" Type="http://schemas.openxmlformats.org/officeDocument/2006/relationships/slideLayout" Target="../slideLayouts/slideLayout15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8.xml"/></Relationships>
</file>

<file path=ppt/slides/_rels/slide3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xml"/><Relationship Id="rId1" Type="http://schemas.openxmlformats.org/officeDocument/2006/relationships/slideLayout" Target="../slideLayouts/slideLayout15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3.xml"/></Relationships>
</file>

<file path=ppt/slides/_rels/slide38.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notesSlide" Target="../notesSlides/notesSlide15.xml"/><Relationship Id="rId1" Type="http://schemas.openxmlformats.org/officeDocument/2006/relationships/slideLayout" Target="../slideLayouts/slideLayout123.xml"/><Relationship Id="rId5" Type="http://schemas.openxmlformats.org/officeDocument/2006/relationships/image" Target="../media/image184.jpeg"/><Relationship Id="rId4" Type="http://schemas.openxmlformats.org/officeDocument/2006/relationships/image" Target="../media/image18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2" Type="http://schemas.openxmlformats.org/officeDocument/2006/relationships/hyperlink" Target="https://docs.microsoft.com/en-us/azure/azure-resource-manager/resource-group-using-tags/" TargetMode="External"/><Relationship Id="rId1" Type="http://schemas.openxmlformats.org/officeDocument/2006/relationships/slideLayout" Target="../slideLayouts/slideLayout15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47.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8.xml"/><Relationship Id="rId1" Type="http://schemas.openxmlformats.org/officeDocument/2006/relationships/slideLayout" Target="../slideLayouts/slideLayout160.xml"/><Relationship Id="rId4" Type="http://schemas.openxmlformats.org/officeDocument/2006/relationships/image" Target="../media/image186.svg"/></Relationships>
</file>

<file path=ppt/slides/_rels/slide48.xml.rels><?xml version="1.0" encoding="UTF-8" standalone="yes"?>
<Relationships xmlns="http://schemas.openxmlformats.org/package/2006/relationships"><Relationship Id="rId3" Type="http://schemas.openxmlformats.org/officeDocument/2006/relationships/image" Target="../media/image187.emf"/><Relationship Id="rId2" Type="http://schemas.openxmlformats.org/officeDocument/2006/relationships/notesSlide" Target="../notesSlides/notesSlide19.xml"/><Relationship Id="rId1" Type="http://schemas.openxmlformats.org/officeDocument/2006/relationships/slideLayout" Target="../slideLayouts/slideLayout160.xml"/></Relationships>
</file>

<file path=ppt/slides/_rels/slide4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20.xml"/><Relationship Id="rId1" Type="http://schemas.openxmlformats.org/officeDocument/2006/relationships/slideLayout" Target="../slideLayouts/slideLayout16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2.xml.rels><?xml version="1.0" encoding="UTF-8" standalone="yes"?>
<Relationships xmlns="http://schemas.openxmlformats.org/package/2006/relationships"><Relationship Id="rId8" Type="http://schemas.openxmlformats.org/officeDocument/2006/relationships/image" Target="../media/image195.png"/><Relationship Id="rId13" Type="http://schemas.openxmlformats.org/officeDocument/2006/relationships/image" Target="../media/image200.png"/><Relationship Id="rId3" Type="http://schemas.openxmlformats.org/officeDocument/2006/relationships/image" Target="../media/image190.png"/><Relationship Id="rId7" Type="http://schemas.openxmlformats.org/officeDocument/2006/relationships/image" Target="../media/image194.png"/><Relationship Id="rId12" Type="http://schemas.openxmlformats.org/officeDocument/2006/relationships/image" Target="../media/image199.png"/><Relationship Id="rId2" Type="http://schemas.openxmlformats.org/officeDocument/2006/relationships/image" Target="../media/image189.png"/><Relationship Id="rId1" Type="http://schemas.openxmlformats.org/officeDocument/2006/relationships/slideLayout" Target="../slideLayouts/slideLayout161.xml"/><Relationship Id="rId6" Type="http://schemas.openxmlformats.org/officeDocument/2006/relationships/image" Target="../media/image193.png"/><Relationship Id="rId11" Type="http://schemas.openxmlformats.org/officeDocument/2006/relationships/image" Target="../media/image198.png"/><Relationship Id="rId5" Type="http://schemas.openxmlformats.org/officeDocument/2006/relationships/image" Target="../media/image192.png"/><Relationship Id="rId10" Type="http://schemas.openxmlformats.org/officeDocument/2006/relationships/image" Target="../media/image197.png"/><Relationship Id="rId4" Type="http://schemas.openxmlformats.org/officeDocument/2006/relationships/image" Target="../media/image191.png"/><Relationship Id="rId9" Type="http://schemas.openxmlformats.org/officeDocument/2006/relationships/image" Target="../media/image196.png"/><Relationship Id="rId14" Type="http://schemas.openxmlformats.org/officeDocument/2006/relationships/image" Target="../media/image201.pn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xml"/><Relationship Id="rId1" Type="http://schemas.openxmlformats.org/officeDocument/2006/relationships/slideLayout" Target="../slideLayouts/slideLayout1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3B669-2341-DF39-C682-5CB469879095}"/>
              </a:ext>
            </a:extLst>
          </p:cNvPr>
          <p:cNvSpPr>
            <a:spLocks noGrp="1"/>
          </p:cNvSpPr>
          <p:nvPr>
            <p:ph type="title"/>
          </p:nvPr>
        </p:nvSpPr>
        <p:spPr>
          <a:xfrm>
            <a:off x="584201" y="2025651"/>
            <a:ext cx="4161981" cy="1107996"/>
          </a:xfrm>
        </p:spPr>
        <p:txBody>
          <a:bodyPr wrap="square" anchor="b">
            <a:normAutofit/>
          </a:bodyPr>
          <a:lstStyle/>
          <a:p>
            <a:r>
              <a:rPr lang="en-US"/>
              <a:t>Azure Primer</a:t>
            </a:r>
          </a:p>
        </p:txBody>
      </p:sp>
      <p:sp>
        <p:nvSpPr>
          <p:cNvPr id="3" name="Subtitle 2">
            <a:extLst>
              <a:ext uri="{FF2B5EF4-FFF2-40B4-BE49-F238E27FC236}">
                <a16:creationId xmlns:a16="http://schemas.microsoft.com/office/drawing/2014/main" id="{B7806C1F-6D02-FA11-F860-B05CFAC0C160}"/>
              </a:ext>
            </a:extLst>
          </p:cNvPr>
          <p:cNvSpPr>
            <a:spLocks noGrp="1"/>
          </p:cNvSpPr>
          <p:nvPr>
            <p:ph type="body" sz="quarter" idx="10"/>
          </p:nvPr>
        </p:nvSpPr>
        <p:spPr>
          <a:xfrm>
            <a:off x="584200" y="3535542"/>
            <a:ext cx="4162425" cy="307777"/>
          </a:xfrm>
        </p:spPr>
        <p:txBody>
          <a:bodyPr wrap="square">
            <a:normAutofit/>
          </a:bodyPr>
          <a:lstStyle/>
          <a:p>
            <a:pPr>
              <a:lnSpc>
                <a:spcPct val="90000"/>
              </a:lnSpc>
            </a:pPr>
            <a:r>
              <a:rPr lang="en-US" sz="1100" dirty="0"/>
              <a:t>You can’t put applications on bare metal…  You need a primer coat first.</a:t>
            </a:r>
          </a:p>
        </p:txBody>
      </p:sp>
      <p:pic>
        <p:nvPicPr>
          <p:cNvPr id="5" name="Video 4" descr="Painting Blue Paint">
            <a:extLst>
              <a:ext uri="{FF2B5EF4-FFF2-40B4-BE49-F238E27FC236}">
                <a16:creationId xmlns:a16="http://schemas.microsoft.com/office/drawing/2014/main" id="{A16BA2D5-C828-E98D-3986-546883B3543A}"/>
              </a:ext>
            </a:extLst>
          </p:cNvPr>
          <p:cNvPicPr>
            <a:picLocks noChangeAspect="1"/>
          </p:cNvPicPr>
          <p:nvPr>
            <a:videoFile r:link="rId2"/>
            <p:extLst>
              <p:ext uri="{DAA4B4D4-6D71-4841-9C94-3DE7FCFB9230}">
                <p14:media xmlns:p14="http://schemas.microsoft.com/office/powerpoint/2010/main" r:embed="rId1"/>
              </p:ext>
            </p:extLst>
          </p:nvPr>
        </p:nvPicPr>
        <p:blipFill>
          <a:blip r:embed="rId4"/>
          <a:srcRect l="43590" r="-1" b="-1"/>
          <a:stretch/>
        </p:blipFill>
        <p:spPr>
          <a:xfrm>
            <a:off x="5334001" y="10"/>
            <a:ext cx="6858000" cy="6857990"/>
          </a:xfrm>
          <a:prstGeom prst="rect">
            <a:avLst/>
          </a:prstGeom>
          <a:noFill/>
        </p:spPr>
      </p:pic>
    </p:spTree>
    <p:extLst>
      <p:ext uri="{BB962C8B-B14F-4D97-AF65-F5344CB8AC3E}">
        <p14:creationId xmlns:p14="http://schemas.microsoft.com/office/powerpoint/2010/main" val="4018952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89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mute="1">
                <p:cTn id="12" repeatCount="indefinite" fill="hold" display="0">
                  <p:stCondLst>
                    <p:cond delay="indefinite"/>
                  </p:stCondLst>
                </p:cTn>
                <p:tgtEl>
                  <p:spTgt spid="5"/>
                </p:tgtEl>
              </p:cMediaNode>
            </p:vide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865" y="974"/>
            <a:ext cx="12190271" cy="6933147"/>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defRPr/>
            </a:pPr>
            <a:endParaRPr lang="en-US" sz="1961">
              <a:gradFill>
                <a:gsLst>
                  <a:gs pos="16814">
                    <a:srgbClr val="FFFFFF"/>
                  </a:gs>
                  <a:gs pos="46000">
                    <a:srgbClr val="FFFFFF"/>
                  </a:gs>
                </a:gsLst>
                <a:lin ang="5400000" scaled="0"/>
              </a:gradFill>
              <a:latin typeface="Segoe UI"/>
            </a:endParaRPr>
          </a:p>
        </p:txBody>
      </p:sp>
      <p:sp>
        <p:nvSpPr>
          <p:cNvPr id="78" name="Rectangle 77"/>
          <p:cNvSpPr/>
          <p:nvPr/>
        </p:nvSpPr>
        <p:spPr bwMode="auto">
          <a:xfrm>
            <a:off x="125619" y="91611"/>
            <a:ext cx="11875812" cy="43769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371" b="1" kern="0">
                <a:solidFill>
                  <a:srgbClr val="FFFF00"/>
                </a:solidFill>
                <a:latin typeface="Segoe UI"/>
                <a:ea typeface="Segoe UI" pitchFamily="34" charset="0"/>
                <a:cs typeface="Segoe UI" pitchFamily="34" charset="0"/>
              </a:rPr>
              <a:t>Platform Services</a:t>
            </a:r>
          </a:p>
        </p:txBody>
      </p:sp>
      <p:sp>
        <p:nvSpPr>
          <p:cNvPr id="87" name="Rectangle 86"/>
          <p:cNvSpPr/>
          <p:nvPr/>
        </p:nvSpPr>
        <p:spPr bwMode="auto">
          <a:xfrm>
            <a:off x="865" y="4468521"/>
            <a:ext cx="12190271" cy="2404493"/>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89630"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371" b="1" kern="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5619" y="4834376"/>
            <a:ext cx="2577121" cy="77376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4" rIns="89630"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OS/Server Compute</a:t>
            </a:r>
          </a:p>
        </p:txBody>
      </p:sp>
      <p:sp>
        <p:nvSpPr>
          <p:cNvPr id="32" name="Rectangle 31"/>
          <p:cNvSpPr/>
          <p:nvPr/>
        </p:nvSpPr>
        <p:spPr bwMode="auto">
          <a:xfrm>
            <a:off x="2880368" y="4834376"/>
            <a:ext cx="2834867" cy="7741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4" rIns="89630"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39514" y="5734730"/>
            <a:ext cx="12391649" cy="1075690"/>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89630"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323" b="1" kern="0">
                <a:gradFill>
                  <a:gsLst>
                    <a:gs pos="0">
                      <a:srgbClr val="FFFFFF"/>
                    </a:gs>
                    <a:gs pos="100000">
                      <a:srgbClr val="FFFFFF"/>
                    </a:gs>
                  </a:gsLst>
                  <a:lin ang="5400000" scaled="0"/>
                </a:gradFill>
                <a:latin typeface="Segoe UI"/>
                <a:ea typeface="Segoe UI" pitchFamily="34" charset="0"/>
                <a:cs typeface="Segoe UI"/>
              </a:rPr>
              <a:t>Datacenter Infrastructure (63+ Regions, 200+ Datacenters)</a:t>
            </a:r>
          </a:p>
        </p:txBody>
      </p:sp>
      <p:grpSp>
        <p:nvGrpSpPr>
          <p:cNvPr id="5" name="Group 4"/>
          <p:cNvGrpSpPr/>
          <p:nvPr/>
        </p:nvGrpSpPr>
        <p:grpSpPr>
          <a:xfrm>
            <a:off x="-137625" y="6435820"/>
            <a:ext cx="12600768" cy="764842"/>
            <a:chOff x="-224921" y="6392494"/>
            <a:chExt cx="12855263" cy="780290"/>
          </a:xfrm>
        </p:grpSpPr>
        <p:pic>
          <p:nvPicPr>
            <p:cNvPr id="3" name="Picture 2"/>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53553" y="531462"/>
            <a:ext cx="2331354" cy="232313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913775" eaLnBrk="0" fontAlgn="base" hangingPunct="0">
                  <a:lnSpc>
                    <a:spcPts val="800"/>
                  </a:lnSpc>
                  <a:spcBef>
                    <a:spcPct val="0"/>
                  </a:spcBef>
                  <a:spcAft>
                    <a:spcPct val="0"/>
                  </a:spcAft>
                  <a:defRPr/>
                </a:pPr>
                <a:endPar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1976055" y="3533293"/>
            <a:ext cx="2049642" cy="823845"/>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140589" rIns="89630"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84">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84">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84">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775" eaLnBrk="0" fontAlgn="base" hangingPunct="0">
                  <a:lnSpc>
                    <a:spcPts val="800"/>
                  </a:lnSpc>
                  <a:spcBef>
                    <a:spcPct val="0"/>
                  </a:spcBef>
                  <a:spcAft>
                    <a:spcPct val="0"/>
                  </a:spcAft>
                  <a:defRPr/>
                </a:pPr>
                <a:r>
                  <a:rPr lang="en-US" sz="784">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59216" y="2072004"/>
            <a:ext cx="2145388" cy="1324275"/>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233548" y="531463"/>
            <a:ext cx="1538858" cy="402769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solidFill>
                  <a:srgbClr val="FFFFFF"/>
                </a:solidFill>
                <a:latin typeface="Segoe UI"/>
                <a:ea typeface="Segoe UI" pitchFamily="34" charset="0"/>
                <a:cs typeface="Segoe UI" pitchFamily="34" charset="0"/>
              </a:rPr>
              <a:t>Hybrid</a:t>
            </a:r>
          </a:p>
          <a:p>
            <a:pPr algn="ctr" defTabSz="895751" fontAlgn="base">
              <a:lnSpc>
                <a:spcPct val="90000"/>
              </a:lnSpc>
              <a:defRPr/>
            </a:pPr>
            <a:r>
              <a:rPr lang="en-US" sz="1175" b="1" kern="0">
                <a:solidFill>
                  <a:srgbClr val="FFFFFF"/>
                </a:solidFill>
                <a:latin typeface="Segoe UI"/>
                <a:ea typeface="Segoe UI" pitchFamily="34" charset="0"/>
                <a:cs typeface="Segoe UI" pitchFamily="34" charset="0"/>
              </a:rPr>
              <a:t>Operations</a:t>
            </a:r>
            <a:endParaRPr lang="en-US" sz="1273" b="1" kern="0">
              <a:solidFill>
                <a:srgbClr val="FFFFFF"/>
              </a:solidFill>
              <a:latin typeface="Segoe UI"/>
              <a:ea typeface="Segoe UI" pitchFamily="34" charset="0"/>
              <a:cs typeface="Segoe UI" pitchFamily="34" charset="0"/>
            </a:endParaRPr>
          </a:p>
        </p:txBody>
      </p:sp>
      <p:grpSp>
        <p:nvGrpSpPr>
          <p:cNvPr id="338" name="Group 337"/>
          <p:cNvGrpSpPr/>
          <p:nvPr/>
        </p:nvGrpSpPr>
        <p:grpSpPr>
          <a:xfrm>
            <a:off x="10486528" y="2452689"/>
            <a:ext cx="991232" cy="325652"/>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69662" y="4194324"/>
            <a:ext cx="985834" cy="324476"/>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775" eaLnBrk="0" fontAlgn="base" hangingPunct="0">
                <a:lnSpc>
                  <a:spcPts val="800"/>
                </a:lnSpc>
                <a:spcBef>
                  <a:spcPct val="0"/>
                </a:spcBef>
                <a:spcAft>
                  <a:spcPct val="0"/>
                </a:spcAft>
                <a:defRPr/>
              </a:pPr>
              <a:endPar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74480" y="3794807"/>
            <a:ext cx="983417" cy="338722"/>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88443" y="3359276"/>
            <a:ext cx="977239" cy="314806"/>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37" y="4834376"/>
            <a:ext cx="6167190" cy="7741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4" rIns="89630"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grpSp>
        <p:nvGrpSpPr>
          <p:cNvPr id="394" name="Group 393"/>
          <p:cNvGrpSpPr/>
          <p:nvPr/>
        </p:nvGrpSpPr>
        <p:grpSpPr>
          <a:xfrm>
            <a:off x="6609660" y="536118"/>
            <a:ext cx="3469662" cy="1720926"/>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35">
                    <a:solidFill>
                      <a:prstClr val="white"/>
                    </a:solidFill>
                    <a:latin typeface="Segoe UI Light"/>
                    <a:ea typeface="Arial Unicode MS"/>
                    <a:cs typeface="Segoe UI Light"/>
                  </a:rPr>
                  <a:t>Document DB</a:t>
                </a:r>
                <a:endPar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775" eaLnBrk="0" fontAlgn="base" hangingPunct="0">
                  <a:lnSpc>
                    <a:spcPts val="800"/>
                  </a:lnSpc>
                  <a:spcBef>
                    <a:spcPct val="0"/>
                  </a:spcBef>
                  <a:spcAft>
                    <a:spcPct val="0"/>
                  </a:spcAft>
                  <a:defRPr/>
                </a:pPr>
                <a:endPar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6"/>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5517" y="2667804"/>
            <a:ext cx="67690" cy="37957"/>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881">
              <a:defRPr/>
            </a:pPr>
            <a:endParaRPr lang="en-US">
              <a:solidFill>
                <a:srgbClr val="FFFFFF"/>
              </a:solidFill>
              <a:latin typeface="Segoe UI"/>
            </a:endParaRPr>
          </a:p>
        </p:txBody>
      </p:sp>
      <p:grpSp>
        <p:nvGrpSpPr>
          <p:cNvPr id="337" name="Group 336"/>
          <p:cNvGrpSpPr/>
          <p:nvPr/>
        </p:nvGrpSpPr>
        <p:grpSpPr>
          <a:xfrm>
            <a:off x="10506054" y="1132770"/>
            <a:ext cx="991259" cy="327700"/>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r>
                <a:rPr lang="en-US" sz="75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tra</a:t>
              </a: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ID </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31" y="5128722"/>
            <a:ext cx="826862" cy="339327"/>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367363" y="5115543"/>
            <a:ext cx="907187" cy="352422"/>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17926" rIns="0" bIns="89630"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761" y="5128725"/>
            <a:ext cx="897308" cy="35623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818" y="5128724"/>
            <a:ext cx="818688" cy="35623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Azure</a:t>
              </a:r>
            </a:p>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945" y="5128723"/>
            <a:ext cx="819670" cy="35623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Premium</a:t>
              </a:r>
            </a:p>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234" name="Picture 233" descr="Storage blob.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9271" y="5134624"/>
            <a:ext cx="792198" cy="34901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5890" y="1536949"/>
            <a:ext cx="952917" cy="337332"/>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2"/>
            <a:stretch>
              <a:fillRect/>
            </a:stretch>
          </p:blipFill>
          <p:spPr>
            <a:xfrm>
              <a:off x="11248838" y="2615973"/>
              <a:ext cx="245456" cy="317924"/>
            </a:xfrm>
            <a:prstGeom prst="rect">
              <a:avLst/>
            </a:prstGeom>
          </p:spPr>
        </p:pic>
      </p:grpSp>
      <p:grpSp>
        <p:nvGrpSpPr>
          <p:cNvPr id="238" name="Group 237"/>
          <p:cNvGrpSpPr/>
          <p:nvPr/>
        </p:nvGrpSpPr>
        <p:grpSpPr>
          <a:xfrm>
            <a:off x="9308082" y="5128397"/>
            <a:ext cx="903397" cy="339568"/>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264" y="5128397"/>
            <a:ext cx="853167" cy="339568"/>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35852"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App</a:t>
              </a:r>
            </a:p>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6129" y="2873928"/>
            <a:ext cx="981102" cy="307754"/>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1466" y="522792"/>
            <a:ext cx="2066424" cy="14046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4148323" y="2960463"/>
            <a:ext cx="2308861" cy="140461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17" rIns="0" bIns="0" rtlCol="0" anchor="t">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6403" y="5134624"/>
            <a:ext cx="844686" cy="34901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Container</a:t>
              </a:r>
            </a:p>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grpSp>
        </p:grpSp>
      </p:grpSp>
      <p:grpSp>
        <p:nvGrpSpPr>
          <p:cNvPr id="23" name="Group 22"/>
          <p:cNvGrpSpPr/>
          <p:nvPr/>
        </p:nvGrpSpPr>
        <p:grpSpPr>
          <a:xfrm>
            <a:off x="7657341" y="5128397"/>
            <a:ext cx="677618" cy="339568"/>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072" y="5128397"/>
            <a:ext cx="853167" cy="339568"/>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365" y="5128722"/>
            <a:ext cx="813196" cy="339327"/>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defTabSz="895751"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497219" y="2011700"/>
            <a:ext cx="992537" cy="315066"/>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613694" y="2422181"/>
            <a:ext cx="3644759" cy="194290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175" b="1" kern="0">
                  <a:gradFill>
                    <a:gsLst>
                      <a:gs pos="0">
                        <a:srgbClr val="FFFFFF"/>
                      </a:gs>
                      <a:gs pos="100000">
                        <a:srgbClr val="FFFFFF"/>
                      </a:gs>
                    </a:gsLst>
                    <a:lin ang="5400000" scaled="0"/>
                  </a:gradFill>
                  <a:latin typeface="Segoe UI"/>
                  <a:ea typeface="Segoe UI" pitchFamily="34" charset="0"/>
                  <a:cs typeface="Segoe UI" pitchFamily="34" charset="0"/>
                </a:rPr>
                <a:t>Analytics &amp; </a:t>
              </a:r>
              <a:r>
                <a:rPr lang="en-US" sz="1175" b="1" kern="0" err="1">
                  <a:gradFill>
                    <a:gsLst>
                      <a:gs pos="0">
                        <a:srgbClr val="FFFFFF"/>
                      </a:gs>
                      <a:gs pos="100000">
                        <a:srgbClr val="FFFFFF"/>
                      </a:gs>
                    </a:gsLst>
                    <a:lin ang="5400000" scaled="0"/>
                  </a:gradFill>
                  <a:latin typeface="Segoe UI"/>
                  <a:ea typeface="Segoe UI" pitchFamily="34" charset="0"/>
                  <a:cs typeface="Segoe UI" pitchFamily="34" charset="0"/>
                </a:rPr>
                <a:t>IoT</a:t>
              </a:r>
              <a:endParaRPr lang="en-US" sz="1175" b="1"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b="1">
                  <a:solidFill>
                    <a:srgbClr val="FFFFFF"/>
                  </a:solidFill>
                  <a:latin typeface="Segoe UI Ligh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48959" y="522792"/>
            <a:ext cx="1517074" cy="4071915"/>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751" fontAlgn="base">
              <a:lnSpc>
                <a:spcPct val="90000"/>
              </a:lnSpc>
              <a:defRPr/>
            </a:pPr>
            <a:r>
              <a:rPr lang="en-US" sz="1371" b="1" kern="0">
                <a:solidFill>
                  <a:srgbClr val="FFFFFF"/>
                </a:solidFill>
                <a:latin typeface="Segoe UI"/>
                <a:ea typeface="Segoe UI" pitchFamily="34" charset="0"/>
                <a:cs typeface="Segoe UI" pitchFamily="34" charset="0"/>
              </a:rPr>
              <a:t>Security &amp; Management</a:t>
            </a:r>
          </a:p>
        </p:txBody>
      </p:sp>
      <p:grpSp>
        <p:nvGrpSpPr>
          <p:cNvPr id="334" name="Group 333"/>
          <p:cNvGrpSpPr/>
          <p:nvPr/>
        </p:nvGrpSpPr>
        <p:grpSpPr>
          <a:xfrm>
            <a:off x="549220" y="1484826"/>
            <a:ext cx="992537" cy="315066"/>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r>
                <a:rPr lang="en-US" sz="75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tra</a:t>
              </a: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ID</a:t>
              </a:r>
            </a:p>
          </p:txBody>
        </p:sp>
        <p:pic>
          <p:nvPicPr>
            <p:cNvPr id="194" name="Picture 193" descr="Azure Active Directory.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9218" y="2297857"/>
            <a:ext cx="955279" cy="304864"/>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9220" y="2679125"/>
            <a:ext cx="988533" cy="330465"/>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9220" y="1106757"/>
            <a:ext cx="980333" cy="34116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9220" y="3441018"/>
            <a:ext cx="986735" cy="353303"/>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49219" y="3811290"/>
            <a:ext cx="1004365" cy="310992"/>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49220" y="4271147"/>
            <a:ext cx="988425" cy="303122"/>
            <a:chOff x="559429" y="4065187"/>
            <a:chExt cx="1008388" cy="309244"/>
          </a:xfrm>
        </p:grpSpPr>
        <p:pic>
          <p:nvPicPr>
            <p:cNvPr id="413" name="Picture 412"/>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49220" y="1867514"/>
            <a:ext cx="992537" cy="315066"/>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r>
                <a:rPr lang="en-US" sz="75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tra</a:t>
              </a: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ID</a:t>
              </a:r>
            </a:p>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22921" y="3046580"/>
            <a:ext cx="1005214" cy="326731"/>
            <a:chOff x="532599" y="3107117"/>
            <a:chExt cx="1025516" cy="333331"/>
          </a:xfrm>
        </p:grpSpPr>
        <p:pic>
          <p:nvPicPr>
            <p:cNvPr id="262" name="Picture 261"/>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spTree>
    <p:extLst>
      <p:ext uri="{BB962C8B-B14F-4D97-AF65-F5344CB8AC3E}">
        <p14:creationId xmlns:p14="http://schemas.microsoft.com/office/powerpoint/2010/main" val="17619640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94"/>
                                        </p:tgtEl>
                                        <p:attrNameLst>
                                          <p:attrName>style.visibility</p:attrName>
                                        </p:attrNameLst>
                                      </p:cBhvr>
                                      <p:to>
                                        <p:strVal val="visible"/>
                                      </p:to>
                                    </p:set>
                                    <p:animEffect transition="in" filter="fade">
                                      <p:cBhvr>
                                        <p:cTn id="104" dur="500"/>
                                        <p:tgtEl>
                                          <p:spTgt spid="394"/>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63"/>
                                        </p:tgtEl>
                                        <p:attrNameLst>
                                          <p:attrName>style.visibility</p:attrName>
                                        </p:attrNameLst>
                                      </p:cBhvr>
                                      <p:to>
                                        <p:strVal val="visible"/>
                                      </p:to>
                                    </p:set>
                                    <p:animEffect transition="in" filter="fade">
                                      <p:cBhvr>
                                        <p:cTn id="108" dur="500"/>
                                        <p:tgtEl>
                                          <p:spTgt spid="63"/>
                                        </p:tgtEl>
                                      </p:cBhvr>
                                    </p:animEffect>
                                  </p:childTnLst>
                                </p:cTn>
                              </p:par>
                            </p:childTnLst>
                          </p:cTn>
                        </p:par>
                        <p:par>
                          <p:cTn id="109" fill="hold">
                            <p:stCondLst>
                              <p:cond delay="4500"/>
                            </p:stCondLst>
                            <p:childTnLst>
                              <p:par>
                                <p:cTn id="110" presetID="22" presetClass="entr" presetSubtype="8" fill="hold" grpId="0" nodeType="afterEffect">
                                  <p:stCondLst>
                                    <p:cond delay="0"/>
                                  </p:stCondLst>
                                  <p:childTnLst>
                                    <p:set>
                                      <p:cBhvr>
                                        <p:cTn id="111" dur="1" fill="hold">
                                          <p:stCondLst>
                                            <p:cond delay="0"/>
                                          </p:stCondLst>
                                        </p:cTn>
                                        <p:tgtEl>
                                          <p:spTgt spid="75"/>
                                        </p:tgtEl>
                                        <p:attrNameLst>
                                          <p:attrName>style.visibility</p:attrName>
                                        </p:attrNameLst>
                                      </p:cBhvr>
                                      <p:to>
                                        <p:strVal val="visible"/>
                                      </p:to>
                                    </p:set>
                                    <p:animEffect transition="in" filter="wipe(left)">
                                      <p:cBhvr>
                                        <p:cTn id="112" dur="500"/>
                                        <p:tgtEl>
                                          <p:spTgt spid="75"/>
                                        </p:tgtEl>
                                      </p:cBhvr>
                                    </p:animEffect>
                                  </p:childTnLst>
                                </p:cTn>
                              </p:par>
                            </p:childTnLst>
                          </p:cTn>
                        </p:par>
                        <p:par>
                          <p:cTn id="113" fill="hold">
                            <p:stCondLst>
                              <p:cond delay="5000"/>
                            </p:stCondLst>
                            <p:childTnLst>
                              <p:par>
                                <p:cTn id="114" presetID="10" presetClass="entr" presetSubtype="0" fill="hold" nodeType="afterEffect">
                                  <p:stCondLst>
                                    <p:cond delay="0"/>
                                  </p:stCondLst>
                                  <p:childTnLst>
                                    <p:set>
                                      <p:cBhvr>
                                        <p:cTn id="115" dur="1" fill="hold">
                                          <p:stCondLst>
                                            <p:cond delay="0"/>
                                          </p:stCondLst>
                                        </p:cTn>
                                        <p:tgtEl>
                                          <p:spTgt spid="332"/>
                                        </p:tgtEl>
                                        <p:attrNameLst>
                                          <p:attrName>style.visibility</p:attrName>
                                        </p:attrNameLst>
                                      </p:cBhvr>
                                      <p:to>
                                        <p:strVal val="visible"/>
                                      </p:to>
                                    </p:set>
                                    <p:animEffect transition="in" filter="fade">
                                      <p:cBhvr>
                                        <p:cTn id="116" dur="500"/>
                                        <p:tgtEl>
                                          <p:spTgt spid="332"/>
                                        </p:tgtEl>
                                      </p:cBhvr>
                                    </p:animEffect>
                                  </p:childTnLst>
                                </p:cTn>
                              </p:par>
                              <p:par>
                                <p:cTn id="117" presetID="10" presetClass="entr" presetSubtype="0" fill="hold" nodeType="withEffect">
                                  <p:stCondLst>
                                    <p:cond delay="0"/>
                                  </p:stCondLst>
                                  <p:childTnLst>
                                    <p:set>
                                      <p:cBhvr>
                                        <p:cTn id="118" dur="1" fill="hold">
                                          <p:stCondLst>
                                            <p:cond delay="0"/>
                                          </p:stCondLst>
                                        </p:cTn>
                                        <p:tgtEl>
                                          <p:spTgt spid="334"/>
                                        </p:tgtEl>
                                        <p:attrNameLst>
                                          <p:attrName>style.visibility</p:attrName>
                                        </p:attrNameLst>
                                      </p:cBhvr>
                                      <p:to>
                                        <p:strVal val="visible"/>
                                      </p:to>
                                    </p:set>
                                    <p:animEffect transition="in" filter="fade">
                                      <p:cBhvr>
                                        <p:cTn id="119" dur="500"/>
                                        <p:tgtEl>
                                          <p:spTgt spid="334"/>
                                        </p:tgtEl>
                                      </p:cBhvr>
                                    </p:animEffect>
                                  </p:childTnLst>
                                </p:cTn>
                              </p:par>
                              <p:par>
                                <p:cTn id="120" presetID="10" presetClass="entr" presetSubtype="0" fill="hold" nodeType="withEffect">
                                  <p:stCondLst>
                                    <p:cond delay="0"/>
                                  </p:stCondLst>
                                  <p:childTnLst>
                                    <p:set>
                                      <p:cBhvr>
                                        <p:cTn id="121" dur="1" fill="hold">
                                          <p:stCondLst>
                                            <p:cond delay="0"/>
                                          </p:stCondLst>
                                        </p:cTn>
                                        <p:tgtEl>
                                          <p:spTgt spid="256"/>
                                        </p:tgtEl>
                                        <p:attrNameLst>
                                          <p:attrName>style.visibility</p:attrName>
                                        </p:attrNameLst>
                                      </p:cBhvr>
                                      <p:to>
                                        <p:strVal val="visible"/>
                                      </p:to>
                                    </p:set>
                                    <p:animEffect transition="in" filter="fade">
                                      <p:cBhvr>
                                        <p:cTn id="122" dur="500"/>
                                        <p:tgtEl>
                                          <p:spTgt spid="256"/>
                                        </p:tgtEl>
                                      </p:cBhvr>
                                    </p:animEffect>
                                  </p:childTnLst>
                                </p:cTn>
                              </p:par>
                              <p:par>
                                <p:cTn id="123" presetID="10" presetClass="entr" presetSubtype="0" fill="hold" nodeType="withEffect">
                                  <p:stCondLst>
                                    <p:cond delay="0"/>
                                  </p:stCondLst>
                                  <p:childTnLst>
                                    <p:set>
                                      <p:cBhvr>
                                        <p:cTn id="124" dur="1" fill="hold">
                                          <p:stCondLst>
                                            <p:cond delay="0"/>
                                          </p:stCondLst>
                                        </p:cTn>
                                        <p:tgtEl>
                                          <p:spTgt spid="335"/>
                                        </p:tgtEl>
                                        <p:attrNameLst>
                                          <p:attrName>style.visibility</p:attrName>
                                        </p:attrNameLst>
                                      </p:cBhvr>
                                      <p:to>
                                        <p:strVal val="visible"/>
                                      </p:to>
                                    </p:set>
                                    <p:animEffect transition="in" filter="fade">
                                      <p:cBhvr>
                                        <p:cTn id="125" dur="500"/>
                                        <p:tgtEl>
                                          <p:spTgt spid="335"/>
                                        </p:tgtEl>
                                      </p:cBhvr>
                                    </p:animEffect>
                                  </p:childTnLst>
                                </p:cTn>
                              </p:par>
                              <p:par>
                                <p:cTn id="126" presetID="10" presetClass="entr" presetSubtype="0" fill="hold" nodeType="withEffect">
                                  <p:stCondLst>
                                    <p:cond delay="0"/>
                                  </p:stCondLst>
                                  <p:childTnLst>
                                    <p:set>
                                      <p:cBhvr>
                                        <p:cTn id="127" dur="1" fill="hold">
                                          <p:stCondLst>
                                            <p:cond delay="0"/>
                                          </p:stCondLst>
                                        </p:cTn>
                                        <p:tgtEl>
                                          <p:spTgt spid="331"/>
                                        </p:tgtEl>
                                        <p:attrNameLst>
                                          <p:attrName>style.visibility</p:attrName>
                                        </p:attrNameLst>
                                      </p:cBhvr>
                                      <p:to>
                                        <p:strVal val="visible"/>
                                      </p:to>
                                    </p:set>
                                    <p:animEffect transition="in" filter="fade">
                                      <p:cBhvr>
                                        <p:cTn id="128" dur="500"/>
                                        <p:tgtEl>
                                          <p:spTgt spid="331"/>
                                        </p:tgtEl>
                                      </p:cBhvr>
                                    </p:animEffect>
                                  </p:childTnLst>
                                </p:cTn>
                              </p:par>
                            </p:childTnLst>
                          </p:cTn>
                        </p:par>
                        <p:par>
                          <p:cTn id="129" fill="hold">
                            <p:stCondLst>
                              <p:cond delay="5500"/>
                            </p:stCondLst>
                            <p:childTnLst>
                              <p:par>
                                <p:cTn id="130" presetID="10" presetClass="entr" presetSubtype="0" fill="hold" nodeType="afterEffect">
                                  <p:stCondLst>
                                    <p:cond delay="0"/>
                                  </p:stCondLst>
                                  <p:childTnLst>
                                    <p:set>
                                      <p:cBhvr>
                                        <p:cTn id="131" dur="1" fill="hold">
                                          <p:stCondLst>
                                            <p:cond delay="0"/>
                                          </p:stCondLst>
                                        </p:cTn>
                                        <p:tgtEl>
                                          <p:spTgt spid="44"/>
                                        </p:tgtEl>
                                        <p:attrNameLst>
                                          <p:attrName>style.visibility</p:attrName>
                                        </p:attrNameLst>
                                      </p:cBhvr>
                                      <p:to>
                                        <p:strVal val="visible"/>
                                      </p:to>
                                    </p:set>
                                    <p:animEffect transition="in" filter="fade">
                                      <p:cBhvr>
                                        <p:cTn id="132" dur="500"/>
                                        <p:tgtEl>
                                          <p:spTgt spid="44"/>
                                        </p:tgtEl>
                                      </p:cBhvr>
                                    </p:animEffect>
                                  </p:childTnLst>
                                </p:cTn>
                              </p:par>
                              <p:par>
                                <p:cTn id="133" presetID="10" presetClass="entr" presetSubtype="0" fill="hold" nodeType="withEffect">
                                  <p:stCondLst>
                                    <p:cond delay="0"/>
                                  </p:stCondLst>
                                  <p:childTnLst>
                                    <p:set>
                                      <p:cBhvr>
                                        <p:cTn id="134" dur="1" fill="hold">
                                          <p:stCondLst>
                                            <p:cond delay="0"/>
                                          </p:stCondLst>
                                        </p:cTn>
                                        <p:tgtEl>
                                          <p:spTgt spid="333"/>
                                        </p:tgtEl>
                                        <p:attrNameLst>
                                          <p:attrName>style.visibility</p:attrName>
                                        </p:attrNameLst>
                                      </p:cBhvr>
                                      <p:to>
                                        <p:strVal val="visible"/>
                                      </p:to>
                                    </p:set>
                                    <p:animEffect transition="in" filter="fade">
                                      <p:cBhvr>
                                        <p:cTn id="135" dur="500"/>
                                        <p:tgtEl>
                                          <p:spTgt spid="333"/>
                                        </p:tgtEl>
                                      </p:cBhvr>
                                    </p:animEffect>
                                  </p:childTnLst>
                                </p:cTn>
                              </p:par>
                              <p:par>
                                <p:cTn id="136" presetID="10" presetClass="entr" presetSubtype="0" fill="hold" nodeType="withEffect">
                                  <p:stCondLst>
                                    <p:cond delay="0"/>
                                  </p:stCondLst>
                                  <p:childTnLst>
                                    <p:set>
                                      <p:cBhvr>
                                        <p:cTn id="137" dur="1" fill="hold">
                                          <p:stCondLst>
                                            <p:cond delay="0"/>
                                          </p:stCondLst>
                                        </p:cTn>
                                        <p:tgtEl>
                                          <p:spTgt spid="336"/>
                                        </p:tgtEl>
                                        <p:attrNameLst>
                                          <p:attrName>style.visibility</p:attrName>
                                        </p:attrNameLst>
                                      </p:cBhvr>
                                      <p:to>
                                        <p:strVal val="visible"/>
                                      </p:to>
                                    </p:set>
                                    <p:animEffect transition="in" filter="fade">
                                      <p:cBhvr>
                                        <p:cTn id="138" dur="500"/>
                                        <p:tgtEl>
                                          <p:spTgt spid="336"/>
                                        </p:tgtEl>
                                      </p:cBhvr>
                                    </p:animEffect>
                                  </p:childTnLst>
                                </p:cTn>
                              </p:par>
                              <p:par>
                                <p:cTn id="139" presetID="10" presetClass="entr" presetSubtype="0" fill="hold" nodeType="withEffect">
                                  <p:stCondLst>
                                    <p:cond delay="0"/>
                                  </p:stCondLst>
                                  <p:childTnLst>
                                    <p:set>
                                      <p:cBhvr>
                                        <p:cTn id="140" dur="1" fill="hold">
                                          <p:stCondLst>
                                            <p:cond delay="0"/>
                                          </p:stCondLst>
                                        </p:cTn>
                                        <p:tgtEl>
                                          <p:spTgt spid="417"/>
                                        </p:tgtEl>
                                        <p:attrNameLst>
                                          <p:attrName>style.visibility</p:attrName>
                                        </p:attrNameLst>
                                      </p:cBhvr>
                                      <p:to>
                                        <p:strVal val="visible"/>
                                      </p:to>
                                    </p:set>
                                    <p:animEffect transition="in" filter="fade">
                                      <p:cBhvr>
                                        <p:cTn id="141" dur="500"/>
                                        <p:tgtEl>
                                          <p:spTgt spid="417"/>
                                        </p:tgtEl>
                                      </p:cBhvr>
                                    </p:animEffect>
                                  </p:childTnLst>
                                </p:cTn>
                              </p:par>
                            </p:childTnLst>
                          </p:cTn>
                        </p:par>
                        <p:par>
                          <p:cTn id="142" fill="hold">
                            <p:stCondLst>
                              <p:cond delay="6000"/>
                            </p:stCondLst>
                            <p:childTnLst>
                              <p:par>
                                <p:cTn id="143" presetID="22" presetClass="entr" presetSubtype="2" fill="hold" grpId="0" nodeType="afterEffect">
                                  <p:stCondLst>
                                    <p:cond delay="0"/>
                                  </p:stCondLst>
                                  <p:childTnLst>
                                    <p:set>
                                      <p:cBhvr>
                                        <p:cTn id="144" dur="1" fill="hold">
                                          <p:stCondLst>
                                            <p:cond delay="0"/>
                                          </p:stCondLst>
                                        </p:cTn>
                                        <p:tgtEl>
                                          <p:spTgt spid="71"/>
                                        </p:tgtEl>
                                        <p:attrNameLst>
                                          <p:attrName>style.visibility</p:attrName>
                                        </p:attrNameLst>
                                      </p:cBhvr>
                                      <p:to>
                                        <p:strVal val="visible"/>
                                      </p:to>
                                    </p:set>
                                    <p:animEffect transition="in" filter="wipe(right)">
                                      <p:cBhvr>
                                        <p:cTn id="145" dur="500"/>
                                        <p:tgtEl>
                                          <p:spTgt spid="71"/>
                                        </p:tgtEl>
                                      </p:cBhvr>
                                    </p:animEffect>
                                  </p:childTnLst>
                                </p:cTn>
                              </p:par>
                            </p:childTnLst>
                          </p:cTn>
                        </p:par>
                        <p:par>
                          <p:cTn id="146" fill="hold">
                            <p:stCondLst>
                              <p:cond delay="6500"/>
                            </p:stCondLst>
                            <p:childTnLst>
                              <p:par>
                                <p:cTn id="147" presetID="10" presetClass="entr" presetSubtype="0" fill="hold" nodeType="afterEffect">
                                  <p:stCondLst>
                                    <p:cond delay="0"/>
                                  </p:stCondLst>
                                  <p:childTnLst>
                                    <p:set>
                                      <p:cBhvr>
                                        <p:cTn id="148" dur="1" fill="hold">
                                          <p:stCondLst>
                                            <p:cond delay="0"/>
                                          </p:stCondLst>
                                        </p:cTn>
                                        <p:tgtEl>
                                          <p:spTgt spid="337"/>
                                        </p:tgtEl>
                                        <p:attrNameLst>
                                          <p:attrName>style.visibility</p:attrName>
                                        </p:attrNameLst>
                                      </p:cBhvr>
                                      <p:to>
                                        <p:strVal val="visible"/>
                                      </p:to>
                                    </p:set>
                                    <p:animEffect transition="in" filter="fade">
                                      <p:cBhvr>
                                        <p:cTn id="149" dur="500"/>
                                        <p:tgtEl>
                                          <p:spTgt spid="337"/>
                                        </p:tgtEl>
                                      </p:cBhvr>
                                    </p:animEffect>
                                  </p:childTnLst>
                                </p:cTn>
                              </p:par>
                              <p:par>
                                <p:cTn id="150" presetID="10" presetClass="entr" presetSubtype="0" fill="hold" nodeType="withEffect">
                                  <p:stCondLst>
                                    <p:cond delay="0"/>
                                  </p:stCondLst>
                                  <p:childTnLst>
                                    <p:set>
                                      <p:cBhvr>
                                        <p:cTn id="151" dur="1" fill="hold">
                                          <p:stCondLst>
                                            <p:cond delay="0"/>
                                          </p:stCondLst>
                                        </p:cTn>
                                        <p:tgtEl>
                                          <p:spTgt spid="328"/>
                                        </p:tgtEl>
                                        <p:attrNameLst>
                                          <p:attrName>style.visibility</p:attrName>
                                        </p:attrNameLst>
                                      </p:cBhvr>
                                      <p:to>
                                        <p:strVal val="visible"/>
                                      </p:to>
                                    </p:set>
                                    <p:animEffect transition="in" filter="fade">
                                      <p:cBhvr>
                                        <p:cTn id="152" dur="500"/>
                                        <p:tgtEl>
                                          <p:spTgt spid="328"/>
                                        </p:tgtEl>
                                      </p:cBhvr>
                                    </p:animEffect>
                                  </p:childTnLst>
                                </p:cTn>
                              </p:par>
                              <p:par>
                                <p:cTn id="153" presetID="10" presetClass="entr" presetSubtype="0" fill="hold" nodeType="withEffect">
                                  <p:stCondLst>
                                    <p:cond delay="0"/>
                                  </p:stCondLst>
                                  <p:childTnLst>
                                    <p:set>
                                      <p:cBhvr>
                                        <p:cTn id="154" dur="1" fill="hold">
                                          <p:stCondLst>
                                            <p:cond delay="0"/>
                                          </p:stCondLst>
                                        </p:cTn>
                                        <p:tgtEl>
                                          <p:spTgt spid="243"/>
                                        </p:tgtEl>
                                        <p:attrNameLst>
                                          <p:attrName>style.visibility</p:attrName>
                                        </p:attrNameLst>
                                      </p:cBhvr>
                                      <p:to>
                                        <p:strVal val="visible"/>
                                      </p:to>
                                    </p:set>
                                    <p:animEffect transition="in" filter="fade">
                                      <p:cBhvr>
                                        <p:cTn id="155" dur="500"/>
                                        <p:tgtEl>
                                          <p:spTgt spid="243"/>
                                        </p:tgtEl>
                                      </p:cBhvr>
                                    </p:animEffect>
                                  </p:childTnLst>
                                </p:cTn>
                              </p:par>
                            </p:childTnLst>
                          </p:cTn>
                        </p:par>
                        <p:par>
                          <p:cTn id="156" fill="hold">
                            <p:stCondLst>
                              <p:cond delay="7000"/>
                            </p:stCondLst>
                            <p:childTnLst>
                              <p:par>
                                <p:cTn id="157" presetID="10" presetClass="entr" presetSubtype="0" fill="hold" nodeType="afterEffect">
                                  <p:stCondLst>
                                    <p:cond delay="0"/>
                                  </p:stCondLst>
                                  <p:childTnLst>
                                    <p:set>
                                      <p:cBhvr>
                                        <p:cTn id="158" dur="1" fill="hold">
                                          <p:stCondLst>
                                            <p:cond delay="0"/>
                                          </p:stCondLst>
                                        </p:cTn>
                                        <p:tgtEl>
                                          <p:spTgt spid="338"/>
                                        </p:tgtEl>
                                        <p:attrNameLst>
                                          <p:attrName>style.visibility</p:attrName>
                                        </p:attrNameLst>
                                      </p:cBhvr>
                                      <p:to>
                                        <p:strVal val="visible"/>
                                      </p:to>
                                    </p:set>
                                    <p:animEffect transition="in" filter="fade">
                                      <p:cBhvr>
                                        <p:cTn id="159" dur="500"/>
                                        <p:tgtEl>
                                          <p:spTgt spid="338"/>
                                        </p:tgtEl>
                                      </p:cBhvr>
                                    </p:animEffect>
                                  </p:childTnLst>
                                </p:cTn>
                              </p:par>
                              <p:par>
                                <p:cTn id="160" presetID="10" presetClass="entr" presetSubtype="0" fill="hold" nodeType="withEffect">
                                  <p:stCondLst>
                                    <p:cond delay="0"/>
                                  </p:stCondLst>
                                  <p:childTnLst>
                                    <p:set>
                                      <p:cBhvr>
                                        <p:cTn id="161" dur="1" fill="hold">
                                          <p:stCondLst>
                                            <p:cond delay="0"/>
                                          </p:stCondLst>
                                        </p:cTn>
                                        <p:tgtEl>
                                          <p:spTgt spid="339"/>
                                        </p:tgtEl>
                                        <p:attrNameLst>
                                          <p:attrName>style.visibility</p:attrName>
                                        </p:attrNameLst>
                                      </p:cBhvr>
                                      <p:to>
                                        <p:strVal val="visible"/>
                                      </p:to>
                                    </p:set>
                                    <p:animEffect transition="in" filter="fade">
                                      <p:cBhvr>
                                        <p:cTn id="162" dur="500"/>
                                        <p:tgtEl>
                                          <p:spTgt spid="339"/>
                                        </p:tgtEl>
                                      </p:cBhvr>
                                    </p:animEffect>
                                  </p:childTnLst>
                                </p:cTn>
                              </p:par>
                              <p:par>
                                <p:cTn id="163" presetID="10" presetClass="entr" presetSubtype="0" fill="hold" nodeType="withEffect">
                                  <p:stCondLst>
                                    <p:cond delay="0"/>
                                  </p:stCondLst>
                                  <p:childTnLst>
                                    <p:set>
                                      <p:cBhvr>
                                        <p:cTn id="164" dur="1" fill="hold">
                                          <p:stCondLst>
                                            <p:cond delay="0"/>
                                          </p:stCondLst>
                                        </p:cTn>
                                        <p:tgtEl>
                                          <p:spTgt spid="340"/>
                                        </p:tgtEl>
                                        <p:attrNameLst>
                                          <p:attrName>style.visibility</p:attrName>
                                        </p:attrNameLst>
                                      </p:cBhvr>
                                      <p:to>
                                        <p:strVal val="visible"/>
                                      </p:to>
                                    </p:set>
                                    <p:animEffect transition="in" filter="fade">
                                      <p:cBhvr>
                                        <p:cTn id="165" dur="500"/>
                                        <p:tgtEl>
                                          <p:spTgt spid="340"/>
                                        </p:tgtEl>
                                      </p:cBhvr>
                                    </p:animEffect>
                                  </p:childTnLst>
                                </p:cTn>
                              </p:par>
                            </p:childTnLst>
                          </p:cTn>
                        </p:par>
                        <p:par>
                          <p:cTn id="166" fill="hold">
                            <p:stCondLst>
                              <p:cond delay="7500"/>
                            </p:stCondLst>
                            <p:childTnLst>
                              <p:par>
                                <p:cTn id="167" presetID="10" presetClass="entr" presetSubtype="0" fill="hold" nodeType="afterEffect">
                                  <p:stCondLst>
                                    <p:cond delay="0"/>
                                  </p:stCondLst>
                                  <p:childTnLst>
                                    <p:set>
                                      <p:cBhvr>
                                        <p:cTn id="168" dur="1" fill="hold">
                                          <p:stCondLst>
                                            <p:cond delay="0"/>
                                          </p:stCondLst>
                                        </p:cTn>
                                        <p:tgtEl>
                                          <p:spTgt spid="341"/>
                                        </p:tgtEl>
                                        <p:attrNameLst>
                                          <p:attrName>style.visibility</p:attrName>
                                        </p:attrNameLst>
                                      </p:cBhvr>
                                      <p:to>
                                        <p:strVal val="visible"/>
                                      </p:to>
                                    </p:set>
                                    <p:animEffect transition="in" filter="fade">
                                      <p:cBhvr>
                                        <p:cTn id="169" dur="500"/>
                                        <p:tgtEl>
                                          <p:spTgt spid="341"/>
                                        </p:tgtEl>
                                      </p:cBhvr>
                                    </p:animEffect>
                                  </p:childTnLst>
                                </p:cTn>
                              </p:par>
                              <p:par>
                                <p:cTn id="170" presetID="10" presetClass="entr" presetSubtype="0" fill="hold" nodeType="withEffect">
                                  <p:stCondLst>
                                    <p:cond delay="0"/>
                                  </p:stCondLst>
                                  <p:childTnLst>
                                    <p:set>
                                      <p:cBhvr>
                                        <p:cTn id="171" dur="1" fill="hold">
                                          <p:stCondLst>
                                            <p:cond delay="0"/>
                                          </p:stCondLst>
                                        </p:cTn>
                                        <p:tgtEl>
                                          <p:spTgt spid="242"/>
                                        </p:tgtEl>
                                        <p:attrNameLst>
                                          <p:attrName>style.visibility</p:attrName>
                                        </p:attrNameLst>
                                      </p:cBhvr>
                                      <p:to>
                                        <p:strVal val="visible"/>
                                      </p:to>
                                    </p:set>
                                    <p:animEffect transition="in" filter="fade">
                                      <p:cBhvr>
                                        <p:cTn id="172"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7" grpId="0" animBg="1"/>
      <p:bldP spid="31" grpId="0" animBg="1"/>
      <p:bldP spid="32" grpId="0" animBg="1"/>
      <p:bldP spid="56" grpId="0" animBg="1"/>
      <p:bldP spid="71" grpId="0" animBg="1"/>
      <p:bldP spid="33" grpId="0" animBg="1"/>
      <p:bldP spid="75" grpId="0" animBg="1"/>
    </p:bldLst>
  </p:timing>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Graphic 49">
            <a:extLst>
              <a:ext uri="{FF2B5EF4-FFF2-40B4-BE49-F238E27FC236}">
                <a16:creationId xmlns:a16="http://schemas.microsoft.com/office/drawing/2014/main" id="{9504D257-32FF-4CF6-83D7-899BD7F76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58951" y="417252"/>
            <a:ext cx="9984828" cy="5598635"/>
          </a:xfrm>
          <a:prstGeom prst="rect">
            <a:avLst/>
          </a:prstGeom>
        </p:spPr>
      </p:pic>
      <p:grpSp>
        <p:nvGrpSpPr>
          <p:cNvPr id="51" name="Group 50">
            <a:extLst>
              <a:ext uri="{FF2B5EF4-FFF2-40B4-BE49-F238E27FC236}">
                <a16:creationId xmlns:a16="http://schemas.microsoft.com/office/drawing/2014/main" id="{B693DC1C-2756-4E05-9B74-0EACCD43339F}"/>
              </a:ext>
            </a:extLst>
          </p:cNvPr>
          <p:cNvGrpSpPr/>
          <p:nvPr/>
        </p:nvGrpSpPr>
        <p:grpSpPr>
          <a:xfrm>
            <a:off x="355539" y="3037101"/>
            <a:ext cx="2608033" cy="3236650"/>
            <a:chOff x="-2055996" y="2674169"/>
            <a:chExt cx="4679949" cy="4844869"/>
          </a:xfrm>
        </p:grpSpPr>
        <p:sp>
          <p:nvSpPr>
            <p:cNvPr id="52" name="TextBox 51">
              <a:extLst>
                <a:ext uri="{FF2B5EF4-FFF2-40B4-BE49-F238E27FC236}">
                  <a16:creationId xmlns:a16="http://schemas.microsoft.com/office/drawing/2014/main" id="{FA830AA3-39F7-40F5-A2F2-74BFE08CCAB3}"/>
                </a:ext>
              </a:extLst>
            </p:cNvPr>
            <p:cNvSpPr txBox="1"/>
            <p:nvPr/>
          </p:nvSpPr>
          <p:spPr>
            <a:xfrm>
              <a:off x="-2055996" y="2674169"/>
              <a:ext cx="1798334" cy="2594713"/>
            </a:xfrm>
            <a:prstGeom prst="rect">
              <a:avLst/>
            </a:prstGeom>
            <a:noFill/>
          </p:spPr>
          <p:txBody>
            <a:bodyPr wrap="none" lIns="189370" tIns="189370" rIns="189370" bIns="189370" rtlCol="0" anchor="t">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23050">
                <a:spcAft>
                  <a:spcPts val="401"/>
                </a:spcAft>
                <a:defRPr/>
              </a:pPr>
              <a:r>
                <a:rPr lang="en-US" sz="9754" spc="-400" dirty="0">
                  <a:solidFill>
                    <a:srgbClr val="0078D4"/>
                  </a:solidFill>
                  <a:latin typeface="Segoe UI Semibold"/>
                  <a:cs typeface="Segoe UI Semibold"/>
                </a:rPr>
                <a:t>7</a:t>
              </a:r>
              <a:endParaRPr lang="en-US" sz="9797" spc="-400" dirty="0">
                <a:solidFill>
                  <a:srgbClr val="0078D4"/>
                </a:solidFill>
                <a:latin typeface="Segoe UI Semibold"/>
                <a:cs typeface="Segoe UI Semibold" panose="020B0702040204020203" pitchFamily="34" charset="0"/>
              </a:endParaRPr>
            </a:p>
          </p:txBody>
        </p:sp>
        <p:sp>
          <p:nvSpPr>
            <p:cNvPr id="53" name="TextBox 52">
              <a:extLst>
                <a:ext uri="{FF2B5EF4-FFF2-40B4-BE49-F238E27FC236}">
                  <a16:creationId xmlns:a16="http://schemas.microsoft.com/office/drawing/2014/main" id="{969AB5EB-B921-450B-B183-7EF8E6152640}"/>
                </a:ext>
              </a:extLst>
            </p:cNvPr>
            <p:cNvSpPr txBox="1"/>
            <p:nvPr/>
          </p:nvSpPr>
          <p:spPr>
            <a:xfrm>
              <a:off x="-2000051" y="4576744"/>
              <a:ext cx="4624004" cy="2942294"/>
            </a:xfrm>
            <a:prstGeom prst="rect">
              <a:avLst/>
            </a:prstGeom>
            <a:noFill/>
          </p:spPr>
          <p:txBody>
            <a:bodyPr wrap="square" lIns="189370" tIns="189370" rIns="189370" bIns="189370" rtlCol="0" anchor="t">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23050">
                <a:spcAft>
                  <a:spcPts val="401"/>
                </a:spcAft>
                <a:defRPr/>
              </a:pPr>
              <a:r>
                <a:rPr lang="en-US" sz="2353">
                  <a:solidFill>
                    <a:schemeClr val="tx1"/>
                  </a:solidFill>
                  <a:latin typeface="Segoe UI Semibold"/>
                  <a:ea typeface="MS PGothic"/>
                  <a:cs typeface="Segoe UI Semilight"/>
                </a:rPr>
                <a:t>Azure OpenAI Service regions</a:t>
              </a:r>
            </a:p>
            <a:p>
              <a:pPr defTabSz="623050">
                <a:spcAft>
                  <a:spcPts val="401"/>
                </a:spcAft>
                <a:defRPr/>
              </a:pPr>
              <a:endParaRPr lang="en-US" sz="2000">
                <a:solidFill>
                  <a:schemeClr val="tx1"/>
                </a:solidFill>
                <a:latin typeface="Segoe UI Semibold"/>
                <a:ea typeface="MS PGothic" panose="020B0600070205080204" pitchFamily="34" charset="-128"/>
                <a:cs typeface="Segoe UI Semilight" panose="020B0402040204020203" pitchFamily="34" charset="0"/>
              </a:endParaRPr>
            </a:p>
            <a:p>
              <a:pPr defTabSz="623050">
                <a:spcAft>
                  <a:spcPts val="401"/>
                </a:spcAft>
                <a:defRPr/>
              </a:pPr>
              <a:r>
                <a:rPr lang="en-US" sz="1961">
                  <a:solidFill>
                    <a:schemeClr val="tx1"/>
                  </a:solidFill>
                  <a:latin typeface="Segoe UI Semibold"/>
                  <a:ea typeface="MS PGothic"/>
                  <a:cs typeface="Segoe UI Semilight"/>
                </a:rPr>
                <a:t>More than AWS &amp; Google combined</a:t>
              </a:r>
            </a:p>
          </p:txBody>
        </p:sp>
      </p:grpSp>
      <p:sp>
        <p:nvSpPr>
          <p:cNvPr id="54" name="Oval 53">
            <a:extLst>
              <a:ext uri="{FF2B5EF4-FFF2-40B4-BE49-F238E27FC236}">
                <a16:creationId xmlns:a16="http://schemas.microsoft.com/office/drawing/2014/main" id="{6EC190EE-963C-4477-8A8C-6462BA003E84}"/>
              </a:ext>
            </a:extLst>
          </p:cNvPr>
          <p:cNvSpPr/>
          <p:nvPr/>
        </p:nvSpPr>
        <p:spPr bwMode="auto">
          <a:xfrm>
            <a:off x="9028105" y="3955192"/>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5" name="Oval 54">
            <a:extLst>
              <a:ext uri="{FF2B5EF4-FFF2-40B4-BE49-F238E27FC236}">
                <a16:creationId xmlns:a16="http://schemas.microsoft.com/office/drawing/2014/main" id="{A7B0AE29-30DF-44CC-85DB-4B57CB33784F}"/>
              </a:ext>
            </a:extLst>
          </p:cNvPr>
          <p:cNvSpPr/>
          <p:nvPr/>
        </p:nvSpPr>
        <p:spPr bwMode="auto">
          <a:xfrm>
            <a:off x="9343978" y="3087305"/>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6" name="Oval 55">
            <a:extLst>
              <a:ext uri="{FF2B5EF4-FFF2-40B4-BE49-F238E27FC236}">
                <a16:creationId xmlns:a16="http://schemas.microsoft.com/office/drawing/2014/main" id="{6236CB60-CA03-4E4D-97BE-D3276A1BE33A}"/>
              </a:ext>
            </a:extLst>
          </p:cNvPr>
          <p:cNvSpPr/>
          <p:nvPr/>
        </p:nvSpPr>
        <p:spPr bwMode="auto">
          <a:xfrm>
            <a:off x="9406461" y="2612094"/>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7" name="Oval 56">
            <a:extLst>
              <a:ext uri="{FF2B5EF4-FFF2-40B4-BE49-F238E27FC236}">
                <a16:creationId xmlns:a16="http://schemas.microsoft.com/office/drawing/2014/main" id="{B6BA6DB0-B122-4F74-904B-4F1F1547F947}"/>
              </a:ext>
            </a:extLst>
          </p:cNvPr>
          <p:cNvSpPr/>
          <p:nvPr/>
        </p:nvSpPr>
        <p:spPr bwMode="auto">
          <a:xfrm>
            <a:off x="8194192" y="3268533"/>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8" name="Oval 57">
            <a:extLst>
              <a:ext uri="{FF2B5EF4-FFF2-40B4-BE49-F238E27FC236}">
                <a16:creationId xmlns:a16="http://schemas.microsoft.com/office/drawing/2014/main" id="{A3F1BD45-03E2-4D9A-A736-1EA2FC4DE840}"/>
              </a:ext>
            </a:extLst>
          </p:cNvPr>
          <p:cNvSpPr/>
          <p:nvPr/>
        </p:nvSpPr>
        <p:spPr bwMode="auto">
          <a:xfrm>
            <a:off x="8463042" y="3410404"/>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9" name="Oval 58">
            <a:extLst>
              <a:ext uri="{FF2B5EF4-FFF2-40B4-BE49-F238E27FC236}">
                <a16:creationId xmlns:a16="http://schemas.microsoft.com/office/drawing/2014/main" id="{EF5E46B7-16E6-4CC8-87FB-010A8C61188D}"/>
              </a:ext>
            </a:extLst>
          </p:cNvPr>
          <p:cNvSpPr/>
          <p:nvPr/>
        </p:nvSpPr>
        <p:spPr bwMode="auto">
          <a:xfrm>
            <a:off x="6154879" y="2162508"/>
            <a:ext cx="249132" cy="249126"/>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Oval 59">
            <a:extLst>
              <a:ext uri="{FF2B5EF4-FFF2-40B4-BE49-F238E27FC236}">
                <a16:creationId xmlns:a16="http://schemas.microsoft.com/office/drawing/2014/main" id="{01E0429A-6C35-4F66-8C0F-B412B8F5A323}"/>
              </a:ext>
            </a:extLst>
          </p:cNvPr>
          <p:cNvSpPr/>
          <p:nvPr/>
        </p:nvSpPr>
        <p:spPr bwMode="auto">
          <a:xfrm>
            <a:off x="5775155" y="2125531"/>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61" name="Oval 60">
            <a:extLst>
              <a:ext uri="{FF2B5EF4-FFF2-40B4-BE49-F238E27FC236}">
                <a16:creationId xmlns:a16="http://schemas.microsoft.com/office/drawing/2014/main" id="{A78A2626-18A4-44C3-A9CD-07267A9D390A}"/>
              </a:ext>
            </a:extLst>
          </p:cNvPr>
          <p:cNvSpPr/>
          <p:nvPr/>
        </p:nvSpPr>
        <p:spPr bwMode="auto">
          <a:xfrm>
            <a:off x="4875441" y="4279605"/>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62" name="Oval 61">
            <a:extLst>
              <a:ext uri="{FF2B5EF4-FFF2-40B4-BE49-F238E27FC236}">
                <a16:creationId xmlns:a16="http://schemas.microsoft.com/office/drawing/2014/main" id="{1F837785-6F58-4646-914B-986235D61527}"/>
              </a:ext>
            </a:extLst>
          </p:cNvPr>
          <p:cNvSpPr/>
          <p:nvPr/>
        </p:nvSpPr>
        <p:spPr bwMode="auto">
          <a:xfrm>
            <a:off x="3474263" y="2789042"/>
            <a:ext cx="249132" cy="249126"/>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a:extLst>
              <a:ext uri="{FF2B5EF4-FFF2-40B4-BE49-F238E27FC236}">
                <a16:creationId xmlns:a16="http://schemas.microsoft.com/office/drawing/2014/main" id="{6AFA76EF-DCD3-4E32-A285-78D0630091D5}"/>
              </a:ext>
            </a:extLst>
          </p:cNvPr>
          <p:cNvSpPr/>
          <p:nvPr/>
        </p:nvSpPr>
        <p:spPr bwMode="auto">
          <a:xfrm>
            <a:off x="3273088" y="2816245"/>
            <a:ext cx="249132" cy="249126"/>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Oval 107">
            <a:extLst>
              <a:ext uri="{FF2B5EF4-FFF2-40B4-BE49-F238E27FC236}">
                <a16:creationId xmlns:a16="http://schemas.microsoft.com/office/drawing/2014/main" id="{D052B51B-8518-47A4-BEC6-7760D245880D}"/>
              </a:ext>
            </a:extLst>
          </p:cNvPr>
          <p:cNvSpPr/>
          <p:nvPr/>
        </p:nvSpPr>
        <p:spPr bwMode="auto">
          <a:xfrm>
            <a:off x="3355312" y="2516095"/>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09" name="Oval 108">
            <a:extLst>
              <a:ext uri="{FF2B5EF4-FFF2-40B4-BE49-F238E27FC236}">
                <a16:creationId xmlns:a16="http://schemas.microsoft.com/office/drawing/2014/main" id="{BE8D4F24-8B65-496E-BD36-3FDBE98BA0DB}"/>
              </a:ext>
            </a:extLst>
          </p:cNvPr>
          <p:cNvSpPr/>
          <p:nvPr/>
        </p:nvSpPr>
        <p:spPr bwMode="auto">
          <a:xfrm>
            <a:off x="3062249" y="2446755"/>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0" name="Oval 109">
            <a:extLst>
              <a:ext uri="{FF2B5EF4-FFF2-40B4-BE49-F238E27FC236}">
                <a16:creationId xmlns:a16="http://schemas.microsoft.com/office/drawing/2014/main" id="{6CFA9987-38A4-4B98-8742-54BCFCB405B3}"/>
              </a:ext>
            </a:extLst>
          </p:cNvPr>
          <p:cNvSpPr/>
          <p:nvPr/>
        </p:nvSpPr>
        <p:spPr bwMode="auto">
          <a:xfrm>
            <a:off x="3764158" y="2491030"/>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1" name="Oval 110">
            <a:extLst>
              <a:ext uri="{FF2B5EF4-FFF2-40B4-BE49-F238E27FC236}">
                <a16:creationId xmlns:a16="http://schemas.microsoft.com/office/drawing/2014/main" id="{364CA6A2-7977-40FD-AF1D-913FA8129013}"/>
              </a:ext>
            </a:extLst>
          </p:cNvPr>
          <p:cNvSpPr/>
          <p:nvPr/>
        </p:nvSpPr>
        <p:spPr bwMode="auto">
          <a:xfrm>
            <a:off x="3058902" y="3064605"/>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2" name="Oval 111">
            <a:extLst>
              <a:ext uri="{FF2B5EF4-FFF2-40B4-BE49-F238E27FC236}">
                <a16:creationId xmlns:a16="http://schemas.microsoft.com/office/drawing/2014/main" id="{C7A38980-98B2-4A33-9298-6C0CB2790134}"/>
              </a:ext>
            </a:extLst>
          </p:cNvPr>
          <p:cNvSpPr/>
          <p:nvPr/>
        </p:nvSpPr>
        <p:spPr bwMode="auto">
          <a:xfrm>
            <a:off x="2534177" y="2806854"/>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3" name="Oval 112">
            <a:extLst>
              <a:ext uri="{FF2B5EF4-FFF2-40B4-BE49-F238E27FC236}">
                <a16:creationId xmlns:a16="http://schemas.microsoft.com/office/drawing/2014/main" id="{FA785649-F07A-4043-B475-7F1F0F679878}"/>
              </a:ext>
            </a:extLst>
          </p:cNvPr>
          <p:cNvSpPr/>
          <p:nvPr/>
        </p:nvSpPr>
        <p:spPr bwMode="auto">
          <a:xfrm>
            <a:off x="10131455" y="2683602"/>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4" name="Oval 113">
            <a:extLst>
              <a:ext uri="{FF2B5EF4-FFF2-40B4-BE49-F238E27FC236}">
                <a16:creationId xmlns:a16="http://schemas.microsoft.com/office/drawing/2014/main" id="{5781D251-7C3B-4A49-B6DF-2A7926864EA0}"/>
              </a:ext>
            </a:extLst>
          </p:cNvPr>
          <p:cNvSpPr/>
          <p:nvPr/>
        </p:nvSpPr>
        <p:spPr bwMode="auto">
          <a:xfrm>
            <a:off x="9907141" y="3022221"/>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5" name="Oval 114">
            <a:extLst>
              <a:ext uri="{FF2B5EF4-FFF2-40B4-BE49-F238E27FC236}">
                <a16:creationId xmlns:a16="http://schemas.microsoft.com/office/drawing/2014/main" id="{8C04A6B8-8C99-4878-AD26-3775323A9CCF}"/>
              </a:ext>
            </a:extLst>
          </p:cNvPr>
          <p:cNvSpPr/>
          <p:nvPr/>
        </p:nvSpPr>
        <p:spPr bwMode="auto">
          <a:xfrm>
            <a:off x="10182599" y="5101796"/>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6" name="Oval 115">
            <a:extLst>
              <a:ext uri="{FF2B5EF4-FFF2-40B4-BE49-F238E27FC236}">
                <a16:creationId xmlns:a16="http://schemas.microsoft.com/office/drawing/2014/main" id="{BAB4ED6B-EF17-43B3-8BBB-9BCDC42F3E70}"/>
              </a:ext>
            </a:extLst>
          </p:cNvPr>
          <p:cNvSpPr/>
          <p:nvPr/>
        </p:nvSpPr>
        <p:spPr bwMode="auto">
          <a:xfrm>
            <a:off x="9209553" y="3373883"/>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7" name="Oval 116">
            <a:extLst>
              <a:ext uri="{FF2B5EF4-FFF2-40B4-BE49-F238E27FC236}">
                <a16:creationId xmlns:a16="http://schemas.microsoft.com/office/drawing/2014/main" id="{A81E455E-4821-4E6A-9E78-EBAE5B885957}"/>
              </a:ext>
            </a:extLst>
          </p:cNvPr>
          <p:cNvSpPr/>
          <p:nvPr/>
        </p:nvSpPr>
        <p:spPr bwMode="auto">
          <a:xfrm>
            <a:off x="3038037" y="2721658"/>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8" name="Oval 117">
            <a:extLst>
              <a:ext uri="{FF2B5EF4-FFF2-40B4-BE49-F238E27FC236}">
                <a16:creationId xmlns:a16="http://schemas.microsoft.com/office/drawing/2014/main" id="{E3FDD28C-290E-40F0-999B-CBC6B67273C7}"/>
              </a:ext>
            </a:extLst>
          </p:cNvPr>
          <p:cNvSpPr/>
          <p:nvPr/>
        </p:nvSpPr>
        <p:spPr bwMode="auto">
          <a:xfrm>
            <a:off x="8272911" y="3710777"/>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19" name="Oval 118">
            <a:extLst>
              <a:ext uri="{FF2B5EF4-FFF2-40B4-BE49-F238E27FC236}">
                <a16:creationId xmlns:a16="http://schemas.microsoft.com/office/drawing/2014/main" id="{92A3A16A-466C-4C21-BBD4-44276124AC07}"/>
              </a:ext>
            </a:extLst>
          </p:cNvPr>
          <p:cNvSpPr/>
          <p:nvPr/>
        </p:nvSpPr>
        <p:spPr bwMode="auto">
          <a:xfrm>
            <a:off x="3554672" y="2908396"/>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0" name="Oval 119">
            <a:extLst>
              <a:ext uri="{FF2B5EF4-FFF2-40B4-BE49-F238E27FC236}">
                <a16:creationId xmlns:a16="http://schemas.microsoft.com/office/drawing/2014/main" id="{133E6F3C-10D3-42B9-9641-8A9E761BAB6C}"/>
              </a:ext>
            </a:extLst>
          </p:cNvPr>
          <p:cNvSpPr/>
          <p:nvPr/>
        </p:nvSpPr>
        <p:spPr bwMode="auto">
          <a:xfrm>
            <a:off x="3641483" y="2748909"/>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1" name="Oval 120">
            <a:extLst>
              <a:ext uri="{FF2B5EF4-FFF2-40B4-BE49-F238E27FC236}">
                <a16:creationId xmlns:a16="http://schemas.microsoft.com/office/drawing/2014/main" id="{841A761D-5538-4BEC-A141-92E5857D9871}"/>
              </a:ext>
            </a:extLst>
          </p:cNvPr>
          <p:cNvSpPr/>
          <p:nvPr/>
        </p:nvSpPr>
        <p:spPr bwMode="auto">
          <a:xfrm>
            <a:off x="5715885" y="1891268"/>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2" name="Oval 121">
            <a:extLst>
              <a:ext uri="{FF2B5EF4-FFF2-40B4-BE49-F238E27FC236}">
                <a16:creationId xmlns:a16="http://schemas.microsoft.com/office/drawing/2014/main" id="{1ED2DD35-8950-40FE-AF63-5220AECE7EC0}"/>
              </a:ext>
            </a:extLst>
          </p:cNvPr>
          <p:cNvSpPr/>
          <p:nvPr/>
        </p:nvSpPr>
        <p:spPr bwMode="auto">
          <a:xfrm>
            <a:off x="6117340" y="1980006"/>
            <a:ext cx="249132" cy="249126"/>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2214CDDF-A6CE-4A53-A0D6-E8D8F88975DE}"/>
              </a:ext>
            </a:extLst>
          </p:cNvPr>
          <p:cNvSpPr/>
          <p:nvPr/>
        </p:nvSpPr>
        <p:spPr bwMode="auto">
          <a:xfrm>
            <a:off x="5965018" y="2272707"/>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4" name="Oval 123">
            <a:extLst>
              <a:ext uri="{FF2B5EF4-FFF2-40B4-BE49-F238E27FC236}">
                <a16:creationId xmlns:a16="http://schemas.microsoft.com/office/drawing/2014/main" id="{EEE8AAF4-F6C5-44AE-9CE9-283655F5B16A}"/>
              </a:ext>
            </a:extLst>
          </p:cNvPr>
          <p:cNvSpPr/>
          <p:nvPr/>
        </p:nvSpPr>
        <p:spPr bwMode="auto">
          <a:xfrm>
            <a:off x="5965018" y="1906134"/>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5" name="Oval 124">
            <a:extLst>
              <a:ext uri="{FF2B5EF4-FFF2-40B4-BE49-F238E27FC236}">
                <a16:creationId xmlns:a16="http://schemas.microsoft.com/office/drawing/2014/main" id="{F894A6A2-566B-4478-B363-67A240D9A03E}"/>
              </a:ext>
            </a:extLst>
          </p:cNvPr>
          <p:cNvSpPr/>
          <p:nvPr/>
        </p:nvSpPr>
        <p:spPr bwMode="auto">
          <a:xfrm>
            <a:off x="6670439" y="4912966"/>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6" name="Oval 125">
            <a:extLst>
              <a:ext uri="{FF2B5EF4-FFF2-40B4-BE49-F238E27FC236}">
                <a16:creationId xmlns:a16="http://schemas.microsoft.com/office/drawing/2014/main" id="{7D0D76CE-B435-4CBD-B966-2911D918D079}"/>
              </a:ext>
            </a:extLst>
          </p:cNvPr>
          <p:cNvSpPr/>
          <p:nvPr/>
        </p:nvSpPr>
        <p:spPr bwMode="auto">
          <a:xfrm>
            <a:off x="6830709" y="4725687"/>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7" name="Oval 126">
            <a:extLst>
              <a:ext uri="{FF2B5EF4-FFF2-40B4-BE49-F238E27FC236}">
                <a16:creationId xmlns:a16="http://schemas.microsoft.com/office/drawing/2014/main" id="{9BDE9AF6-19B2-4AB3-8C63-0A093FF8C74E}"/>
              </a:ext>
            </a:extLst>
          </p:cNvPr>
          <p:cNvSpPr/>
          <p:nvPr/>
        </p:nvSpPr>
        <p:spPr bwMode="auto">
          <a:xfrm>
            <a:off x="7395007" y="3251346"/>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8" name="Oval 127">
            <a:extLst>
              <a:ext uri="{FF2B5EF4-FFF2-40B4-BE49-F238E27FC236}">
                <a16:creationId xmlns:a16="http://schemas.microsoft.com/office/drawing/2014/main" id="{5A4A5624-5444-4AC4-9525-FBAEB5348B6F}"/>
              </a:ext>
            </a:extLst>
          </p:cNvPr>
          <p:cNvSpPr/>
          <p:nvPr/>
        </p:nvSpPr>
        <p:spPr bwMode="auto">
          <a:xfrm>
            <a:off x="10307163" y="4811203"/>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29" name="Oval 128">
            <a:extLst>
              <a:ext uri="{FF2B5EF4-FFF2-40B4-BE49-F238E27FC236}">
                <a16:creationId xmlns:a16="http://schemas.microsoft.com/office/drawing/2014/main" id="{443A113B-566B-424C-A07B-439FCEFF6393}"/>
              </a:ext>
            </a:extLst>
          </p:cNvPr>
          <p:cNvSpPr/>
          <p:nvPr/>
        </p:nvSpPr>
        <p:spPr bwMode="auto">
          <a:xfrm>
            <a:off x="7530329" y="3386665"/>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0" name="Oval 129">
            <a:extLst>
              <a:ext uri="{FF2B5EF4-FFF2-40B4-BE49-F238E27FC236}">
                <a16:creationId xmlns:a16="http://schemas.microsoft.com/office/drawing/2014/main" id="{5C6A9A08-3238-4B0C-AB66-F868FC63E967}"/>
              </a:ext>
            </a:extLst>
          </p:cNvPr>
          <p:cNvSpPr/>
          <p:nvPr/>
        </p:nvSpPr>
        <p:spPr bwMode="auto">
          <a:xfrm>
            <a:off x="6095611" y="2024554"/>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1" name="Oval 130">
            <a:extLst>
              <a:ext uri="{FF2B5EF4-FFF2-40B4-BE49-F238E27FC236}">
                <a16:creationId xmlns:a16="http://schemas.microsoft.com/office/drawing/2014/main" id="{CDBE18BE-5B00-4D47-BE18-C3891EE08EC0}"/>
              </a:ext>
            </a:extLst>
          </p:cNvPr>
          <p:cNvSpPr/>
          <p:nvPr/>
        </p:nvSpPr>
        <p:spPr bwMode="auto">
          <a:xfrm>
            <a:off x="6042656" y="2154774"/>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2" name="Oval 131">
            <a:extLst>
              <a:ext uri="{FF2B5EF4-FFF2-40B4-BE49-F238E27FC236}">
                <a16:creationId xmlns:a16="http://schemas.microsoft.com/office/drawing/2014/main" id="{241C1609-6C23-479D-8133-DC07B1357BD8}"/>
              </a:ext>
            </a:extLst>
          </p:cNvPr>
          <p:cNvSpPr/>
          <p:nvPr/>
        </p:nvSpPr>
        <p:spPr bwMode="auto">
          <a:xfrm>
            <a:off x="2765835" y="2929970"/>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3" name="Oval 132">
            <a:extLst>
              <a:ext uri="{FF2B5EF4-FFF2-40B4-BE49-F238E27FC236}">
                <a16:creationId xmlns:a16="http://schemas.microsoft.com/office/drawing/2014/main" id="{187BE6F2-6C65-47AF-9BAF-7AE32EFE1FD4}"/>
              </a:ext>
            </a:extLst>
          </p:cNvPr>
          <p:cNvSpPr/>
          <p:nvPr/>
        </p:nvSpPr>
        <p:spPr bwMode="auto">
          <a:xfrm>
            <a:off x="2773830" y="2714944"/>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4" name="Oval 133">
            <a:extLst>
              <a:ext uri="{FF2B5EF4-FFF2-40B4-BE49-F238E27FC236}">
                <a16:creationId xmlns:a16="http://schemas.microsoft.com/office/drawing/2014/main" id="{89D16748-EF69-444F-8B59-53EC5CD065FC}"/>
              </a:ext>
            </a:extLst>
          </p:cNvPr>
          <p:cNvSpPr/>
          <p:nvPr/>
        </p:nvSpPr>
        <p:spPr bwMode="auto">
          <a:xfrm>
            <a:off x="9195080" y="2744064"/>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5" name="Oval 134">
            <a:extLst>
              <a:ext uri="{FF2B5EF4-FFF2-40B4-BE49-F238E27FC236}">
                <a16:creationId xmlns:a16="http://schemas.microsoft.com/office/drawing/2014/main" id="{3B3C20D6-7565-438E-95AD-71D12A7B266A}"/>
              </a:ext>
            </a:extLst>
          </p:cNvPr>
          <p:cNvSpPr/>
          <p:nvPr/>
        </p:nvSpPr>
        <p:spPr bwMode="auto">
          <a:xfrm>
            <a:off x="9092876" y="3049853"/>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6" name="Oval 135">
            <a:extLst>
              <a:ext uri="{FF2B5EF4-FFF2-40B4-BE49-F238E27FC236}">
                <a16:creationId xmlns:a16="http://schemas.microsoft.com/office/drawing/2014/main" id="{18B69489-0AFD-49AF-AB67-441943B82C42}"/>
              </a:ext>
            </a:extLst>
          </p:cNvPr>
          <p:cNvSpPr/>
          <p:nvPr/>
        </p:nvSpPr>
        <p:spPr bwMode="auto">
          <a:xfrm>
            <a:off x="6226204" y="2117959"/>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7" name="Oval 136">
            <a:extLst>
              <a:ext uri="{FF2B5EF4-FFF2-40B4-BE49-F238E27FC236}">
                <a16:creationId xmlns:a16="http://schemas.microsoft.com/office/drawing/2014/main" id="{2510B0C3-F484-4B90-A9D0-9BF6C4C2A964}"/>
              </a:ext>
            </a:extLst>
          </p:cNvPr>
          <p:cNvSpPr/>
          <p:nvPr/>
        </p:nvSpPr>
        <p:spPr bwMode="auto">
          <a:xfrm>
            <a:off x="6188425" y="2272706"/>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8" name="Oval 137">
            <a:extLst>
              <a:ext uri="{FF2B5EF4-FFF2-40B4-BE49-F238E27FC236}">
                <a16:creationId xmlns:a16="http://schemas.microsoft.com/office/drawing/2014/main" id="{0EBE05C7-BF63-4AD5-B115-7604B7011B70}"/>
              </a:ext>
            </a:extLst>
          </p:cNvPr>
          <p:cNvSpPr/>
          <p:nvPr/>
        </p:nvSpPr>
        <p:spPr bwMode="auto">
          <a:xfrm>
            <a:off x="3434698" y="2867138"/>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39" name="Oval 138">
            <a:extLst>
              <a:ext uri="{FF2B5EF4-FFF2-40B4-BE49-F238E27FC236}">
                <a16:creationId xmlns:a16="http://schemas.microsoft.com/office/drawing/2014/main" id="{5C3F90B6-0CCC-4A0C-8B36-A5446B157D2F}"/>
              </a:ext>
            </a:extLst>
          </p:cNvPr>
          <p:cNvSpPr/>
          <p:nvPr/>
        </p:nvSpPr>
        <p:spPr bwMode="auto">
          <a:xfrm>
            <a:off x="3535562" y="2740156"/>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40" name="Oval 139">
            <a:extLst>
              <a:ext uri="{FF2B5EF4-FFF2-40B4-BE49-F238E27FC236}">
                <a16:creationId xmlns:a16="http://schemas.microsoft.com/office/drawing/2014/main" id="{26DFD8BD-C856-4D62-8FB9-9347C47B385E}"/>
              </a:ext>
            </a:extLst>
          </p:cNvPr>
          <p:cNvSpPr/>
          <p:nvPr/>
        </p:nvSpPr>
        <p:spPr bwMode="auto">
          <a:xfrm>
            <a:off x="10028741" y="4843041"/>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141" name="Oval 140">
            <a:extLst>
              <a:ext uri="{FF2B5EF4-FFF2-40B4-BE49-F238E27FC236}">
                <a16:creationId xmlns:a16="http://schemas.microsoft.com/office/drawing/2014/main" id="{7C038802-9D84-42EF-8D58-664315B24743}"/>
              </a:ext>
            </a:extLst>
          </p:cNvPr>
          <p:cNvSpPr/>
          <p:nvPr/>
        </p:nvSpPr>
        <p:spPr bwMode="auto">
          <a:xfrm>
            <a:off x="2587194" y="2538710"/>
            <a:ext cx="249132" cy="249126"/>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174" tIns="97739" rIns="122174" bIns="97739" numCol="1" spcCol="0" rtlCol="0" fromWordArt="0" anchor="t" anchorCtr="0" forceAA="0" compatLnSpc="1">
            <a:prstTxWarp prst="textNoShape">
              <a:avLst/>
            </a:prstTxWarp>
            <a:noAutofit/>
          </a:bodyPr>
          <a:lstStyle/>
          <a:p>
            <a:pPr algn="ctr" defTabSz="622870"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 name="Title 1">
            <a:extLst>
              <a:ext uri="{FF2B5EF4-FFF2-40B4-BE49-F238E27FC236}">
                <a16:creationId xmlns:a16="http://schemas.microsoft.com/office/drawing/2014/main" id="{6BAB3E7D-9CCA-4FCF-91CF-11686EE26FFF}"/>
              </a:ext>
            </a:extLst>
          </p:cNvPr>
          <p:cNvSpPr>
            <a:spLocks noGrp="1"/>
          </p:cNvSpPr>
          <p:nvPr>
            <p:ph type="title" idx="4294967295"/>
          </p:nvPr>
        </p:nvSpPr>
        <p:spPr>
          <a:xfrm>
            <a:off x="885825" y="-433388"/>
            <a:ext cx="11306175" cy="401638"/>
          </a:xfrm>
        </p:spPr>
        <p:txBody>
          <a:bodyPr>
            <a:normAutofit fontScale="90000"/>
          </a:bodyPr>
          <a:lstStyle/>
          <a:p>
            <a:r>
              <a:rPr lang="en-US">
                <a:noFill/>
                <a:ea typeface="MS PGothic" panose="020B0600070205080204" pitchFamily="34" charset="-128"/>
                <a:cs typeface="Segoe UI Semilight" panose="020B0402040204020203" pitchFamily="34" charset="0"/>
              </a:rPr>
              <a:t>Azure regions</a:t>
            </a:r>
            <a:endParaRPr lang="en-US">
              <a:noFill/>
            </a:endParaRPr>
          </a:p>
        </p:txBody>
      </p:sp>
    </p:spTree>
    <p:extLst>
      <p:ext uri="{BB962C8B-B14F-4D97-AF65-F5344CB8AC3E}">
        <p14:creationId xmlns:p14="http://schemas.microsoft.com/office/powerpoint/2010/main" val="3091175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6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53" presetClass="entr" presetSubtype="16" fill="hold" grpId="0" nodeType="withEffect">
                                  <p:stCondLst>
                                    <p:cond delay="250"/>
                                  </p:stCondLst>
                                  <p:childTnLst>
                                    <p:set>
                                      <p:cBhvr>
                                        <p:cTn id="9" dur="1" fill="hold">
                                          <p:stCondLst>
                                            <p:cond delay="0"/>
                                          </p:stCondLst>
                                        </p:cTn>
                                        <p:tgtEl>
                                          <p:spTgt spid="54"/>
                                        </p:tgtEl>
                                        <p:attrNameLst>
                                          <p:attrName>style.visibility</p:attrName>
                                        </p:attrNameLst>
                                      </p:cBhvr>
                                      <p:to>
                                        <p:strVal val="visible"/>
                                      </p:to>
                                    </p:set>
                                    <p:anim calcmode="lin" valueType="num">
                                      <p:cBhvr>
                                        <p:cTn id="10" dur="500" fill="hold"/>
                                        <p:tgtEl>
                                          <p:spTgt spid="54"/>
                                        </p:tgtEl>
                                        <p:attrNameLst>
                                          <p:attrName>ppt_w</p:attrName>
                                        </p:attrNameLst>
                                      </p:cBhvr>
                                      <p:tavLst>
                                        <p:tav tm="0">
                                          <p:val>
                                            <p:fltVal val="0"/>
                                          </p:val>
                                        </p:tav>
                                        <p:tav tm="100000">
                                          <p:val>
                                            <p:strVal val="#ppt_w"/>
                                          </p:val>
                                        </p:tav>
                                      </p:tavLst>
                                    </p:anim>
                                    <p:anim calcmode="lin" valueType="num">
                                      <p:cBhvr>
                                        <p:cTn id="11" dur="500" fill="hold"/>
                                        <p:tgtEl>
                                          <p:spTgt spid="54"/>
                                        </p:tgtEl>
                                        <p:attrNameLst>
                                          <p:attrName>ppt_h</p:attrName>
                                        </p:attrNameLst>
                                      </p:cBhvr>
                                      <p:tavLst>
                                        <p:tav tm="0">
                                          <p:val>
                                            <p:fltVal val="0"/>
                                          </p:val>
                                        </p:tav>
                                        <p:tav tm="100000">
                                          <p:val>
                                            <p:strVal val="#ppt_h"/>
                                          </p:val>
                                        </p:tav>
                                      </p:tavLst>
                                    </p:anim>
                                    <p:animEffect transition="in" filter="fade">
                                      <p:cBhvr>
                                        <p:cTn id="12" dur="500"/>
                                        <p:tgtEl>
                                          <p:spTgt spid="54"/>
                                        </p:tgtEl>
                                      </p:cBhvr>
                                    </p:animEffect>
                                  </p:childTnLst>
                                </p:cTn>
                              </p:par>
                              <p:par>
                                <p:cTn id="13" presetID="53" presetClass="entr" presetSubtype="16" fill="hold" grpId="0" nodeType="withEffect">
                                  <p:stCondLst>
                                    <p:cond delay="750"/>
                                  </p:stCondLst>
                                  <p:childTnLst>
                                    <p:set>
                                      <p:cBhvr>
                                        <p:cTn id="14" dur="1" fill="hold">
                                          <p:stCondLst>
                                            <p:cond delay="0"/>
                                          </p:stCondLst>
                                        </p:cTn>
                                        <p:tgtEl>
                                          <p:spTgt spid="55"/>
                                        </p:tgtEl>
                                        <p:attrNameLst>
                                          <p:attrName>style.visibility</p:attrName>
                                        </p:attrNameLst>
                                      </p:cBhvr>
                                      <p:to>
                                        <p:strVal val="visible"/>
                                      </p:to>
                                    </p:set>
                                    <p:anim calcmode="lin" valueType="num">
                                      <p:cBhvr>
                                        <p:cTn id="15" dur="500" fill="hold"/>
                                        <p:tgtEl>
                                          <p:spTgt spid="55"/>
                                        </p:tgtEl>
                                        <p:attrNameLst>
                                          <p:attrName>ppt_w</p:attrName>
                                        </p:attrNameLst>
                                      </p:cBhvr>
                                      <p:tavLst>
                                        <p:tav tm="0">
                                          <p:val>
                                            <p:fltVal val="0"/>
                                          </p:val>
                                        </p:tav>
                                        <p:tav tm="100000">
                                          <p:val>
                                            <p:strVal val="#ppt_w"/>
                                          </p:val>
                                        </p:tav>
                                      </p:tavLst>
                                    </p:anim>
                                    <p:anim calcmode="lin" valueType="num">
                                      <p:cBhvr>
                                        <p:cTn id="16" dur="500" fill="hold"/>
                                        <p:tgtEl>
                                          <p:spTgt spid="55"/>
                                        </p:tgtEl>
                                        <p:attrNameLst>
                                          <p:attrName>ppt_h</p:attrName>
                                        </p:attrNameLst>
                                      </p:cBhvr>
                                      <p:tavLst>
                                        <p:tav tm="0">
                                          <p:val>
                                            <p:fltVal val="0"/>
                                          </p:val>
                                        </p:tav>
                                        <p:tav tm="100000">
                                          <p:val>
                                            <p:strVal val="#ppt_h"/>
                                          </p:val>
                                        </p:tav>
                                      </p:tavLst>
                                    </p:anim>
                                    <p:animEffect transition="in" filter="fade">
                                      <p:cBhvr>
                                        <p:cTn id="17" dur="500"/>
                                        <p:tgtEl>
                                          <p:spTgt spid="55"/>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56"/>
                                        </p:tgtEl>
                                        <p:attrNameLst>
                                          <p:attrName>style.visibility</p:attrName>
                                        </p:attrNameLst>
                                      </p:cBhvr>
                                      <p:to>
                                        <p:strVal val="visible"/>
                                      </p:to>
                                    </p:set>
                                    <p:anim calcmode="lin" valueType="num">
                                      <p:cBhvr>
                                        <p:cTn id="20" dur="500" fill="hold"/>
                                        <p:tgtEl>
                                          <p:spTgt spid="56"/>
                                        </p:tgtEl>
                                        <p:attrNameLst>
                                          <p:attrName>ppt_w</p:attrName>
                                        </p:attrNameLst>
                                      </p:cBhvr>
                                      <p:tavLst>
                                        <p:tav tm="0">
                                          <p:val>
                                            <p:fltVal val="0"/>
                                          </p:val>
                                        </p:tav>
                                        <p:tav tm="100000">
                                          <p:val>
                                            <p:strVal val="#ppt_w"/>
                                          </p:val>
                                        </p:tav>
                                      </p:tavLst>
                                    </p:anim>
                                    <p:anim calcmode="lin" valueType="num">
                                      <p:cBhvr>
                                        <p:cTn id="21" dur="500" fill="hold"/>
                                        <p:tgtEl>
                                          <p:spTgt spid="56"/>
                                        </p:tgtEl>
                                        <p:attrNameLst>
                                          <p:attrName>ppt_h</p:attrName>
                                        </p:attrNameLst>
                                      </p:cBhvr>
                                      <p:tavLst>
                                        <p:tav tm="0">
                                          <p:val>
                                            <p:fltVal val="0"/>
                                          </p:val>
                                        </p:tav>
                                        <p:tav tm="100000">
                                          <p:val>
                                            <p:strVal val="#ppt_h"/>
                                          </p:val>
                                        </p:tav>
                                      </p:tavLst>
                                    </p:anim>
                                    <p:animEffect transition="in" filter="fade">
                                      <p:cBhvr>
                                        <p:cTn id="22" dur="500"/>
                                        <p:tgtEl>
                                          <p:spTgt spid="56"/>
                                        </p:tgtEl>
                                      </p:cBhvr>
                                    </p:animEffect>
                                  </p:childTnLst>
                                </p:cTn>
                              </p:par>
                              <p:par>
                                <p:cTn id="23" presetID="53" presetClass="entr" presetSubtype="16" fill="hold" grpId="0" nodeType="withEffect">
                                  <p:stCondLst>
                                    <p:cond delay="250"/>
                                  </p:stCondLst>
                                  <p:childTnLst>
                                    <p:set>
                                      <p:cBhvr>
                                        <p:cTn id="24" dur="1" fill="hold">
                                          <p:stCondLst>
                                            <p:cond delay="0"/>
                                          </p:stCondLst>
                                        </p:cTn>
                                        <p:tgtEl>
                                          <p:spTgt spid="57"/>
                                        </p:tgtEl>
                                        <p:attrNameLst>
                                          <p:attrName>style.visibility</p:attrName>
                                        </p:attrNameLst>
                                      </p:cBhvr>
                                      <p:to>
                                        <p:strVal val="visible"/>
                                      </p:to>
                                    </p:set>
                                    <p:anim calcmode="lin" valueType="num">
                                      <p:cBhvr>
                                        <p:cTn id="25" dur="500" fill="hold"/>
                                        <p:tgtEl>
                                          <p:spTgt spid="57"/>
                                        </p:tgtEl>
                                        <p:attrNameLst>
                                          <p:attrName>ppt_w</p:attrName>
                                        </p:attrNameLst>
                                      </p:cBhvr>
                                      <p:tavLst>
                                        <p:tav tm="0">
                                          <p:val>
                                            <p:fltVal val="0"/>
                                          </p:val>
                                        </p:tav>
                                        <p:tav tm="100000">
                                          <p:val>
                                            <p:strVal val="#ppt_w"/>
                                          </p:val>
                                        </p:tav>
                                      </p:tavLst>
                                    </p:anim>
                                    <p:anim calcmode="lin" valueType="num">
                                      <p:cBhvr>
                                        <p:cTn id="26" dur="500" fill="hold"/>
                                        <p:tgtEl>
                                          <p:spTgt spid="57"/>
                                        </p:tgtEl>
                                        <p:attrNameLst>
                                          <p:attrName>ppt_h</p:attrName>
                                        </p:attrNameLst>
                                      </p:cBhvr>
                                      <p:tavLst>
                                        <p:tav tm="0">
                                          <p:val>
                                            <p:fltVal val="0"/>
                                          </p:val>
                                        </p:tav>
                                        <p:tav tm="100000">
                                          <p:val>
                                            <p:strVal val="#ppt_h"/>
                                          </p:val>
                                        </p:tav>
                                      </p:tavLst>
                                    </p:anim>
                                    <p:animEffect transition="in" filter="fade">
                                      <p:cBhvr>
                                        <p:cTn id="27" dur="500"/>
                                        <p:tgtEl>
                                          <p:spTgt spid="57"/>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58"/>
                                        </p:tgtEl>
                                        <p:attrNameLst>
                                          <p:attrName>style.visibility</p:attrName>
                                        </p:attrNameLst>
                                      </p:cBhvr>
                                      <p:to>
                                        <p:strVal val="visible"/>
                                      </p:to>
                                    </p:set>
                                    <p:anim calcmode="lin" valueType="num">
                                      <p:cBhvr>
                                        <p:cTn id="30" dur="500" fill="hold"/>
                                        <p:tgtEl>
                                          <p:spTgt spid="58"/>
                                        </p:tgtEl>
                                        <p:attrNameLst>
                                          <p:attrName>ppt_w</p:attrName>
                                        </p:attrNameLst>
                                      </p:cBhvr>
                                      <p:tavLst>
                                        <p:tav tm="0">
                                          <p:val>
                                            <p:fltVal val="0"/>
                                          </p:val>
                                        </p:tav>
                                        <p:tav tm="100000">
                                          <p:val>
                                            <p:strVal val="#ppt_w"/>
                                          </p:val>
                                        </p:tav>
                                      </p:tavLst>
                                    </p:anim>
                                    <p:anim calcmode="lin" valueType="num">
                                      <p:cBhvr>
                                        <p:cTn id="31" dur="500" fill="hold"/>
                                        <p:tgtEl>
                                          <p:spTgt spid="58"/>
                                        </p:tgtEl>
                                        <p:attrNameLst>
                                          <p:attrName>ppt_h</p:attrName>
                                        </p:attrNameLst>
                                      </p:cBhvr>
                                      <p:tavLst>
                                        <p:tav tm="0">
                                          <p:val>
                                            <p:fltVal val="0"/>
                                          </p:val>
                                        </p:tav>
                                        <p:tav tm="100000">
                                          <p:val>
                                            <p:strVal val="#ppt_h"/>
                                          </p:val>
                                        </p:tav>
                                      </p:tavLst>
                                    </p:anim>
                                    <p:animEffect transition="in" filter="fade">
                                      <p:cBhvr>
                                        <p:cTn id="32" dur="500"/>
                                        <p:tgtEl>
                                          <p:spTgt spid="58"/>
                                        </p:tgtEl>
                                      </p:cBhvr>
                                    </p:animEffect>
                                  </p:childTnLst>
                                </p:cTn>
                              </p:par>
                              <p:par>
                                <p:cTn id="33" presetID="53" presetClass="entr" presetSubtype="16" fill="hold" grpId="0" nodeType="withEffect">
                                  <p:stCondLst>
                                    <p:cond delay="1500"/>
                                  </p:stCondLst>
                                  <p:childTnLst>
                                    <p:set>
                                      <p:cBhvr>
                                        <p:cTn id="34" dur="1" fill="hold">
                                          <p:stCondLst>
                                            <p:cond delay="0"/>
                                          </p:stCondLst>
                                        </p:cTn>
                                        <p:tgtEl>
                                          <p:spTgt spid="59"/>
                                        </p:tgtEl>
                                        <p:attrNameLst>
                                          <p:attrName>style.visibility</p:attrName>
                                        </p:attrNameLst>
                                      </p:cBhvr>
                                      <p:to>
                                        <p:strVal val="visible"/>
                                      </p:to>
                                    </p:set>
                                    <p:anim calcmode="lin" valueType="num">
                                      <p:cBhvr>
                                        <p:cTn id="35" dur="500" fill="hold"/>
                                        <p:tgtEl>
                                          <p:spTgt spid="59"/>
                                        </p:tgtEl>
                                        <p:attrNameLst>
                                          <p:attrName>ppt_w</p:attrName>
                                        </p:attrNameLst>
                                      </p:cBhvr>
                                      <p:tavLst>
                                        <p:tav tm="0">
                                          <p:val>
                                            <p:fltVal val="0"/>
                                          </p:val>
                                        </p:tav>
                                        <p:tav tm="100000">
                                          <p:val>
                                            <p:strVal val="#ppt_w"/>
                                          </p:val>
                                        </p:tav>
                                      </p:tavLst>
                                    </p:anim>
                                    <p:anim calcmode="lin" valueType="num">
                                      <p:cBhvr>
                                        <p:cTn id="36" dur="500" fill="hold"/>
                                        <p:tgtEl>
                                          <p:spTgt spid="59"/>
                                        </p:tgtEl>
                                        <p:attrNameLst>
                                          <p:attrName>ppt_h</p:attrName>
                                        </p:attrNameLst>
                                      </p:cBhvr>
                                      <p:tavLst>
                                        <p:tav tm="0">
                                          <p:val>
                                            <p:fltVal val="0"/>
                                          </p:val>
                                        </p:tav>
                                        <p:tav tm="100000">
                                          <p:val>
                                            <p:strVal val="#ppt_h"/>
                                          </p:val>
                                        </p:tav>
                                      </p:tavLst>
                                    </p:anim>
                                    <p:animEffect transition="in" filter="fade">
                                      <p:cBhvr>
                                        <p:cTn id="37" dur="500"/>
                                        <p:tgtEl>
                                          <p:spTgt spid="59"/>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53" presetClass="entr" presetSubtype="16" fill="hold" grpId="0" nodeType="withEffect">
                                  <p:stCondLst>
                                    <p:cond delay="1250"/>
                                  </p:stCondLst>
                                  <p:childTnLst>
                                    <p:set>
                                      <p:cBhvr>
                                        <p:cTn id="44" dur="1" fill="hold">
                                          <p:stCondLst>
                                            <p:cond delay="0"/>
                                          </p:stCondLst>
                                        </p:cTn>
                                        <p:tgtEl>
                                          <p:spTgt spid="61"/>
                                        </p:tgtEl>
                                        <p:attrNameLst>
                                          <p:attrName>style.visibility</p:attrName>
                                        </p:attrNameLst>
                                      </p:cBhvr>
                                      <p:to>
                                        <p:strVal val="visible"/>
                                      </p:to>
                                    </p:set>
                                    <p:anim calcmode="lin" valueType="num">
                                      <p:cBhvr>
                                        <p:cTn id="45" dur="500" fill="hold"/>
                                        <p:tgtEl>
                                          <p:spTgt spid="61"/>
                                        </p:tgtEl>
                                        <p:attrNameLst>
                                          <p:attrName>ppt_w</p:attrName>
                                        </p:attrNameLst>
                                      </p:cBhvr>
                                      <p:tavLst>
                                        <p:tav tm="0">
                                          <p:val>
                                            <p:fltVal val="0"/>
                                          </p:val>
                                        </p:tav>
                                        <p:tav tm="100000">
                                          <p:val>
                                            <p:strVal val="#ppt_w"/>
                                          </p:val>
                                        </p:tav>
                                      </p:tavLst>
                                    </p:anim>
                                    <p:anim calcmode="lin" valueType="num">
                                      <p:cBhvr>
                                        <p:cTn id="46" dur="500" fill="hold"/>
                                        <p:tgtEl>
                                          <p:spTgt spid="61"/>
                                        </p:tgtEl>
                                        <p:attrNameLst>
                                          <p:attrName>ppt_h</p:attrName>
                                        </p:attrNameLst>
                                      </p:cBhvr>
                                      <p:tavLst>
                                        <p:tav tm="0">
                                          <p:val>
                                            <p:fltVal val="0"/>
                                          </p:val>
                                        </p:tav>
                                        <p:tav tm="100000">
                                          <p:val>
                                            <p:strVal val="#ppt_h"/>
                                          </p:val>
                                        </p:tav>
                                      </p:tavLst>
                                    </p:anim>
                                    <p:animEffect transition="in" filter="fade">
                                      <p:cBhvr>
                                        <p:cTn id="47" dur="500"/>
                                        <p:tgtEl>
                                          <p:spTgt spid="61"/>
                                        </p:tgtEl>
                                      </p:cBhvr>
                                    </p:animEffect>
                                  </p:childTnLst>
                                </p:cTn>
                              </p:par>
                              <p:par>
                                <p:cTn id="48" presetID="53" presetClass="entr" presetSubtype="16" fill="hold" grpId="0" nodeType="withEffect">
                                  <p:stCondLst>
                                    <p:cond delay="750"/>
                                  </p:stCondLst>
                                  <p:childTnLst>
                                    <p:set>
                                      <p:cBhvr>
                                        <p:cTn id="49" dur="1" fill="hold">
                                          <p:stCondLst>
                                            <p:cond delay="0"/>
                                          </p:stCondLst>
                                        </p:cTn>
                                        <p:tgtEl>
                                          <p:spTgt spid="62"/>
                                        </p:tgtEl>
                                        <p:attrNameLst>
                                          <p:attrName>style.visibility</p:attrName>
                                        </p:attrNameLst>
                                      </p:cBhvr>
                                      <p:to>
                                        <p:strVal val="visible"/>
                                      </p:to>
                                    </p:set>
                                    <p:anim calcmode="lin" valueType="num">
                                      <p:cBhvr>
                                        <p:cTn id="50" dur="500" fill="hold"/>
                                        <p:tgtEl>
                                          <p:spTgt spid="62"/>
                                        </p:tgtEl>
                                        <p:attrNameLst>
                                          <p:attrName>ppt_w</p:attrName>
                                        </p:attrNameLst>
                                      </p:cBhvr>
                                      <p:tavLst>
                                        <p:tav tm="0">
                                          <p:val>
                                            <p:fltVal val="0"/>
                                          </p:val>
                                        </p:tav>
                                        <p:tav tm="100000">
                                          <p:val>
                                            <p:strVal val="#ppt_w"/>
                                          </p:val>
                                        </p:tav>
                                      </p:tavLst>
                                    </p:anim>
                                    <p:anim calcmode="lin" valueType="num">
                                      <p:cBhvr>
                                        <p:cTn id="51" dur="500" fill="hold"/>
                                        <p:tgtEl>
                                          <p:spTgt spid="62"/>
                                        </p:tgtEl>
                                        <p:attrNameLst>
                                          <p:attrName>ppt_h</p:attrName>
                                        </p:attrNameLst>
                                      </p:cBhvr>
                                      <p:tavLst>
                                        <p:tav tm="0">
                                          <p:val>
                                            <p:fltVal val="0"/>
                                          </p:val>
                                        </p:tav>
                                        <p:tav tm="100000">
                                          <p:val>
                                            <p:strVal val="#ppt_h"/>
                                          </p:val>
                                        </p:tav>
                                      </p:tavLst>
                                    </p:anim>
                                    <p:animEffect transition="in" filter="fade">
                                      <p:cBhvr>
                                        <p:cTn id="52" dur="500"/>
                                        <p:tgtEl>
                                          <p:spTgt spid="62"/>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90"/>
                                        </p:tgtEl>
                                        <p:attrNameLst>
                                          <p:attrName>style.visibility</p:attrName>
                                        </p:attrNameLst>
                                      </p:cBhvr>
                                      <p:to>
                                        <p:strVal val="visible"/>
                                      </p:to>
                                    </p:set>
                                    <p:anim calcmode="lin" valueType="num">
                                      <p:cBhvr>
                                        <p:cTn id="55" dur="500" fill="hold"/>
                                        <p:tgtEl>
                                          <p:spTgt spid="90"/>
                                        </p:tgtEl>
                                        <p:attrNameLst>
                                          <p:attrName>ppt_w</p:attrName>
                                        </p:attrNameLst>
                                      </p:cBhvr>
                                      <p:tavLst>
                                        <p:tav tm="0">
                                          <p:val>
                                            <p:fltVal val="0"/>
                                          </p:val>
                                        </p:tav>
                                        <p:tav tm="100000">
                                          <p:val>
                                            <p:strVal val="#ppt_w"/>
                                          </p:val>
                                        </p:tav>
                                      </p:tavLst>
                                    </p:anim>
                                    <p:anim calcmode="lin" valueType="num">
                                      <p:cBhvr>
                                        <p:cTn id="56" dur="500" fill="hold"/>
                                        <p:tgtEl>
                                          <p:spTgt spid="90"/>
                                        </p:tgtEl>
                                        <p:attrNameLst>
                                          <p:attrName>ppt_h</p:attrName>
                                        </p:attrNameLst>
                                      </p:cBhvr>
                                      <p:tavLst>
                                        <p:tav tm="0">
                                          <p:val>
                                            <p:fltVal val="0"/>
                                          </p:val>
                                        </p:tav>
                                        <p:tav tm="100000">
                                          <p:val>
                                            <p:strVal val="#ppt_h"/>
                                          </p:val>
                                        </p:tav>
                                      </p:tavLst>
                                    </p:anim>
                                    <p:animEffect transition="in" filter="fade">
                                      <p:cBhvr>
                                        <p:cTn id="57" dur="500"/>
                                        <p:tgtEl>
                                          <p:spTgt spid="90"/>
                                        </p:tgtEl>
                                      </p:cBhvr>
                                    </p:animEffect>
                                  </p:childTnLst>
                                </p:cTn>
                              </p:par>
                              <p:par>
                                <p:cTn id="58" presetID="53" presetClass="entr" presetSubtype="16" fill="hold" grpId="0" nodeType="withEffect">
                                  <p:stCondLst>
                                    <p:cond delay="750"/>
                                  </p:stCondLst>
                                  <p:childTnLst>
                                    <p:set>
                                      <p:cBhvr>
                                        <p:cTn id="59" dur="1" fill="hold">
                                          <p:stCondLst>
                                            <p:cond delay="0"/>
                                          </p:stCondLst>
                                        </p:cTn>
                                        <p:tgtEl>
                                          <p:spTgt spid="108"/>
                                        </p:tgtEl>
                                        <p:attrNameLst>
                                          <p:attrName>style.visibility</p:attrName>
                                        </p:attrNameLst>
                                      </p:cBhvr>
                                      <p:to>
                                        <p:strVal val="visible"/>
                                      </p:to>
                                    </p:set>
                                    <p:anim calcmode="lin" valueType="num">
                                      <p:cBhvr>
                                        <p:cTn id="60" dur="500" fill="hold"/>
                                        <p:tgtEl>
                                          <p:spTgt spid="108"/>
                                        </p:tgtEl>
                                        <p:attrNameLst>
                                          <p:attrName>ppt_w</p:attrName>
                                        </p:attrNameLst>
                                      </p:cBhvr>
                                      <p:tavLst>
                                        <p:tav tm="0">
                                          <p:val>
                                            <p:fltVal val="0"/>
                                          </p:val>
                                        </p:tav>
                                        <p:tav tm="100000">
                                          <p:val>
                                            <p:strVal val="#ppt_w"/>
                                          </p:val>
                                        </p:tav>
                                      </p:tavLst>
                                    </p:anim>
                                    <p:anim calcmode="lin" valueType="num">
                                      <p:cBhvr>
                                        <p:cTn id="61" dur="500" fill="hold"/>
                                        <p:tgtEl>
                                          <p:spTgt spid="108"/>
                                        </p:tgtEl>
                                        <p:attrNameLst>
                                          <p:attrName>ppt_h</p:attrName>
                                        </p:attrNameLst>
                                      </p:cBhvr>
                                      <p:tavLst>
                                        <p:tav tm="0">
                                          <p:val>
                                            <p:fltVal val="0"/>
                                          </p:val>
                                        </p:tav>
                                        <p:tav tm="100000">
                                          <p:val>
                                            <p:strVal val="#ppt_h"/>
                                          </p:val>
                                        </p:tav>
                                      </p:tavLst>
                                    </p:anim>
                                    <p:animEffect transition="in" filter="fade">
                                      <p:cBhvr>
                                        <p:cTn id="62" dur="500"/>
                                        <p:tgtEl>
                                          <p:spTgt spid="108"/>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109"/>
                                        </p:tgtEl>
                                        <p:attrNameLst>
                                          <p:attrName>style.visibility</p:attrName>
                                        </p:attrNameLst>
                                      </p:cBhvr>
                                      <p:to>
                                        <p:strVal val="visible"/>
                                      </p:to>
                                    </p:set>
                                    <p:anim calcmode="lin" valueType="num">
                                      <p:cBhvr>
                                        <p:cTn id="65" dur="500" fill="hold"/>
                                        <p:tgtEl>
                                          <p:spTgt spid="109"/>
                                        </p:tgtEl>
                                        <p:attrNameLst>
                                          <p:attrName>ppt_w</p:attrName>
                                        </p:attrNameLst>
                                      </p:cBhvr>
                                      <p:tavLst>
                                        <p:tav tm="0">
                                          <p:val>
                                            <p:fltVal val="0"/>
                                          </p:val>
                                        </p:tav>
                                        <p:tav tm="100000">
                                          <p:val>
                                            <p:strVal val="#ppt_w"/>
                                          </p:val>
                                        </p:tav>
                                      </p:tavLst>
                                    </p:anim>
                                    <p:anim calcmode="lin" valueType="num">
                                      <p:cBhvr>
                                        <p:cTn id="66" dur="500" fill="hold"/>
                                        <p:tgtEl>
                                          <p:spTgt spid="109"/>
                                        </p:tgtEl>
                                        <p:attrNameLst>
                                          <p:attrName>ppt_h</p:attrName>
                                        </p:attrNameLst>
                                      </p:cBhvr>
                                      <p:tavLst>
                                        <p:tav tm="0">
                                          <p:val>
                                            <p:fltVal val="0"/>
                                          </p:val>
                                        </p:tav>
                                        <p:tav tm="100000">
                                          <p:val>
                                            <p:strVal val="#ppt_h"/>
                                          </p:val>
                                        </p:tav>
                                      </p:tavLst>
                                    </p:anim>
                                    <p:animEffect transition="in" filter="fade">
                                      <p:cBhvr>
                                        <p:cTn id="67" dur="500"/>
                                        <p:tgtEl>
                                          <p:spTgt spid="109"/>
                                        </p:tgtEl>
                                      </p:cBhvr>
                                    </p:animEffect>
                                  </p:childTnLst>
                                </p:cTn>
                              </p:par>
                              <p:par>
                                <p:cTn id="68" presetID="53" presetClass="entr" presetSubtype="16" fill="hold" grpId="0" nodeType="withEffect">
                                  <p:stCondLst>
                                    <p:cond delay="1250"/>
                                  </p:stCondLst>
                                  <p:childTnLst>
                                    <p:set>
                                      <p:cBhvr>
                                        <p:cTn id="69" dur="1" fill="hold">
                                          <p:stCondLst>
                                            <p:cond delay="0"/>
                                          </p:stCondLst>
                                        </p:cTn>
                                        <p:tgtEl>
                                          <p:spTgt spid="110"/>
                                        </p:tgtEl>
                                        <p:attrNameLst>
                                          <p:attrName>style.visibility</p:attrName>
                                        </p:attrNameLst>
                                      </p:cBhvr>
                                      <p:to>
                                        <p:strVal val="visible"/>
                                      </p:to>
                                    </p:set>
                                    <p:anim calcmode="lin" valueType="num">
                                      <p:cBhvr>
                                        <p:cTn id="70" dur="500" fill="hold"/>
                                        <p:tgtEl>
                                          <p:spTgt spid="110"/>
                                        </p:tgtEl>
                                        <p:attrNameLst>
                                          <p:attrName>ppt_w</p:attrName>
                                        </p:attrNameLst>
                                      </p:cBhvr>
                                      <p:tavLst>
                                        <p:tav tm="0">
                                          <p:val>
                                            <p:fltVal val="0"/>
                                          </p:val>
                                        </p:tav>
                                        <p:tav tm="100000">
                                          <p:val>
                                            <p:strVal val="#ppt_w"/>
                                          </p:val>
                                        </p:tav>
                                      </p:tavLst>
                                    </p:anim>
                                    <p:anim calcmode="lin" valueType="num">
                                      <p:cBhvr>
                                        <p:cTn id="71" dur="500" fill="hold"/>
                                        <p:tgtEl>
                                          <p:spTgt spid="110"/>
                                        </p:tgtEl>
                                        <p:attrNameLst>
                                          <p:attrName>ppt_h</p:attrName>
                                        </p:attrNameLst>
                                      </p:cBhvr>
                                      <p:tavLst>
                                        <p:tav tm="0">
                                          <p:val>
                                            <p:fltVal val="0"/>
                                          </p:val>
                                        </p:tav>
                                        <p:tav tm="100000">
                                          <p:val>
                                            <p:strVal val="#ppt_h"/>
                                          </p:val>
                                        </p:tav>
                                      </p:tavLst>
                                    </p:anim>
                                    <p:animEffect transition="in" filter="fade">
                                      <p:cBhvr>
                                        <p:cTn id="72" dur="500"/>
                                        <p:tgtEl>
                                          <p:spTgt spid="110"/>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111"/>
                                        </p:tgtEl>
                                        <p:attrNameLst>
                                          <p:attrName>style.visibility</p:attrName>
                                        </p:attrNameLst>
                                      </p:cBhvr>
                                      <p:to>
                                        <p:strVal val="visible"/>
                                      </p:to>
                                    </p:set>
                                    <p:anim calcmode="lin" valueType="num">
                                      <p:cBhvr>
                                        <p:cTn id="75" dur="500" fill="hold"/>
                                        <p:tgtEl>
                                          <p:spTgt spid="111"/>
                                        </p:tgtEl>
                                        <p:attrNameLst>
                                          <p:attrName>ppt_w</p:attrName>
                                        </p:attrNameLst>
                                      </p:cBhvr>
                                      <p:tavLst>
                                        <p:tav tm="0">
                                          <p:val>
                                            <p:fltVal val="0"/>
                                          </p:val>
                                        </p:tav>
                                        <p:tav tm="100000">
                                          <p:val>
                                            <p:strVal val="#ppt_w"/>
                                          </p:val>
                                        </p:tav>
                                      </p:tavLst>
                                    </p:anim>
                                    <p:anim calcmode="lin" valueType="num">
                                      <p:cBhvr>
                                        <p:cTn id="76" dur="500" fill="hold"/>
                                        <p:tgtEl>
                                          <p:spTgt spid="111"/>
                                        </p:tgtEl>
                                        <p:attrNameLst>
                                          <p:attrName>ppt_h</p:attrName>
                                        </p:attrNameLst>
                                      </p:cBhvr>
                                      <p:tavLst>
                                        <p:tav tm="0">
                                          <p:val>
                                            <p:fltVal val="0"/>
                                          </p:val>
                                        </p:tav>
                                        <p:tav tm="100000">
                                          <p:val>
                                            <p:strVal val="#ppt_h"/>
                                          </p:val>
                                        </p:tav>
                                      </p:tavLst>
                                    </p:anim>
                                    <p:animEffect transition="in" filter="fade">
                                      <p:cBhvr>
                                        <p:cTn id="77" dur="500"/>
                                        <p:tgtEl>
                                          <p:spTgt spid="111"/>
                                        </p:tgtEl>
                                      </p:cBhvr>
                                    </p:animEffect>
                                  </p:childTnLst>
                                </p:cTn>
                              </p:par>
                              <p:par>
                                <p:cTn id="78" presetID="53" presetClass="entr" presetSubtype="16" fill="hold" grpId="0" nodeType="withEffect">
                                  <p:stCondLst>
                                    <p:cond delay="250"/>
                                  </p:stCondLst>
                                  <p:childTnLst>
                                    <p:set>
                                      <p:cBhvr>
                                        <p:cTn id="79" dur="1" fill="hold">
                                          <p:stCondLst>
                                            <p:cond delay="0"/>
                                          </p:stCondLst>
                                        </p:cTn>
                                        <p:tgtEl>
                                          <p:spTgt spid="112"/>
                                        </p:tgtEl>
                                        <p:attrNameLst>
                                          <p:attrName>style.visibility</p:attrName>
                                        </p:attrNameLst>
                                      </p:cBhvr>
                                      <p:to>
                                        <p:strVal val="visible"/>
                                      </p:to>
                                    </p:set>
                                    <p:anim calcmode="lin" valueType="num">
                                      <p:cBhvr>
                                        <p:cTn id="80" dur="500" fill="hold"/>
                                        <p:tgtEl>
                                          <p:spTgt spid="112"/>
                                        </p:tgtEl>
                                        <p:attrNameLst>
                                          <p:attrName>ppt_w</p:attrName>
                                        </p:attrNameLst>
                                      </p:cBhvr>
                                      <p:tavLst>
                                        <p:tav tm="0">
                                          <p:val>
                                            <p:fltVal val="0"/>
                                          </p:val>
                                        </p:tav>
                                        <p:tav tm="100000">
                                          <p:val>
                                            <p:strVal val="#ppt_w"/>
                                          </p:val>
                                        </p:tav>
                                      </p:tavLst>
                                    </p:anim>
                                    <p:anim calcmode="lin" valueType="num">
                                      <p:cBhvr>
                                        <p:cTn id="81" dur="500" fill="hold"/>
                                        <p:tgtEl>
                                          <p:spTgt spid="112"/>
                                        </p:tgtEl>
                                        <p:attrNameLst>
                                          <p:attrName>ppt_h</p:attrName>
                                        </p:attrNameLst>
                                      </p:cBhvr>
                                      <p:tavLst>
                                        <p:tav tm="0">
                                          <p:val>
                                            <p:fltVal val="0"/>
                                          </p:val>
                                        </p:tav>
                                        <p:tav tm="100000">
                                          <p:val>
                                            <p:strVal val="#ppt_h"/>
                                          </p:val>
                                        </p:tav>
                                      </p:tavLst>
                                    </p:anim>
                                    <p:animEffect transition="in" filter="fade">
                                      <p:cBhvr>
                                        <p:cTn id="82" dur="500"/>
                                        <p:tgtEl>
                                          <p:spTgt spid="112"/>
                                        </p:tgtEl>
                                      </p:cBhvr>
                                    </p:animEffect>
                                  </p:childTnLst>
                                </p:cTn>
                              </p:par>
                              <p:par>
                                <p:cTn id="83" presetID="53" presetClass="entr" presetSubtype="16" fill="hold" grpId="0" nodeType="withEffect">
                                  <p:stCondLst>
                                    <p:cond delay="0"/>
                                  </p:stCondLst>
                                  <p:childTnLst>
                                    <p:set>
                                      <p:cBhvr>
                                        <p:cTn id="84" dur="1" fill="hold">
                                          <p:stCondLst>
                                            <p:cond delay="0"/>
                                          </p:stCondLst>
                                        </p:cTn>
                                        <p:tgtEl>
                                          <p:spTgt spid="113"/>
                                        </p:tgtEl>
                                        <p:attrNameLst>
                                          <p:attrName>style.visibility</p:attrName>
                                        </p:attrNameLst>
                                      </p:cBhvr>
                                      <p:to>
                                        <p:strVal val="visible"/>
                                      </p:to>
                                    </p:set>
                                    <p:anim calcmode="lin" valueType="num">
                                      <p:cBhvr>
                                        <p:cTn id="85" dur="500" fill="hold"/>
                                        <p:tgtEl>
                                          <p:spTgt spid="113"/>
                                        </p:tgtEl>
                                        <p:attrNameLst>
                                          <p:attrName>ppt_w</p:attrName>
                                        </p:attrNameLst>
                                      </p:cBhvr>
                                      <p:tavLst>
                                        <p:tav tm="0">
                                          <p:val>
                                            <p:fltVal val="0"/>
                                          </p:val>
                                        </p:tav>
                                        <p:tav tm="100000">
                                          <p:val>
                                            <p:strVal val="#ppt_w"/>
                                          </p:val>
                                        </p:tav>
                                      </p:tavLst>
                                    </p:anim>
                                    <p:anim calcmode="lin" valueType="num">
                                      <p:cBhvr>
                                        <p:cTn id="86" dur="500" fill="hold"/>
                                        <p:tgtEl>
                                          <p:spTgt spid="113"/>
                                        </p:tgtEl>
                                        <p:attrNameLst>
                                          <p:attrName>ppt_h</p:attrName>
                                        </p:attrNameLst>
                                      </p:cBhvr>
                                      <p:tavLst>
                                        <p:tav tm="0">
                                          <p:val>
                                            <p:fltVal val="0"/>
                                          </p:val>
                                        </p:tav>
                                        <p:tav tm="100000">
                                          <p:val>
                                            <p:strVal val="#ppt_h"/>
                                          </p:val>
                                        </p:tav>
                                      </p:tavLst>
                                    </p:anim>
                                    <p:animEffect transition="in" filter="fade">
                                      <p:cBhvr>
                                        <p:cTn id="87" dur="500"/>
                                        <p:tgtEl>
                                          <p:spTgt spid="113"/>
                                        </p:tgtEl>
                                      </p:cBhvr>
                                    </p:animEffect>
                                  </p:childTnLst>
                                </p:cTn>
                              </p:par>
                              <p:par>
                                <p:cTn id="88" presetID="53" presetClass="entr" presetSubtype="16" fill="hold" grpId="0" nodeType="withEffect">
                                  <p:stCondLst>
                                    <p:cond delay="750"/>
                                  </p:stCondLst>
                                  <p:childTnLst>
                                    <p:set>
                                      <p:cBhvr>
                                        <p:cTn id="89" dur="1" fill="hold">
                                          <p:stCondLst>
                                            <p:cond delay="0"/>
                                          </p:stCondLst>
                                        </p:cTn>
                                        <p:tgtEl>
                                          <p:spTgt spid="114"/>
                                        </p:tgtEl>
                                        <p:attrNameLst>
                                          <p:attrName>style.visibility</p:attrName>
                                        </p:attrNameLst>
                                      </p:cBhvr>
                                      <p:to>
                                        <p:strVal val="visible"/>
                                      </p:to>
                                    </p:set>
                                    <p:anim calcmode="lin" valueType="num">
                                      <p:cBhvr>
                                        <p:cTn id="90" dur="500" fill="hold"/>
                                        <p:tgtEl>
                                          <p:spTgt spid="114"/>
                                        </p:tgtEl>
                                        <p:attrNameLst>
                                          <p:attrName>ppt_w</p:attrName>
                                        </p:attrNameLst>
                                      </p:cBhvr>
                                      <p:tavLst>
                                        <p:tav tm="0">
                                          <p:val>
                                            <p:fltVal val="0"/>
                                          </p:val>
                                        </p:tav>
                                        <p:tav tm="100000">
                                          <p:val>
                                            <p:strVal val="#ppt_w"/>
                                          </p:val>
                                        </p:tav>
                                      </p:tavLst>
                                    </p:anim>
                                    <p:anim calcmode="lin" valueType="num">
                                      <p:cBhvr>
                                        <p:cTn id="91" dur="500" fill="hold"/>
                                        <p:tgtEl>
                                          <p:spTgt spid="114"/>
                                        </p:tgtEl>
                                        <p:attrNameLst>
                                          <p:attrName>ppt_h</p:attrName>
                                        </p:attrNameLst>
                                      </p:cBhvr>
                                      <p:tavLst>
                                        <p:tav tm="0">
                                          <p:val>
                                            <p:fltVal val="0"/>
                                          </p:val>
                                        </p:tav>
                                        <p:tav tm="100000">
                                          <p:val>
                                            <p:strVal val="#ppt_h"/>
                                          </p:val>
                                        </p:tav>
                                      </p:tavLst>
                                    </p:anim>
                                    <p:animEffect transition="in" filter="fade">
                                      <p:cBhvr>
                                        <p:cTn id="92" dur="500"/>
                                        <p:tgtEl>
                                          <p:spTgt spid="114"/>
                                        </p:tgtEl>
                                      </p:cBhvr>
                                    </p:animEffect>
                                  </p:childTnLst>
                                </p:cTn>
                              </p:par>
                              <p:par>
                                <p:cTn id="93" presetID="53" presetClass="entr" presetSubtype="16" fill="hold" grpId="0" nodeType="withEffect">
                                  <p:stCondLst>
                                    <p:cond delay="250"/>
                                  </p:stCondLst>
                                  <p:childTnLst>
                                    <p:set>
                                      <p:cBhvr>
                                        <p:cTn id="94" dur="1" fill="hold">
                                          <p:stCondLst>
                                            <p:cond delay="0"/>
                                          </p:stCondLst>
                                        </p:cTn>
                                        <p:tgtEl>
                                          <p:spTgt spid="115"/>
                                        </p:tgtEl>
                                        <p:attrNameLst>
                                          <p:attrName>style.visibility</p:attrName>
                                        </p:attrNameLst>
                                      </p:cBhvr>
                                      <p:to>
                                        <p:strVal val="visible"/>
                                      </p:to>
                                    </p:set>
                                    <p:anim calcmode="lin" valueType="num">
                                      <p:cBhvr>
                                        <p:cTn id="95" dur="500" fill="hold"/>
                                        <p:tgtEl>
                                          <p:spTgt spid="115"/>
                                        </p:tgtEl>
                                        <p:attrNameLst>
                                          <p:attrName>ppt_w</p:attrName>
                                        </p:attrNameLst>
                                      </p:cBhvr>
                                      <p:tavLst>
                                        <p:tav tm="0">
                                          <p:val>
                                            <p:fltVal val="0"/>
                                          </p:val>
                                        </p:tav>
                                        <p:tav tm="100000">
                                          <p:val>
                                            <p:strVal val="#ppt_w"/>
                                          </p:val>
                                        </p:tav>
                                      </p:tavLst>
                                    </p:anim>
                                    <p:anim calcmode="lin" valueType="num">
                                      <p:cBhvr>
                                        <p:cTn id="96" dur="500" fill="hold"/>
                                        <p:tgtEl>
                                          <p:spTgt spid="115"/>
                                        </p:tgtEl>
                                        <p:attrNameLst>
                                          <p:attrName>ppt_h</p:attrName>
                                        </p:attrNameLst>
                                      </p:cBhvr>
                                      <p:tavLst>
                                        <p:tav tm="0">
                                          <p:val>
                                            <p:fltVal val="0"/>
                                          </p:val>
                                        </p:tav>
                                        <p:tav tm="100000">
                                          <p:val>
                                            <p:strVal val="#ppt_h"/>
                                          </p:val>
                                        </p:tav>
                                      </p:tavLst>
                                    </p:anim>
                                    <p:animEffect transition="in" filter="fade">
                                      <p:cBhvr>
                                        <p:cTn id="97" dur="500"/>
                                        <p:tgtEl>
                                          <p:spTgt spid="115"/>
                                        </p:tgtEl>
                                      </p:cBhvr>
                                    </p:animEffect>
                                  </p:childTnLst>
                                </p:cTn>
                              </p:par>
                              <p:par>
                                <p:cTn id="98" presetID="53" presetClass="entr" presetSubtype="16" fill="hold" grpId="0" nodeType="withEffect">
                                  <p:stCondLst>
                                    <p:cond delay="0"/>
                                  </p:stCondLst>
                                  <p:childTnLst>
                                    <p:set>
                                      <p:cBhvr>
                                        <p:cTn id="99" dur="1" fill="hold">
                                          <p:stCondLst>
                                            <p:cond delay="0"/>
                                          </p:stCondLst>
                                        </p:cTn>
                                        <p:tgtEl>
                                          <p:spTgt spid="116"/>
                                        </p:tgtEl>
                                        <p:attrNameLst>
                                          <p:attrName>style.visibility</p:attrName>
                                        </p:attrNameLst>
                                      </p:cBhvr>
                                      <p:to>
                                        <p:strVal val="visible"/>
                                      </p:to>
                                    </p:set>
                                    <p:anim calcmode="lin" valueType="num">
                                      <p:cBhvr>
                                        <p:cTn id="100" dur="500" fill="hold"/>
                                        <p:tgtEl>
                                          <p:spTgt spid="116"/>
                                        </p:tgtEl>
                                        <p:attrNameLst>
                                          <p:attrName>ppt_w</p:attrName>
                                        </p:attrNameLst>
                                      </p:cBhvr>
                                      <p:tavLst>
                                        <p:tav tm="0">
                                          <p:val>
                                            <p:fltVal val="0"/>
                                          </p:val>
                                        </p:tav>
                                        <p:tav tm="100000">
                                          <p:val>
                                            <p:strVal val="#ppt_w"/>
                                          </p:val>
                                        </p:tav>
                                      </p:tavLst>
                                    </p:anim>
                                    <p:anim calcmode="lin" valueType="num">
                                      <p:cBhvr>
                                        <p:cTn id="101" dur="500" fill="hold"/>
                                        <p:tgtEl>
                                          <p:spTgt spid="116"/>
                                        </p:tgtEl>
                                        <p:attrNameLst>
                                          <p:attrName>ppt_h</p:attrName>
                                        </p:attrNameLst>
                                      </p:cBhvr>
                                      <p:tavLst>
                                        <p:tav tm="0">
                                          <p:val>
                                            <p:fltVal val="0"/>
                                          </p:val>
                                        </p:tav>
                                        <p:tav tm="100000">
                                          <p:val>
                                            <p:strVal val="#ppt_h"/>
                                          </p:val>
                                        </p:tav>
                                      </p:tavLst>
                                    </p:anim>
                                    <p:animEffect transition="in" filter="fade">
                                      <p:cBhvr>
                                        <p:cTn id="102" dur="500"/>
                                        <p:tgtEl>
                                          <p:spTgt spid="116"/>
                                        </p:tgtEl>
                                      </p:cBhvr>
                                    </p:animEffect>
                                  </p:childTnLst>
                                </p:cTn>
                              </p:par>
                              <p:par>
                                <p:cTn id="103" presetID="53" presetClass="entr" presetSubtype="16" fill="hold" grpId="0" nodeType="withEffect">
                                  <p:stCondLst>
                                    <p:cond delay="0"/>
                                  </p:stCondLst>
                                  <p:childTnLst>
                                    <p:set>
                                      <p:cBhvr>
                                        <p:cTn id="104" dur="1" fill="hold">
                                          <p:stCondLst>
                                            <p:cond delay="0"/>
                                          </p:stCondLst>
                                        </p:cTn>
                                        <p:tgtEl>
                                          <p:spTgt spid="117"/>
                                        </p:tgtEl>
                                        <p:attrNameLst>
                                          <p:attrName>style.visibility</p:attrName>
                                        </p:attrNameLst>
                                      </p:cBhvr>
                                      <p:to>
                                        <p:strVal val="visible"/>
                                      </p:to>
                                    </p:set>
                                    <p:anim calcmode="lin" valueType="num">
                                      <p:cBhvr>
                                        <p:cTn id="105" dur="500" fill="hold"/>
                                        <p:tgtEl>
                                          <p:spTgt spid="117"/>
                                        </p:tgtEl>
                                        <p:attrNameLst>
                                          <p:attrName>ppt_w</p:attrName>
                                        </p:attrNameLst>
                                      </p:cBhvr>
                                      <p:tavLst>
                                        <p:tav tm="0">
                                          <p:val>
                                            <p:fltVal val="0"/>
                                          </p:val>
                                        </p:tav>
                                        <p:tav tm="100000">
                                          <p:val>
                                            <p:strVal val="#ppt_w"/>
                                          </p:val>
                                        </p:tav>
                                      </p:tavLst>
                                    </p:anim>
                                    <p:anim calcmode="lin" valueType="num">
                                      <p:cBhvr>
                                        <p:cTn id="106" dur="500" fill="hold"/>
                                        <p:tgtEl>
                                          <p:spTgt spid="117"/>
                                        </p:tgtEl>
                                        <p:attrNameLst>
                                          <p:attrName>ppt_h</p:attrName>
                                        </p:attrNameLst>
                                      </p:cBhvr>
                                      <p:tavLst>
                                        <p:tav tm="0">
                                          <p:val>
                                            <p:fltVal val="0"/>
                                          </p:val>
                                        </p:tav>
                                        <p:tav tm="100000">
                                          <p:val>
                                            <p:strVal val="#ppt_h"/>
                                          </p:val>
                                        </p:tav>
                                      </p:tavLst>
                                    </p:anim>
                                    <p:animEffect transition="in" filter="fade">
                                      <p:cBhvr>
                                        <p:cTn id="107" dur="500"/>
                                        <p:tgtEl>
                                          <p:spTgt spid="117"/>
                                        </p:tgtEl>
                                      </p:cBhvr>
                                    </p:animEffect>
                                  </p:childTnLst>
                                </p:cTn>
                              </p:par>
                              <p:par>
                                <p:cTn id="108" presetID="53" presetClass="entr" presetSubtype="16" fill="hold" grpId="0" nodeType="withEffect">
                                  <p:stCondLst>
                                    <p:cond delay="750"/>
                                  </p:stCondLst>
                                  <p:childTnLst>
                                    <p:set>
                                      <p:cBhvr>
                                        <p:cTn id="109" dur="1" fill="hold">
                                          <p:stCondLst>
                                            <p:cond delay="0"/>
                                          </p:stCondLst>
                                        </p:cTn>
                                        <p:tgtEl>
                                          <p:spTgt spid="118"/>
                                        </p:tgtEl>
                                        <p:attrNameLst>
                                          <p:attrName>style.visibility</p:attrName>
                                        </p:attrNameLst>
                                      </p:cBhvr>
                                      <p:to>
                                        <p:strVal val="visible"/>
                                      </p:to>
                                    </p:set>
                                    <p:anim calcmode="lin" valueType="num">
                                      <p:cBhvr>
                                        <p:cTn id="110" dur="500" fill="hold"/>
                                        <p:tgtEl>
                                          <p:spTgt spid="118"/>
                                        </p:tgtEl>
                                        <p:attrNameLst>
                                          <p:attrName>ppt_w</p:attrName>
                                        </p:attrNameLst>
                                      </p:cBhvr>
                                      <p:tavLst>
                                        <p:tav tm="0">
                                          <p:val>
                                            <p:fltVal val="0"/>
                                          </p:val>
                                        </p:tav>
                                        <p:tav tm="100000">
                                          <p:val>
                                            <p:strVal val="#ppt_w"/>
                                          </p:val>
                                        </p:tav>
                                      </p:tavLst>
                                    </p:anim>
                                    <p:anim calcmode="lin" valueType="num">
                                      <p:cBhvr>
                                        <p:cTn id="111" dur="500" fill="hold"/>
                                        <p:tgtEl>
                                          <p:spTgt spid="118"/>
                                        </p:tgtEl>
                                        <p:attrNameLst>
                                          <p:attrName>ppt_h</p:attrName>
                                        </p:attrNameLst>
                                      </p:cBhvr>
                                      <p:tavLst>
                                        <p:tav tm="0">
                                          <p:val>
                                            <p:fltVal val="0"/>
                                          </p:val>
                                        </p:tav>
                                        <p:tav tm="100000">
                                          <p:val>
                                            <p:strVal val="#ppt_h"/>
                                          </p:val>
                                        </p:tav>
                                      </p:tavLst>
                                    </p:anim>
                                    <p:animEffect transition="in" filter="fade">
                                      <p:cBhvr>
                                        <p:cTn id="112" dur="500"/>
                                        <p:tgtEl>
                                          <p:spTgt spid="118"/>
                                        </p:tgtEl>
                                      </p:cBhvr>
                                    </p:animEffect>
                                  </p:childTnLst>
                                </p:cTn>
                              </p:par>
                              <p:par>
                                <p:cTn id="113" presetID="53" presetClass="entr" presetSubtype="16" fill="hold" grpId="0" nodeType="withEffect">
                                  <p:stCondLst>
                                    <p:cond delay="250"/>
                                  </p:stCondLst>
                                  <p:childTnLst>
                                    <p:set>
                                      <p:cBhvr>
                                        <p:cTn id="114" dur="1" fill="hold">
                                          <p:stCondLst>
                                            <p:cond delay="0"/>
                                          </p:stCondLst>
                                        </p:cTn>
                                        <p:tgtEl>
                                          <p:spTgt spid="119"/>
                                        </p:tgtEl>
                                        <p:attrNameLst>
                                          <p:attrName>style.visibility</p:attrName>
                                        </p:attrNameLst>
                                      </p:cBhvr>
                                      <p:to>
                                        <p:strVal val="visible"/>
                                      </p:to>
                                    </p:set>
                                    <p:anim calcmode="lin" valueType="num">
                                      <p:cBhvr>
                                        <p:cTn id="115" dur="500" fill="hold"/>
                                        <p:tgtEl>
                                          <p:spTgt spid="119"/>
                                        </p:tgtEl>
                                        <p:attrNameLst>
                                          <p:attrName>ppt_w</p:attrName>
                                        </p:attrNameLst>
                                      </p:cBhvr>
                                      <p:tavLst>
                                        <p:tav tm="0">
                                          <p:val>
                                            <p:fltVal val="0"/>
                                          </p:val>
                                        </p:tav>
                                        <p:tav tm="100000">
                                          <p:val>
                                            <p:strVal val="#ppt_w"/>
                                          </p:val>
                                        </p:tav>
                                      </p:tavLst>
                                    </p:anim>
                                    <p:anim calcmode="lin" valueType="num">
                                      <p:cBhvr>
                                        <p:cTn id="116" dur="500" fill="hold"/>
                                        <p:tgtEl>
                                          <p:spTgt spid="119"/>
                                        </p:tgtEl>
                                        <p:attrNameLst>
                                          <p:attrName>ppt_h</p:attrName>
                                        </p:attrNameLst>
                                      </p:cBhvr>
                                      <p:tavLst>
                                        <p:tav tm="0">
                                          <p:val>
                                            <p:fltVal val="0"/>
                                          </p:val>
                                        </p:tav>
                                        <p:tav tm="100000">
                                          <p:val>
                                            <p:strVal val="#ppt_h"/>
                                          </p:val>
                                        </p:tav>
                                      </p:tavLst>
                                    </p:anim>
                                    <p:animEffect transition="in" filter="fade">
                                      <p:cBhvr>
                                        <p:cTn id="117" dur="500"/>
                                        <p:tgtEl>
                                          <p:spTgt spid="119"/>
                                        </p:tgtEl>
                                      </p:cBhvr>
                                    </p:animEffect>
                                  </p:childTnLst>
                                </p:cTn>
                              </p:par>
                              <p:par>
                                <p:cTn id="118" presetID="53" presetClass="entr" presetSubtype="16" fill="hold" grpId="0" nodeType="withEffect">
                                  <p:stCondLst>
                                    <p:cond delay="0"/>
                                  </p:stCondLst>
                                  <p:childTnLst>
                                    <p:set>
                                      <p:cBhvr>
                                        <p:cTn id="119" dur="1" fill="hold">
                                          <p:stCondLst>
                                            <p:cond delay="0"/>
                                          </p:stCondLst>
                                        </p:cTn>
                                        <p:tgtEl>
                                          <p:spTgt spid="120"/>
                                        </p:tgtEl>
                                        <p:attrNameLst>
                                          <p:attrName>style.visibility</p:attrName>
                                        </p:attrNameLst>
                                      </p:cBhvr>
                                      <p:to>
                                        <p:strVal val="visible"/>
                                      </p:to>
                                    </p:set>
                                    <p:anim calcmode="lin" valueType="num">
                                      <p:cBhvr>
                                        <p:cTn id="120" dur="500" fill="hold"/>
                                        <p:tgtEl>
                                          <p:spTgt spid="120"/>
                                        </p:tgtEl>
                                        <p:attrNameLst>
                                          <p:attrName>ppt_w</p:attrName>
                                        </p:attrNameLst>
                                      </p:cBhvr>
                                      <p:tavLst>
                                        <p:tav tm="0">
                                          <p:val>
                                            <p:fltVal val="0"/>
                                          </p:val>
                                        </p:tav>
                                        <p:tav tm="100000">
                                          <p:val>
                                            <p:strVal val="#ppt_w"/>
                                          </p:val>
                                        </p:tav>
                                      </p:tavLst>
                                    </p:anim>
                                    <p:anim calcmode="lin" valueType="num">
                                      <p:cBhvr>
                                        <p:cTn id="121" dur="500" fill="hold"/>
                                        <p:tgtEl>
                                          <p:spTgt spid="120"/>
                                        </p:tgtEl>
                                        <p:attrNameLst>
                                          <p:attrName>ppt_h</p:attrName>
                                        </p:attrNameLst>
                                      </p:cBhvr>
                                      <p:tavLst>
                                        <p:tav tm="0">
                                          <p:val>
                                            <p:fltVal val="0"/>
                                          </p:val>
                                        </p:tav>
                                        <p:tav tm="100000">
                                          <p:val>
                                            <p:strVal val="#ppt_h"/>
                                          </p:val>
                                        </p:tav>
                                      </p:tavLst>
                                    </p:anim>
                                    <p:animEffect transition="in" filter="fade">
                                      <p:cBhvr>
                                        <p:cTn id="122" dur="500"/>
                                        <p:tgtEl>
                                          <p:spTgt spid="120"/>
                                        </p:tgtEl>
                                      </p:cBhvr>
                                    </p:animEffect>
                                  </p:childTnLst>
                                </p:cTn>
                              </p:par>
                              <p:par>
                                <p:cTn id="123" presetID="53" presetClass="entr" presetSubtype="16" fill="hold" grpId="0" nodeType="withEffect">
                                  <p:stCondLst>
                                    <p:cond delay="250"/>
                                  </p:stCondLst>
                                  <p:childTnLst>
                                    <p:set>
                                      <p:cBhvr>
                                        <p:cTn id="124" dur="1" fill="hold">
                                          <p:stCondLst>
                                            <p:cond delay="0"/>
                                          </p:stCondLst>
                                        </p:cTn>
                                        <p:tgtEl>
                                          <p:spTgt spid="121"/>
                                        </p:tgtEl>
                                        <p:attrNameLst>
                                          <p:attrName>style.visibility</p:attrName>
                                        </p:attrNameLst>
                                      </p:cBhvr>
                                      <p:to>
                                        <p:strVal val="visible"/>
                                      </p:to>
                                    </p:set>
                                    <p:anim calcmode="lin" valueType="num">
                                      <p:cBhvr>
                                        <p:cTn id="125" dur="500" fill="hold"/>
                                        <p:tgtEl>
                                          <p:spTgt spid="121"/>
                                        </p:tgtEl>
                                        <p:attrNameLst>
                                          <p:attrName>ppt_w</p:attrName>
                                        </p:attrNameLst>
                                      </p:cBhvr>
                                      <p:tavLst>
                                        <p:tav tm="0">
                                          <p:val>
                                            <p:fltVal val="0"/>
                                          </p:val>
                                        </p:tav>
                                        <p:tav tm="100000">
                                          <p:val>
                                            <p:strVal val="#ppt_w"/>
                                          </p:val>
                                        </p:tav>
                                      </p:tavLst>
                                    </p:anim>
                                    <p:anim calcmode="lin" valueType="num">
                                      <p:cBhvr>
                                        <p:cTn id="126" dur="500" fill="hold"/>
                                        <p:tgtEl>
                                          <p:spTgt spid="121"/>
                                        </p:tgtEl>
                                        <p:attrNameLst>
                                          <p:attrName>ppt_h</p:attrName>
                                        </p:attrNameLst>
                                      </p:cBhvr>
                                      <p:tavLst>
                                        <p:tav tm="0">
                                          <p:val>
                                            <p:fltVal val="0"/>
                                          </p:val>
                                        </p:tav>
                                        <p:tav tm="100000">
                                          <p:val>
                                            <p:strVal val="#ppt_h"/>
                                          </p:val>
                                        </p:tav>
                                      </p:tavLst>
                                    </p:anim>
                                    <p:animEffect transition="in" filter="fade">
                                      <p:cBhvr>
                                        <p:cTn id="127" dur="500"/>
                                        <p:tgtEl>
                                          <p:spTgt spid="121"/>
                                        </p:tgtEl>
                                      </p:cBhvr>
                                    </p:animEffect>
                                  </p:childTnLst>
                                </p:cTn>
                              </p:par>
                              <p:par>
                                <p:cTn id="128" presetID="53" presetClass="entr" presetSubtype="16" fill="hold" grpId="0" nodeType="withEffect">
                                  <p:stCondLst>
                                    <p:cond delay="0"/>
                                  </p:stCondLst>
                                  <p:childTnLst>
                                    <p:set>
                                      <p:cBhvr>
                                        <p:cTn id="129" dur="1" fill="hold">
                                          <p:stCondLst>
                                            <p:cond delay="0"/>
                                          </p:stCondLst>
                                        </p:cTn>
                                        <p:tgtEl>
                                          <p:spTgt spid="122"/>
                                        </p:tgtEl>
                                        <p:attrNameLst>
                                          <p:attrName>style.visibility</p:attrName>
                                        </p:attrNameLst>
                                      </p:cBhvr>
                                      <p:to>
                                        <p:strVal val="visible"/>
                                      </p:to>
                                    </p:set>
                                    <p:anim calcmode="lin" valueType="num">
                                      <p:cBhvr>
                                        <p:cTn id="130" dur="500" fill="hold"/>
                                        <p:tgtEl>
                                          <p:spTgt spid="122"/>
                                        </p:tgtEl>
                                        <p:attrNameLst>
                                          <p:attrName>ppt_w</p:attrName>
                                        </p:attrNameLst>
                                      </p:cBhvr>
                                      <p:tavLst>
                                        <p:tav tm="0">
                                          <p:val>
                                            <p:fltVal val="0"/>
                                          </p:val>
                                        </p:tav>
                                        <p:tav tm="100000">
                                          <p:val>
                                            <p:strVal val="#ppt_w"/>
                                          </p:val>
                                        </p:tav>
                                      </p:tavLst>
                                    </p:anim>
                                    <p:anim calcmode="lin" valueType="num">
                                      <p:cBhvr>
                                        <p:cTn id="131" dur="500" fill="hold"/>
                                        <p:tgtEl>
                                          <p:spTgt spid="122"/>
                                        </p:tgtEl>
                                        <p:attrNameLst>
                                          <p:attrName>ppt_h</p:attrName>
                                        </p:attrNameLst>
                                      </p:cBhvr>
                                      <p:tavLst>
                                        <p:tav tm="0">
                                          <p:val>
                                            <p:fltVal val="0"/>
                                          </p:val>
                                        </p:tav>
                                        <p:tav tm="100000">
                                          <p:val>
                                            <p:strVal val="#ppt_h"/>
                                          </p:val>
                                        </p:tav>
                                      </p:tavLst>
                                    </p:anim>
                                    <p:animEffect transition="in" filter="fade">
                                      <p:cBhvr>
                                        <p:cTn id="132" dur="500"/>
                                        <p:tgtEl>
                                          <p:spTgt spid="122"/>
                                        </p:tgtEl>
                                      </p:cBhvr>
                                    </p:animEffect>
                                  </p:childTnLst>
                                </p:cTn>
                              </p:par>
                              <p:par>
                                <p:cTn id="133" presetID="53" presetClass="entr" presetSubtype="16" fill="hold" grpId="0" nodeType="withEffect">
                                  <p:stCondLst>
                                    <p:cond delay="250"/>
                                  </p:stCondLst>
                                  <p:childTnLst>
                                    <p:set>
                                      <p:cBhvr>
                                        <p:cTn id="134" dur="1" fill="hold">
                                          <p:stCondLst>
                                            <p:cond delay="0"/>
                                          </p:stCondLst>
                                        </p:cTn>
                                        <p:tgtEl>
                                          <p:spTgt spid="123"/>
                                        </p:tgtEl>
                                        <p:attrNameLst>
                                          <p:attrName>style.visibility</p:attrName>
                                        </p:attrNameLst>
                                      </p:cBhvr>
                                      <p:to>
                                        <p:strVal val="visible"/>
                                      </p:to>
                                    </p:set>
                                    <p:anim calcmode="lin" valueType="num">
                                      <p:cBhvr>
                                        <p:cTn id="135" dur="500" fill="hold"/>
                                        <p:tgtEl>
                                          <p:spTgt spid="123"/>
                                        </p:tgtEl>
                                        <p:attrNameLst>
                                          <p:attrName>ppt_w</p:attrName>
                                        </p:attrNameLst>
                                      </p:cBhvr>
                                      <p:tavLst>
                                        <p:tav tm="0">
                                          <p:val>
                                            <p:fltVal val="0"/>
                                          </p:val>
                                        </p:tav>
                                        <p:tav tm="100000">
                                          <p:val>
                                            <p:strVal val="#ppt_w"/>
                                          </p:val>
                                        </p:tav>
                                      </p:tavLst>
                                    </p:anim>
                                    <p:anim calcmode="lin" valueType="num">
                                      <p:cBhvr>
                                        <p:cTn id="136" dur="500" fill="hold"/>
                                        <p:tgtEl>
                                          <p:spTgt spid="123"/>
                                        </p:tgtEl>
                                        <p:attrNameLst>
                                          <p:attrName>ppt_h</p:attrName>
                                        </p:attrNameLst>
                                      </p:cBhvr>
                                      <p:tavLst>
                                        <p:tav tm="0">
                                          <p:val>
                                            <p:fltVal val="0"/>
                                          </p:val>
                                        </p:tav>
                                        <p:tav tm="100000">
                                          <p:val>
                                            <p:strVal val="#ppt_h"/>
                                          </p:val>
                                        </p:tav>
                                      </p:tavLst>
                                    </p:anim>
                                    <p:animEffect transition="in" filter="fade">
                                      <p:cBhvr>
                                        <p:cTn id="137" dur="500"/>
                                        <p:tgtEl>
                                          <p:spTgt spid="123"/>
                                        </p:tgtEl>
                                      </p:cBhvr>
                                    </p:animEffect>
                                  </p:childTnLst>
                                </p:cTn>
                              </p:par>
                              <p:par>
                                <p:cTn id="138" presetID="53" presetClass="entr" presetSubtype="16" fill="hold" grpId="0" nodeType="withEffect">
                                  <p:stCondLst>
                                    <p:cond delay="750"/>
                                  </p:stCondLst>
                                  <p:childTnLst>
                                    <p:set>
                                      <p:cBhvr>
                                        <p:cTn id="139" dur="1" fill="hold">
                                          <p:stCondLst>
                                            <p:cond delay="0"/>
                                          </p:stCondLst>
                                        </p:cTn>
                                        <p:tgtEl>
                                          <p:spTgt spid="124"/>
                                        </p:tgtEl>
                                        <p:attrNameLst>
                                          <p:attrName>style.visibility</p:attrName>
                                        </p:attrNameLst>
                                      </p:cBhvr>
                                      <p:to>
                                        <p:strVal val="visible"/>
                                      </p:to>
                                    </p:set>
                                    <p:anim calcmode="lin" valueType="num">
                                      <p:cBhvr>
                                        <p:cTn id="140" dur="500" fill="hold"/>
                                        <p:tgtEl>
                                          <p:spTgt spid="124"/>
                                        </p:tgtEl>
                                        <p:attrNameLst>
                                          <p:attrName>ppt_w</p:attrName>
                                        </p:attrNameLst>
                                      </p:cBhvr>
                                      <p:tavLst>
                                        <p:tav tm="0">
                                          <p:val>
                                            <p:fltVal val="0"/>
                                          </p:val>
                                        </p:tav>
                                        <p:tav tm="100000">
                                          <p:val>
                                            <p:strVal val="#ppt_w"/>
                                          </p:val>
                                        </p:tav>
                                      </p:tavLst>
                                    </p:anim>
                                    <p:anim calcmode="lin" valueType="num">
                                      <p:cBhvr>
                                        <p:cTn id="141" dur="500" fill="hold"/>
                                        <p:tgtEl>
                                          <p:spTgt spid="124"/>
                                        </p:tgtEl>
                                        <p:attrNameLst>
                                          <p:attrName>ppt_h</p:attrName>
                                        </p:attrNameLst>
                                      </p:cBhvr>
                                      <p:tavLst>
                                        <p:tav tm="0">
                                          <p:val>
                                            <p:fltVal val="0"/>
                                          </p:val>
                                        </p:tav>
                                        <p:tav tm="100000">
                                          <p:val>
                                            <p:strVal val="#ppt_h"/>
                                          </p:val>
                                        </p:tav>
                                      </p:tavLst>
                                    </p:anim>
                                    <p:animEffect transition="in" filter="fade">
                                      <p:cBhvr>
                                        <p:cTn id="142" dur="500"/>
                                        <p:tgtEl>
                                          <p:spTgt spid="124"/>
                                        </p:tgtEl>
                                      </p:cBhvr>
                                    </p:animEffect>
                                  </p:childTnLst>
                                </p:cTn>
                              </p:par>
                              <p:par>
                                <p:cTn id="143" presetID="53" presetClass="entr" presetSubtype="16" fill="hold" grpId="0" nodeType="withEffect">
                                  <p:stCondLst>
                                    <p:cond delay="250"/>
                                  </p:stCondLst>
                                  <p:childTnLst>
                                    <p:set>
                                      <p:cBhvr>
                                        <p:cTn id="144" dur="1" fill="hold">
                                          <p:stCondLst>
                                            <p:cond delay="0"/>
                                          </p:stCondLst>
                                        </p:cTn>
                                        <p:tgtEl>
                                          <p:spTgt spid="125"/>
                                        </p:tgtEl>
                                        <p:attrNameLst>
                                          <p:attrName>style.visibility</p:attrName>
                                        </p:attrNameLst>
                                      </p:cBhvr>
                                      <p:to>
                                        <p:strVal val="visible"/>
                                      </p:to>
                                    </p:set>
                                    <p:anim calcmode="lin" valueType="num">
                                      <p:cBhvr>
                                        <p:cTn id="145" dur="500" fill="hold"/>
                                        <p:tgtEl>
                                          <p:spTgt spid="125"/>
                                        </p:tgtEl>
                                        <p:attrNameLst>
                                          <p:attrName>ppt_w</p:attrName>
                                        </p:attrNameLst>
                                      </p:cBhvr>
                                      <p:tavLst>
                                        <p:tav tm="0">
                                          <p:val>
                                            <p:fltVal val="0"/>
                                          </p:val>
                                        </p:tav>
                                        <p:tav tm="100000">
                                          <p:val>
                                            <p:strVal val="#ppt_w"/>
                                          </p:val>
                                        </p:tav>
                                      </p:tavLst>
                                    </p:anim>
                                    <p:anim calcmode="lin" valueType="num">
                                      <p:cBhvr>
                                        <p:cTn id="146" dur="500" fill="hold"/>
                                        <p:tgtEl>
                                          <p:spTgt spid="125"/>
                                        </p:tgtEl>
                                        <p:attrNameLst>
                                          <p:attrName>ppt_h</p:attrName>
                                        </p:attrNameLst>
                                      </p:cBhvr>
                                      <p:tavLst>
                                        <p:tav tm="0">
                                          <p:val>
                                            <p:fltVal val="0"/>
                                          </p:val>
                                        </p:tav>
                                        <p:tav tm="100000">
                                          <p:val>
                                            <p:strVal val="#ppt_h"/>
                                          </p:val>
                                        </p:tav>
                                      </p:tavLst>
                                    </p:anim>
                                    <p:animEffect transition="in" filter="fade">
                                      <p:cBhvr>
                                        <p:cTn id="147" dur="500"/>
                                        <p:tgtEl>
                                          <p:spTgt spid="125"/>
                                        </p:tgtEl>
                                      </p:cBhvr>
                                    </p:animEffect>
                                  </p:childTnLst>
                                </p:cTn>
                              </p:par>
                              <p:par>
                                <p:cTn id="148" presetID="53" presetClass="entr" presetSubtype="16" fill="hold" grpId="0" nodeType="withEffect">
                                  <p:stCondLst>
                                    <p:cond delay="750"/>
                                  </p:stCondLst>
                                  <p:childTnLst>
                                    <p:set>
                                      <p:cBhvr>
                                        <p:cTn id="149" dur="1" fill="hold">
                                          <p:stCondLst>
                                            <p:cond delay="0"/>
                                          </p:stCondLst>
                                        </p:cTn>
                                        <p:tgtEl>
                                          <p:spTgt spid="126"/>
                                        </p:tgtEl>
                                        <p:attrNameLst>
                                          <p:attrName>style.visibility</p:attrName>
                                        </p:attrNameLst>
                                      </p:cBhvr>
                                      <p:to>
                                        <p:strVal val="visible"/>
                                      </p:to>
                                    </p:set>
                                    <p:anim calcmode="lin" valueType="num">
                                      <p:cBhvr>
                                        <p:cTn id="150" dur="500" fill="hold"/>
                                        <p:tgtEl>
                                          <p:spTgt spid="126"/>
                                        </p:tgtEl>
                                        <p:attrNameLst>
                                          <p:attrName>ppt_w</p:attrName>
                                        </p:attrNameLst>
                                      </p:cBhvr>
                                      <p:tavLst>
                                        <p:tav tm="0">
                                          <p:val>
                                            <p:fltVal val="0"/>
                                          </p:val>
                                        </p:tav>
                                        <p:tav tm="100000">
                                          <p:val>
                                            <p:strVal val="#ppt_w"/>
                                          </p:val>
                                        </p:tav>
                                      </p:tavLst>
                                    </p:anim>
                                    <p:anim calcmode="lin" valueType="num">
                                      <p:cBhvr>
                                        <p:cTn id="151" dur="500" fill="hold"/>
                                        <p:tgtEl>
                                          <p:spTgt spid="126"/>
                                        </p:tgtEl>
                                        <p:attrNameLst>
                                          <p:attrName>ppt_h</p:attrName>
                                        </p:attrNameLst>
                                      </p:cBhvr>
                                      <p:tavLst>
                                        <p:tav tm="0">
                                          <p:val>
                                            <p:fltVal val="0"/>
                                          </p:val>
                                        </p:tav>
                                        <p:tav tm="100000">
                                          <p:val>
                                            <p:strVal val="#ppt_h"/>
                                          </p:val>
                                        </p:tav>
                                      </p:tavLst>
                                    </p:anim>
                                    <p:animEffect transition="in" filter="fade">
                                      <p:cBhvr>
                                        <p:cTn id="152" dur="500"/>
                                        <p:tgtEl>
                                          <p:spTgt spid="126"/>
                                        </p:tgtEl>
                                      </p:cBhvr>
                                    </p:animEffect>
                                  </p:childTnLst>
                                </p:cTn>
                              </p:par>
                              <p:par>
                                <p:cTn id="153" presetID="53" presetClass="entr" presetSubtype="16" fill="hold" grpId="0" nodeType="withEffect">
                                  <p:stCondLst>
                                    <p:cond delay="250"/>
                                  </p:stCondLst>
                                  <p:childTnLst>
                                    <p:set>
                                      <p:cBhvr>
                                        <p:cTn id="154" dur="1" fill="hold">
                                          <p:stCondLst>
                                            <p:cond delay="0"/>
                                          </p:stCondLst>
                                        </p:cTn>
                                        <p:tgtEl>
                                          <p:spTgt spid="127"/>
                                        </p:tgtEl>
                                        <p:attrNameLst>
                                          <p:attrName>style.visibility</p:attrName>
                                        </p:attrNameLst>
                                      </p:cBhvr>
                                      <p:to>
                                        <p:strVal val="visible"/>
                                      </p:to>
                                    </p:set>
                                    <p:anim calcmode="lin" valueType="num">
                                      <p:cBhvr>
                                        <p:cTn id="155" dur="500" fill="hold"/>
                                        <p:tgtEl>
                                          <p:spTgt spid="127"/>
                                        </p:tgtEl>
                                        <p:attrNameLst>
                                          <p:attrName>ppt_w</p:attrName>
                                        </p:attrNameLst>
                                      </p:cBhvr>
                                      <p:tavLst>
                                        <p:tav tm="0">
                                          <p:val>
                                            <p:fltVal val="0"/>
                                          </p:val>
                                        </p:tav>
                                        <p:tav tm="100000">
                                          <p:val>
                                            <p:strVal val="#ppt_w"/>
                                          </p:val>
                                        </p:tav>
                                      </p:tavLst>
                                    </p:anim>
                                    <p:anim calcmode="lin" valueType="num">
                                      <p:cBhvr>
                                        <p:cTn id="156" dur="500" fill="hold"/>
                                        <p:tgtEl>
                                          <p:spTgt spid="127"/>
                                        </p:tgtEl>
                                        <p:attrNameLst>
                                          <p:attrName>ppt_h</p:attrName>
                                        </p:attrNameLst>
                                      </p:cBhvr>
                                      <p:tavLst>
                                        <p:tav tm="0">
                                          <p:val>
                                            <p:fltVal val="0"/>
                                          </p:val>
                                        </p:tav>
                                        <p:tav tm="100000">
                                          <p:val>
                                            <p:strVal val="#ppt_h"/>
                                          </p:val>
                                        </p:tav>
                                      </p:tavLst>
                                    </p:anim>
                                    <p:animEffect transition="in" filter="fade">
                                      <p:cBhvr>
                                        <p:cTn id="157" dur="500"/>
                                        <p:tgtEl>
                                          <p:spTgt spid="127"/>
                                        </p:tgtEl>
                                      </p:cBhvr>
                                    </p:animEffect>
                                  </p:childTnLst>
                                </p:cTn>
                              </p:par>
                              <p:par>
                                <p:cTn id="158" presetID="53" presetClass="entr" presetSubtype="16" fill="hold" grpId="0" nodeType="withEffect">
                                  <p:stCondLst>
                                    <p:cond delay="750"/>
                                  </p:stCondLst>
                                  <p:childTnLst>
                                    <p:set>
                                      <p:cBhvr>
                                        <p:cTn id="159" dur="1" fill="hold">
                                          <p:stCondLst>
                                            <p:cond delay="0"/>
                                          </p:stCondLst>
                                        </p:cTn>
                                        <p:tgtEl>
                                          <p:spTgt spid="128"/>
                                        </p:tgtEl>
                                        <p:attrNameLst>
                                          <p:attrName>style.visibility</p:attrName>
                                        </p:attrNameLst>
                                      </p:cBhvr>
                                      <p:to>
                                        <p:strVal val="visible"/>
                                      </p:to>
                                    </p:set>
                                    <p:anim calcmode="lin" valueType="num">
                                      <p:cBhvr>
                                        <p:cTn id="160" dur="500" fill="hold"/>
                                        <p:tgtEl>
                                          <p:spTgt spid="128"/>
                                        </p:tgtEl>
                                        <p:attrNameLst>
                                          <p:attrName>ppt_w</p:attrName>
                                        </p:attrNameLst>
                                      </p:cBhvr>
                                      <p:tavLst>
                                        <p:tav tm="0">
                                          <p:val>
                                            <p:fltVal val="0"/>
                                          </p:val>
                                        </p:tav>
                                        <p:tav tm="100000">
                                          <p:val>
                                            <p:strVal val="#ppt_w"/>
                                          </p:val>
                                        </p:tav>
                                      </p:tavLst>
                                    </p:anim>
                                    <p:anim calcmode="lin" valueType="num">
                                      <p:cBhvr>
                                        <p:cTn id="161" dur="500" fill="hold"/>
                                        <p:tgtEl>
                                          <p:spTgt spid="128"/>
                                        </p:tgtEl>
                                        <p:attrNameLst>
                                          <p:attrName>ppt_h</p:attrName>
                                        </p:attrNameLst>
                                      </p:cBhvr>
                                      <p:tavLst>
                                        <p:tav tm="0">
                                          <p:val>
                                            <p:fltVal val="0"/>
                                          </p:val>
                                        </p:tav>
                                        <p:tav tm="100000">
                                          <p:val>
                                            <p:strVal val="#ppt_h"/>
                                          </p:val>
                                        </p:tav>
                                      </p:tavLst>
                                    </p:anim>
                                    <p:animEffect transition="in" filter="fade">
                                      <p:cBhvr>
                                        <p:cTn id="162" dur="500"/>
                                        <p:tgtEl>
                                          <p:spTgt spid="128"/>
                                        </p:tgtEl>
                                      </p:cBhvr>
                                    </p:animEffect>
                                  </p:childTnLst>
                                </p:cTn>
                              </p:par>
                              <p:par>
                                <p:cTn id="163" presetID="53" presetClass="entr" presetSubtype="16" fill="hold" grpId="0" nodeType="withEffect">
                                  <p:stCondLst>
                                    <p:cond delay="0"/>
                                  </p:stCondLst>
                                  <p:childTnLst>
                                    <p:set>
                                      <p:cBhvr>
                                        <p:cTn id="164" dur="1" fill="hold">
                                          <p:stCondLst>
                                            <p:cond delay="0"/>
                                          </p:stCondLst>
                                        </p:cTn>
                                        <p:tgtEl>
                                          <p:spTgt spid="129"/>
                                        </p:tgtEl>
                                        <p:attrNameLst>
                                          <p:attrName>style.visibility</p:attrName>
                                        </p:attrNameLst>
                                      </p:cBhvr>
                                      <p:to>
                                        <p:strVal val="visible"/>
                                      </p:to>
                                    </p:set>
                                    <p:anim calcmode="lin" valueType="num">
                                      <p:cBhvr>
                                        <p:cTn id="165" dur="500" fill="hold"/>
                                        <p:tgtEl>
                                          <p:spTgt spid="129"/>
                                        </p:tgtEl>
                                        <p:attrNameLst>
                                          <p:attrName>ppt_w</p:attrName>
                                        </p:attrNameLst>
                                      </p:cBhvr>
                                      <p:tavLst>
                                        <p:tav tm="0">
                                          <p:val>
                                            <p:fltVal val="0"/>
                                          </p:val>
                                        </p:tav>
                                        <p:tav tm="100000">
                                          <p:val>
                                            <p:strVal val="#ppt_w"/>
                                          </p:val>
                                        </p:tav>
                                      </p:tavLst>
                                    </p:anim>
                                    <p:anim calcmode="lin" valueType="num">
                                      <p:cBhvr>
                                        <p:cTn id="166" dur="500" fill="hold"/>
                                        <p:tgtEl>
                                          <p:spTgt spid="129"/>
                                        </p:tgtEl>
                                        <p:attrNameLst>
                                          <p:attrName>ppt_h</p:attrName>
                                        </p:attrNameLst>
                                      </p:cBhvr>
                                      <p:tavLst>
                                        <p:tav tm="0">
                                          <p:val>
                                            <p:fltVal val="0"/>
                                          </p:val>
                                        </p:tav>
                                        <p:tav tm="100000">
                                          <p:val>
                                            <p:strVal val="#ppt_h"/>
                                          </p:val>
                                        </p:tav>
                                      </p:tavLst>
                                    </p:anim>
                                    <p:animEffect transition="in" filter="fade">
                                      <p:cBhvr>
                                        <p:cTn id="167" dur="500"/>
                                        <p:tgtEl>
                                          <p:spTgt spid="129"/>
                                        </p:tgtEl>
                                      </p:cBhvr>
                                    </p:animEffect>
                                  </p:childTnLst>
                                </p:cTn>
                              </p:par>
                              <p:par>
                                <p:cTn id="168" presetID="53" presetClass="entr" presetSubtype="16" fill="hold" grpId="0" nodeType="withEffect">
                                  <p:stCondLst>
                                    <p:cond delay="0"/>
                                  </p:stCondLst>
                                  <p:childTnLst>
                                    <p:set>
                                      <p:cBhvr>
                                        <p:cTn id="169" dur="1" fill="hold">
                                          <p:stCondLst>
                                            <p:cond delay="0"/>
                                          </p:stCondLst>
                                        </p:cTn>
                                        <p:tgtEl>
                                          <p:spTgt spid="130"/>
                                        </p:tgtEl>
                                        <p:attrNameLst>
                                          <p:attrName>style.visibility</p:attrName>
                                        </p:attrNameLst>
                                      </p:cBhvr>
                                      <p:to>
                                        <p:strVal val="visible"/>
                                      </p:to>
                                    </p:set>
                                    <p:anim calcmode="lin" valueType="num">
                                      <p:cBhvr>
                                        <p:cTn id="170" dur="500" fill="hold"/>
                                        <p:tgtEl>
                                          <p:spTgt spid="130"/>
                                        </p:tgtEl>
                                        <p:attrNameLst>
                                          <p:attrName>ppt_w</p:attrName>
                                        </p:attrNameLst>
                                      </p:cBhvr>
                                      <p:tavLst>
                                        <p:tav tm="0">
                                          <p:val>
                                            <p:fltVal val="0"/>
                                          </p:val>
                                        </p:tav>
                                        <p:tav tm="100000">
                                          <p:val>
                                            <p:strVal val="#ppt_w"/>
                                          </p:val>
                                        </p:tav>
                                      </p:tavLst>
                                    </p:anim>
                                    <p:anim calcmode="lin" valueType="num">
                                      <p:cBhvr>
                                        <p:cTn id="171" dur="500" fill="hold"/>
                                        <p:tgtEl>
                                          <p:spTgt spid="130"/>
                                        </p:tgtEl>
                                        <p:attrNameLst>
                                          <p:attrName>ppt_h</p:attrName>
                                        </p:attrNameLst>
                                      </p:cBhvr>
                                      <p:tavLst>
                                        <p:tav tm="0">
                                          <p:val>
                                            <p:fltVal val="0"/>
                                          </p:val>
                                        </p:tav>
                                        <p:tav tm="100000">
                                          <p:val>
                                            <p:strVal val="#ppt_h"/>
                                          </p:val>
                                        </p:tav>
                                      </p:tavLst>
                                    </p:anim>
                                    <p:animEffect transition="in" filter="fade">
                                      <p:cBhvr>
                                        <p:cTn id="172" dur="500"/>
                                        <p:tgtEl>
                                          <p:spTgt spid="130"/>
                                        </p:tgtEl>
                                      </p:cBhvr>
                                    </p:animEffect>
                                  </p:childTnLst>
                                </p:cTn>
                              </p:par>
                              <p:par>
                                <p:cTn id="173" presetID="53" presetClass="entr" presetSubtype="16" fill="hold" grpId="0" nodeType="withEffect">
                                  <p:stCondLst>
                                    <p:cond delay="0"/>
                                  </p:stCondLst>
                                  <p:childTnLst>
                                    <p:set>
                                      <p:cBhvr>
                                        <p:cTn id="174" dur="1" fill="hold">
                                          <p:stCondLst>
                                            <p:cond delay="0"/>
                                          </p:stCondLst>
                                        </p:cTn>
                                        <p:tgtEl>
                                          <p:spTgt spid="131"/>
                                        </p:tgtEl>
                                        <p:attrNameLst>
                                          <p:attrName>style.visibility</p:attrName>
                                        </p:attrNameLst>
                                      </p:cBhvr>
                                      <p:to>
                                        <p:strVal val="visible"/>
                                      </p:to>
                                    </p:set>
                                    <p:anim calcmode="lin" valueType="num">
                                      <p:cBhvr>
                                        <p:cTn id="175" dur="500" fill="hold"/>
                                        <p:tgtEl>
                                          <p:spTgt spid="131"/>
                                        </p:tgtEl>
                                        <p:attrNameLst>
                                          <p:attrName>ppt_w</p:attrName>
                                        </p:attrNameLst>
                                      </p:cBhvr>
                                      <p:tavLst>
                                        <p:tav tm="0">
                                          <p:val>
                                            <p:fltVal val="0"/>
                                          </p:val>
                                        </p:tav>
                                        <p:tav tm="100000">
                                          <p:val>
                                            <p:strVal val="#ppt_w"/>
                                          </p:val>
                                        </p:tav>
                                      </p:tavLst>
                                    </p:anim>
                                    <p:anim calcmode="lin" valueType="num">
                                      <p:cBhvr>
                                        <p:cTn id="176" dur="500" fill="hold"/>
                                        <p:tgtEl>
                                          <p:spTgt spid="131"/>
                                        </p:tgtEl>
                                        <p:attrNameLst>
                                          <p:attrName>ppt_h</p:attrName>
                                        </p:attrNameLst>
                                      </p:cBhvr>
                                      <p:tavLst>
                                        <p:tav tm="0">
                                          <p:val>
                                            <p:fltVal val="0"/>
                                          </p:val>
                                        </p:tav>
                                        <p:tav tm="100000">
                                          <p:val>
                                            <p:strVal val="#ppt_h"/>
                                          </p:val>
                                        </p:tav>
                                      </p:tavLst>
                                    </p:anim>
                                    <p:animEffect transition="in" filter="fade">
                                      <p:cBhvr>
                                        <p:cTn id="177" dur="500"/>
                                        <p:tgtEl>
                                          <p:spTgt spid="131"/>
                                        </p:tgtEl>
                                      </p:cBhvr>
                                    </p:animEffect>
                                  </p:childTnLst>
                                </p:cTn>
                              </p:par>
                              <p:par>
                                <p:cTn id="178" presetID="53" presetClass="entr" presetSubtype="16" fill="hold" grpId="0" nodeType="withEffect">
                                  <p:stCondLst>
                                    <p:cond delay="250"/>
                                  </p:stCondLst>
                                  <p:childTnLst>
                                    <p:set>
                                      <p:cBhvr>
                                        <p:cTn id="179" dur="1" fill="hold">
                                          <p:stCondLst>
                                            <p:cond delay="0"/>
                                          </p:stCondLst>
                                        </p:cTn>
                                        <p:tgtEl>
                                          <p:spTgt spid="132"/>
                                        </p:tgtEl>
                                        <p:attrNameLst>
                                          <p:attrName>style.visibility</p:attrName>
                                        </p:attrNameLst>
                                      </p:cBhvr>
                                      <p:to>
                                        <p:strVal val="visible"/>
                                      </p:to>
                                    </p:set>
                                    <p:anim calcmode="lin" valueType="num">
                                      <p:cBhvr>
                                        <p:cTn id="180" dur="500" fill="hold"/>
                                        <p:tgtEl>
                                          <p:spTgt spid="132"/>
                                        </p:tgtEl>
                                        <p:attrNameLst>
                                          <p:attrName>ppt_w</p:attrName>
                                        </p:attrNameLst>
                                      </p:cBhvr>
                                      <p:tavLst>
                                        <p:tav tm="0">
                                          <p:val>
                                            <p:fltVal val="0"/>
                                          </p:val>
                                        </p:tav>
                                        <p:tav tm="100000">
                                          <p:val>
                                            <p:strVal val="#ppt_w"/>
                                          </p:val>
                                        </p:tav>
                                      </p:tavLst>
                                    </p:anim>
                                    <p:anim calcmode="lin" valueType="num">
                                      <p:cBhvr>
                                        <p:cTn id="181" dur="500" fill="hold"/>
                                        <p:tgtEl>
                                          <p:spTgt spid="132"/>
                                        </p:tgtEl>
                                        <p:attrNameLst>
                                          <p:attrName>ppt_h</p:attrName>
                                        </p:attrNameLst>
                                      </p:cBhvr>
                                      <p:tavLst>
                                        <p:tav tm="0">
                                          <p:val>
                                            <p:fltVal val="0"/>
                                          </p:val>
                                        </p:tav>
                                        <p:tav tm="100000">
                                          <p:val>
                                            <p:strVal val="#ppt_h"/>
                                          </p:val>
                                        </p:tav>
                                      </p:tavLst>
                                    </p:anim>
                                    <p:animEffect transition="in" filter="fade">
                                      <p:cBhvr>
                                        <p:cTn id="182" dur="500"/>
                                        <p:tgtEl>
                                          <p:spTgt spid="132"/>
                                        </p:tgtEl>
                                      </p:cBhvr>
                                    </p:animEffect>
                                  </p:childTnLst>
                                </p:cTn>
                              </p:par>
                              <p:par>
                                <p:cTn id="183" presetID="53" presetClass="entr" presetSubtype="16" fill="hold" grpId="0" nodeType="withEffect">
                                  <p:stCondLst>
                                    <p:cond delay="0"/>
                                  </p:stCondLst>
                                  <p:childTnLst>
                                    <p:set>
                                      <p:cBhvr>
                                        <p:cTn id="184" dur="1" fill="hold">
                                          <p:stCondLst>
                                            <p:cond delay="0"/>
                                          </p:stCondLst>
                                        </p:cTn>
                                        <p:tgtEl>
                                          <p:spTgt spid="133"/>
                                        </p:tgtEl>
                                        <p:attrNameLst>
                                          <p:attrName>style.visibility</p:attrName>
                                        </p:attrNameLst>
                                      </p:cBhvr>
                                      <p:to>
                                        <p:strVal val="visible"/>
                                      </p:to>
                                    </p:set>
                                    <p:anim calcmode="lin" valueType="num">
                                      <p:cBhvr>
                                        <p:cTn id="185" dur="500" fill="hold"/>
                                        <p:tgtEl>
                                          <p:spTgt spid="133"/>
                                        </p:tgtEl>
                                        <p:attrNameLst>
                                          <p:attrName>ppt_w</p:attrName>
                                        </p:attrNameLst>
                                      </p:cBhvr>
                                      <p:tavLst>
                                        <p:tav tm="0">
                                          <p:val>
                                            <p:fltVal val="0"/>
                                          </p:val>
                                        </p:tav>
                                        <p:tav tm="100000">
                                          <p:val>
                                            <p:strVal val="#ppt_w"/>
                                          </p:val>
                                        </p:tav>
                                      </p:tavLst>
                                    </p:anim>
                                    <p:anim calcmode="lin" valueType="num">
                                      <p:cBhvr>
                                        <p:cTn id="186" dur="500" fill="hold"/>
                                        <p:tgtEl>
                                          <p:spTgt spid="133"/>
                                        </p:tgtEl>
                                        <p:attrNameLst>
                                          <p:attrName>ppt_h</p:attrName>
                                        </p:attrNameLst>
                                      </p:cBhvr>
                                      <p:tavLst>
                                        <p:tav tm="0">
                                          <p:val>
                                            <p:fltVal val="0"/>
                                          </p:val>
                                        </p:tav>
                                        <p:tav tm="100000">
                                          <p:val>
                                            <p:strVal val="#ppt_h"/>
                                          </p:val>
                                        </p:tav>
                                      </p:tavLst>
                                    </p:anim>
                                    <p:animEffect transition="in" filter="fade">
                                      <p:cBhvr>
                                        <p:cTn id="187" dur="500"/>
                                        <p:tgtEl>
                                          <p:spTgt spid="133"/>
                                        </p:tgtEl>
                                      </p:cBhvr>
                                    </p:animEffect>
                                  </p:childTnLst>
                                </p:cTn>
                              </p:par>
                              <p:par>
                                <p:cTn id="188" presetID="53" presetClass="entr" presetSubtype="16" fill="hold" grpId="0" nodeType="withEffect">
                                  <p:stCondLst>
                                    <p:cond delay="1000"/>
                                  </p:stCondLst>
                                  <p:childTnLst>
                                    <p:set>
                                      <p:cBhvr>
                                        <p:cTn id="189" dur="1" fill="hold">
                                          <p:stCondLst>
                                            <p:cond delay="0"/>
                                          </p:stCondLst>
                                        </p:cTn>
                                        <p:tgtEl>
                                          <p:spTgt spid="134"/>
                                        </p:tgtEl>
                                        <p:attrNameLst>
                                          <p:attrName>style.visibility</p:attrName>
                                        </p:attrNameLst>
                                      </p:cBhvr>
                                      <p:to>
                                        <p:strVal val="visible"/>
                                      </p:to>
                                    </p:set>
                                    <p:anim calcmode="lin" valueType="num">
                                      <p:cBhvr>
                                        <p:cTn id="190" dur="500" fill="hold"/>
                                        <p:tgtEl>
                                          <p:spTgt spid="134"/>
                                        </p:tgtEl>
                                        <p:attrNameLst>
                                          <p:attrName>ppt_w</p:attrName>
                                        </p:attrNameLst>
                                      </p:cBhvr>
                                      <p:tavLst>
                                        <p:tav tm="0">
                                          <p:val>
                                            <p:fltVal val="0"/>
                                          </p:val>
                                        </p:tav>
                                        <p:tav tm="100000">
                                          <p:val>
                                            <p:strVal val="#ppt_w"/>
                                          </p:val>
                                        </p:tav>
                                      </p:tavLst>
                                    </p:anim>
                                    <p:anim calcmode="lin" valueType="num">
                                      <p:cBhvr>
                                        <p:cTn id="191" dur="500" fill="hold"/>
                                        <p:tgtEl>
                                          <p:spTgt spid="134"/>
                                        </p:tgtEl>
                                        <p:attrNameLst>
                                          <p:attrName>ppt_h</p:attrName>
                                        </p:attrNameLst>
                                      </p:cBhvr>
                                      <p:tavLst>
                                        <p:tav tm="0">
                                          <p:val>
                                            <p:fltVal val="0"/>
                                          </p:val>
                                        </p:tav>
                                        <p:tav tm="100000">
                                          <p:val>
                                            <p:strVal val="#ppt_h"/>
                                          </p:val>
                                        </p:tav>
                                      </p:tavLst>
                                    </p:anim>
                                    <p:animEffect transition="in" filter="fade">
                                      <p:cBhvr>
                                        <p:cTn id="192" dur="500"/>
                                        <p:tgtEl>
                                          <p:spTgt spid="134"/>
                                        </p:tgtEl>
                                      </p:cBhvr>
                                    </p:animEffect>
                                  </p:childTnLst>
                                </p:cTn>
                              </p:par>
                              <p:par>
                                <p:cTn id="193" presetID="53" presetClass="entr" presetSubtype="16" fill="hold" grpId="0" nodeType="withEffect">
                                  <p:stCondLst>
                                    <p:cond delay="0"/>
                                  </p:stCondLst>
                                  <p:childTnLst>
                                    <p:set>
                                      <p:cBhvr>
                                        <p:cTn id="194" dur="1" fill="hold">
                                          <p:stCondLst>
                                            <p:cond delay="0"/>
                                          </p:stCondLst>
                                        </p:cTn>
                                        <p:tgtEl>
                                          <p:spTgt spid="135"/>
                                        </p:tgtEl>
                                        <p:attrNameLst>
                                          <p:attrName>style.visibility</p:attrName>
                                        </p:attrNameLst>
                                      </p:cBhvr>
                                      <p:to>
                                        <p:strVal val="visible"/>
                                      </p:to>
                                    </p:set>
                                    <p:anim calcmode="lin" valueType="num">
                                      <p:cBhvr>
                                        <p:cTn id="195" dur="500" fill="hold"/>
                                        <p:tgtEl>
                                          <p:spTgt spid="135"/>
                                        </p:tgtEl>
                                        <p:attrNameLst>
                                          <p:attrName>ppt_w</p:attrName>
                                        </p:attrNameLst>
                                      </p:cBhvr>
                                      <p:tavLst>
                                        <p:tav tm="0">
                                          <p:val>
                                            <p:fltVal val="0"/>
                                          </p:val>
                                        </p:tav>
                                        <p:tav tm="100000">
                                          <p:val>
                                            <p:strVal val="#ppt_w"/>
                                          </p:val>
                                        </p:tav>
                                      </p:tavLst>
                                    </p:anim>
                                    <p:anim calcmode="lin" valueType="num">
                                      <p:cBhvr>
                                        <p:cTn id="196" dur="500" fill="hold"/>
                                        <p:tgtEl>
                                          <p:spTgt spid="135"/>
                                        </p:tgtEl>
                                        <p:attrNameLst>
                                          <p:attrName>ppt_h</p:attrName>
                                        </p:attrNameLst>
                                      </p:cBhvr>
                                      <p:tavLst>
                                        <p:tav tm="0">
                                          <p:val>
                                            <p:fltVal val="0"/>
                                          </p:val>
                                        </p:tav>
                                        <p:tav tm="100000">
                                          <p:val>
                                            <p:strVal val="#ppt_h"/>
                                          </p:val>
                                        </p:tav>
                                      </p:tavLst>
                                    </p:anim>
                                    <p:animEffect transition="in" filter="fade">
                                      <p:cBhvr>
                                        <p:cTn id="197" dur="500"/>
                                        <p:tgtEl>
                                          <p:spTgt spid="135"/>
                                        </p:tgtEl>
                                      </p:cBhvr>
                                    </p:animEffect>
                                  </p:childTnLst>
                                </p:cTn>
                              </p:par>
                              <p:par>
                                <p:cTn id="198" presetID="53" presetClass="entr" presetSubtype="16" fill="hold" grpId="0" nodeType="withEffect">
                                  <p:stCondLst>
                                    <p:cond delay="1000"/>
                                  </p:stCondLst>
                                  <p:childTnLst>
                                    <p:set>
                                      <p:cBhvr>
                                        <p:cTn id="199" dur="1" fill="hold">
                                          <p:stCondLst>
                                            <p:cond delay="0"/>
                                          </p:stCondLst>
                                        </p:cTn>
                                        <p:tgtEl>
                                          <p:spTgt spid="136"/>
                                        </p:tgtEl>
                                        <p:attrNameLst>
                                          <p:attrName>style.visibility</p:attrName>
                                        </p:attrNameLst>
                                      </p:cBhvr>
                                      <p:to>
                                        <p:strVal val="visible"/>
                                      </p:to>
                                    </p:set>
                                    <p:anim calcmode="lin" valueType="num">
                                      <p:cBhvr>
                                        <p:cTn id="200" dur="500" fill="hold"/>
                                        <p:tgtEl>
                                          <p:spTgt spid="136"/>
                                        </p:tgtEl>
                                        <p:attrNameLst>
                                          <p:attrName>ppt_w</p:attrName>
                                        </p:attrNameLst>
                                      </p:cBhvr>
                                      <p:tavLst>
                                        <p:tav tm="0">
                                          <p:val>
                                            <p:fltVal val="0"/>
                                          </p:val>
                                        </p:tav>
                                        <p:tav tm="100000">
                                          <p:val>
                                            <p:strVal val="#ppt_w"/>
                                          </p:val>
                                        </p:tav>
                                      </p:tavLst>
                                    </p:anim>
                                    <p:anim calcmode="lin" valueType="num">
                                      <p:cBhvr>
                                        <p:cTn id="201" dur="500" fill="hold"/>
                                        <p:tgtEl>
                                          <p:spTgt spid="136"/>
                                        </p:tgtEl>
                                        <p:attrNameLst>
                                          <p:attrName>ppt_h</p:attrName>
                                        </p:attrNameLst>
                                      </p:cBhvr>
                                      <p:tavLst>
                                        <p:tav tm="0">
                                          <p:val>
                                            <p:fltVal val="0"/>
                                          </p:val>
                                        </p:tav>
                                        <p:tav tm="100000">
                                          <p:val>
                                            <p:strVal val="#ppt_h"/>
                                          </p:val>
                                        </p:tav>
                                      </p:tavLst>
                                    </p:anim>
                                    <p:animEffect transition="in" filter="fade">
                                      <p:cBhvr>
                                        <p:cTn id="202" dur="500"/>
                                        <p:tgtEl>
                                          <p:spTgt spid="136"/>
                                        </p:tgtEl>
                                      </p:cBhvr>
                                    </p:animEffect>
                                  </p:childTnLst>
                                </p:cTn>
                              </p:par>
                              <p:par>
                                <p:cTn id="203" presetID="53" presetClass="entr" presetSubtype="16" fill="hold" grpId="0" nodeType="withEffect">
                                  <p:stCondLst>
                                    <p:cond delay="750"/>
                                  </p:stCondLst>
                                  <p:childTnLst>
                                    <p:set>
                                      <p:cBhvr>
                                        <p:cTn id="204" dur="1" fill="hold">
                                          <p:stCondLst>
                                            <p:cond delay="0"/>
                                          </p:stCondLst>
                                        </p:cTn>
                                        <p:tgtEl>
                                          <p:spTgt spid="137"/>
                                        </p:tgtEl>
                                        <p:attrNameLst>
                                          <p:attrName>style.visibility</p:attrName>
                                        </p:attrNameLst>
                                      </p:cBhvr>
                                      <p:to>
                                        <p:strVal val="visible"/>
                                      </p:to>
                                    </p:set>
                                    <p:anim calcmode="lin" valueType="num">
                                      <p:cBhvr>
                                        <p:cTn id="205" dur="500" fill="hold"/>
                                        <p:tgtEl>
                                          <p:spTgt spid="137"/>
                                        </p:tgtEl>
                                        <p:attrNameLst>
                                          <p:attrName>ppt_w</p:attrName>
                                        </p:attrNameLst>
                                      </p:cBhvr>
                                      <p:tavLst>
                                        <p:tav tm="0">
                                          <p:val>
                                            <p:fltVal val="0"/>
                                          </p:val>
                                        </p:tav>
                                        <p:tav tm="100000">
                                          <p:val>
                                            <p:strVal val="#ppt_w"/>
                                          </p:val>
                                        </p:tav>
                                      </p:tavLst>
                                    </p:anim>
                                    <p:anim calcmode="lin" valueType="num">
                                      <p:cBhvr>
                                        <p:cTn id="206" dur="500" fill="hold"/>
                                        <p:tgtEl>
                                          <p:spTgt spid="137"/>
                                        </p:tgtEl>
                                        <p:attrNameLst>
                                          <p:attrName>ppt_h</p:attrName>
                                        </p:attrNameLst>
                                      </p:cBhvr>
                                      <p:tavLst>
                                        <p:tav tm="0">
                                          <p:val>
                                            <p:fltVal val="0"/>
                                          </p:val>
                                        </p:tav>
                                        <p:tav tm="100000">
                                          <p:val>
                                            <p:strVal val="#ppt_h"/>
                                          </p:val>
                                        </p:tav>
                                      </p:tavLst>
                                    </p:anim>
                                    <p:animEffect transition="in" filter="fade">
                                      <p:cBhvr>
                                        <p:cTn id="207" dur="500"/>
                                        <p:tgtEl>
                                          <p:spTgt spid="137"/>
                                        </p:tgtEl>
                                      </p:cBhvr>
                                    </p:animEffect>
                                  </p:childTnLst>
                                </p:cTn>
                              </p:par>
                              <p:par>
                                <p:cTn id="208" presetID="53" presetClass="entr" presetSubtype="16" fill="hold" grpId="0" nodeType="withEffect">
                                  <p:stCondLst>
                                    <p:cond delay="250"/>
                                  </p:stCondLst>
                                  <p:childTnLst>
                                    <p:set>
                                      <p:cBhvr>
                                        <p:cTn id="209" dur="1" fill="hold">
                                          <p:stCondLst>
                                            <p:cond delay="0"/>
                                          </p:stCondLst>
                                        </p:cTn>
                                        <p:tgtEl>
                                          <p:spTgt spid="138"/>
                                        </p:tgtEl>
                                        <p:attrNameLst>
                                          <p:attrName>style.visibility</p:attrName>
                                        </p:attrNameLst>
                                      </p:cBhvr>
                                      <p:to>
                                        <p:strVal val="visible"/>
                                      </p:to>
                                    </p:set>
                                    <p:anim calcmode="lin" valueType="num">
                                      <p:cBhvr>
                                        <p:cTn id="210" dur="500" fill="hold"/>
                                        <p:tgtEl>
                                          <p:spTgt spid="138"/>
                                        </p:tgtEl>
                                        <p:attrNameLst>
                                          <p:attrName>ppt_w</p:attrName>
                                        </p:attrNameLst>
                                      </p:cBhvr>
                                      <p:tavLst>
                                        <p:tav tm="0">
                                          <p:val>
                                            <p:fltVal val="0"/>
                                          </p:val>
                                        </p:tav>
                                        <p:tav tm="100000">
                                          <p:val>
                                            <p:strVal val="#ppt_w"/>
                                          </p:val>
                                        </p:tav>
                                      </p:tavLst>
                                    </p:anim>
                                    <p:anim calcmode="lin" valueType="num">
                                      <p:cBhvr>
                                        <p:cTn id="211" dur="500" fill="hold"/>
                                        <p:tgtEl>
                                          <p:spTgt spid="138"/>
                                        </p:tgtEl>
                                        <p:attrNameLst>
                                          <p:attrName>ppt_h</p:attrName>
                                        </p:attrNameLst>
                                      </p:cBhvr>
                                      <p:tavLst>
                                        <p:tav tm="0">
                                          <p:val>
                                            <p:fltVal val="0"/>
                                          </p:val>
                                        </p:tav>
                                        <p:tav tm="100000">
                                          <p:val>
                                            <p:strVal val="#ppt_h"/>
                                          </p:val>
                                        </p:tav>
                                      </p:tavLst>
                                    </p:anim>
                                    <p:animEffect transition="in" filter="fade">
                                      <p:cBhvr>
                                        <p:cTn id="212" dur="500"/>
                                        <p:tgtEl>
                                          <p:spTgt spid="138"/>
                                        </p:tgtEl>
                                      </p:cBhvr>
                                    </p:animEffect>
                                  </p:childTnLst>
                                </p:cTn>
                              </p:par>
                              <p:par>
                                <p:cTn id="213" presetID="53" presetClass="entr" presetSubtype="16" fill="hold" grpId="0" nodeType="withEffect">
                                  <p:stCondLst>
                                    <p:cond delay="0"/>
                                  </p:stCondLst>
                                  <p:childTnLst>
                                    <p:set>
                                      <p:cBhvr>
                                        <p:cTn id="214" dur="1" fill="hold">
                                          <p:stCondLst>
                                            <p:cond delay="0"/>
                                          </p:stCondLst>
                                        </p:cTn>
                                        <p:tgtEl>
                                          <p:spTgt spid="139"/>
                                        </p:tgtEl>
                                        <p:attrNameLst>
                                          <p:attrName>style.visibility</p:attrName>
                                        </p:attrNameLst>
                                      </p:cBhvr>
                                      <p:to>
                                        <p:strVal val="visible"/>
                                      </p:to>
                                    </p:set>
                                    <p:anim calcmode="lin" valueType="num">
                                      <p:cBhvr>
                                        <p:cTn id="215" dur="500" fill="hold"/>
                                        <p:tgtEl>
                                          <p:spTgt spid="139"/>
                                        </p:tgtEl>
                                        <p:attrNameLst>
                                          <p:attrName>ppt_w</p:attrName>
                                        </p:attrNameLst>
                                      </p:cBhvr>
                                      <p:tavLst>
                                        <p:tav tm="0">
                                          <p:val>
                                            <p:fltVal val="0"/>
                                          </p:val>
                                        </p:tav>
                                        <p:tav tm="100000">
                                          <p:val>
                                            <p:strVal val="#ppt_w"/>
                                          </p:val>
                                        </p:tav>
                                      </p:tavLst>
                                    </p:anim>
                                    <p:anim calcmode="lin" valueType="num">
                                      <p:cBhvr>
                                        <p:cTn id="216" dur="500" fill="hold"/>
                                        <p:tgtEl>
                                          <p:spTgt spid="139"/>
                                        </p:tgtEl>
                                        <p:attrNameLst>
                                          <p:attrName>ppt_h</p:attrName>
                                        </p:attrNameLst>
                                      </p:cBhvr>
                                      <p:tavLst>
                                        <p:tav tm="0">
                                          <p:val>
                                            <p:fltVal val="0"/>
                                          </p:val>
                                        </p:tav>
                                        <p:tav tm="100000">
                                          <p:val>
                                            <p:strVal val="#ppt_h"/>
                                          </p:val>
                                        </p:tav>
                                      </p:tavLst>
                                    </p:anim>
                                    <p:animEffect transition="in" filter="fade">
                                      <p:cBhvr>
                                        <p:cTn id="217" dur="500"/>
                                        <p:tgtEl>
                                          <p:spTgt spid="139"/>
                                        </p:tgtEl>
                                      </p:cBhvr>
                                    </p:animEffect>
                                  </p:childTnLst>
                                </p:cTn>
                              </p:par>
                              <p:par>
                                <p:cTn id="218" presetID="53" presetClass="entr" presetSubtype="16" fill="hold" grpId="0" nodeType="withEffect">
                                  <p:stCondLst>
                                    <p:cond delay="0"/>
                                  </p:stCondLst>
                                  <p:childTnLst>
                                    <p:set>
                                      <p:cBhvr>
                                        <p:cTn id="219" dur="1" fill="hold">
                                          <p:stCondLst>
                                            <p:cond delay="0"/>
                                          </p:stCondLst>
                                        </p:cTn>
                                        <p:tgtEl>
                                          <p:spTgt spid="140"/>
                                        </p:tgtEl>
                                        <p:attrNameLst>
                                          <p:attrName>style.visibility</p:attrName>
                                        </p:attrNameLst>
                                      </p:cBhvr>
                                      <p:to>
                                        <p:strVal val="visible"/>
                                      </p:to>
                                    </p:set>
                                    <p:anim calcmode="lin" valueType="num">
                                      <p:cBhvr>
                                        <p:cTn id="220" dur="500" fill="hold"/>
                                        <p:tgtEl>
                                          <p:spTgt spid="140"/>
                                        </p:tgtEl>
                                        <p:attrNameLst>
                                          <p:attrName>ppt_w</p:attrName>
                                        </p:attrNameLst>
                                      </p:cBhvr>
                                      <p:tavLst>
                                        <p:tav tm="0">
                                          <p:val>
                                            <p:fltVal val="0"/>
                                          </p:val>
                                        </p:tav>
                                        <p:tav tm="100000">
                                          <p:val>
                                            <p:strVal val="#ppt_w"/>
                                          </p:val>
                                        </p:tav>
                                      </p:tavLst>
                                    </p:anim>
                                    <p:anim calcmode="lin" valueType="num">
                                      <p:cBhvr>
                                        <p:cTn id="221" dur="500" fill="hold"/>
                                        <p:tgtEl>
                                          <p:spTgt spid="140"/>
                                        </p:tgtEl>
                                        <p:attrNameLst>
                                          <p:attrName>ppt_h</p:attrName>
                                        </p:attrNameLst>
                                      </p:cBhvr>
                                      <p:tavLst>
                                        <p:tav tm="0">
                                          <p:val>
                                            <p:fltVal val="0"/>
                                          </p:val>
                                        </p:tav>
                                        <p:tav tm="100000">
                                          <p:val>
                                            <p:strVal val="#ppt_h"/>
                                          </p:val>
                                        </p:tav>
                                      </p:tavLst>
                                    </p:anim>
                                    <p:animEffect transition="in" filter="fade">
                                      <p:cBhvr>
                                        <p:cTn id="222" dur="500"/>
                                        <p:tgtEl>
                                          <p:spTgt spid="140"/>
                                        </p:tgtEl>
                                      </p:cBhvr>
                                    </p:animEffect>
                                  </p:childTnLst>
                                </p:cTn>
                              </p:par>
                              <p:par>
                                <p:cTn id="223" presetID="53" presetClass="entr" presetSubtype="16" fill="hold" grpId="0" nodeType="withEffect">
                                  <p:stCondLst>
                                    <p:cond delay="1000"/>
                                  </p:stCondLst>
                                  <p:childTnLst>
                                    <p:set>
                                      <p:cBhvr>
                                        <p:cTn id="224" dur="1" fill="hold">
                                          <p:stCondLst>
                                            <p:cond delay="0"/>
                                          </p:stCondLst>
                                        </p:cTn>
                                        <p:tgtEl>
                                          <p:spTgt spid="141"/>
                                        </p:tgtEl>
                                        <p:attrNameLst>
                                          <p:attrName>style.visibility</p:attrName>
                                        </p:attrNameLst>
                                      </p:cBhvr>
                                      <p:to>
                                        <p:strVal val="visible"/>
                                      </p:to>
                                    </p:set>
                                    <p:anim calcmode="lin" valueType="num">
                                      <p:cBhvr>
                                        <p:cTn id="225" dur="500" fill="hold"/>
                                        <p:tgtEl>
                                          <p:spTgt spid="141"/>
                                        </p:tgtEl>
                                        <p:attrNameLst>
                                          <p:attrName>ppt_w</p:attrName>
                                        </p:attrNameLst>
                                      </p:cBhvr>
                                      <p:tavLst>
                                        <p:tav tm="0">
                                          <p:val>
                                            <p:fltVal val="0"/>
                                          </p:val>
                                        </p:tav>
                                        <p:tav tm="100000">
                                          <p:val>
                                            <p:strVal val="#ppt_w"/>
                                          </p:val>
                                        </p:tav>
                                      </p:tavLst>
                                    </p:anim>
                                    <p:anim calcmode="lin" valueType="num">
                                      <p:cBhvr>
                                        <p:cTn id="226" dur="500" fill="hold"/>
                                        <p:tgtEl>
                                          <p:spTgt spid="141"/>
                                        </p:tgtEl>
                                        <p:attrNameLst>
                                          <p:attrName>ppt_h</p:attrName>
                                        </p:attrNameLst>
                                      </p:cBhvr>
                                      <p:tavLst>
                                        <p:tav tm="0">
                                          <p:val>
                                            <p:fltVal val="0"/>
                                          </p:val>
                                        </p:tav>
                                        <p:tav tm="100000">
                                          <p:val>
                                            <p:strVal val="#ppt_h"/>
                                          </p:val>
                                        </p:tav>
                                      </p:tavLst>
                                    </p:anim>
                                    <p:animEffect transition="in" filter="fade">
                                      <p:cBhvr>
                                        <p:cTn id="227"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P spid="56" grpId="0" animBg="1"/>
      <p:bldP spid="57" grpId="0" animBg="1"/>
      <p:bldP spid="58" grpId="0" animBg="1"/>
      <p:bldP spid="59" grpId="0" animBg="1"/>
      <p:bldP spid="60" grpId="0" animBg="1"/>
      <p:bldP spid="61" grpId="0" animBg="1"/>
      <p:bldP spid="62" grpId="0" animBg="1"/>
      <p:bldP spid="90"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D83F2-6CBD-5859-5B66-9D03DF430380}"/>
              </a:ext>
            </a:extLst>
          </p:cNvPr>
          <p:cNvSpPr>
            <a:spLocks noGrp="1"/>
          </p:cNvSpPr>
          <p:nvPr>
            <p:ph type="title"/>
          </p:nvPr>
        </p:nvSpPr>
        <p:spPr/>
        <p:txBody>
          <a:bodyPr/>
          <a:lstStyle/>
          <a:p>
            <a:r>
              <a:rPr lang="en-US"/>
              <a:t>North American Datacenters</a:t>
            </a:r>
          </a:p>
        </p:txBody>
      </p:sp>
      <p:pic>
        <p:nvPicPr>
          <p:cNvPr id="3" name="Picture 2">
            <a:extLst>
              <a:ext uri="{FF2B5EF4-FFF2-40B4-BE49-F238E27FC236}">
                <a16:creationId xmlns:a16="http://schemas.microsoft.com/office/drawing/2014/main" id="{950DAF3E-542A-1F93-1BD3-1CF3F798DAE9}"/>
              </a:ext>
            </a:extLst>
          </p:cNvPr>
          <p:cNvPicPr>
            <a:picLocks noChangeAspect="1"/>
          </p:cNvPicPr>
          <p:nvPr/>
        </p:nvPicPr>
        <p:blipFill>
          <a:blip r:embed="rId2"/>
          <a:stretch>
            <a:fillRect/>
          </a:stretch>
        </p:blipFill>
        <p:spPr>
          <a:xfrm>
            <a:off x="2313601" y="1716615"/>
            <a:ext cx="7564797" cy="4873871"/>
          </a:xfrm>
          <a:prstGeom prst="rect">
            <a:avLst/>
          </a:prstGeom>
        </p:spPr>
      </p:pic>
    </p:spTree>
    <p:extLst>
      <p:ext uri="{BB962C8B-B14F-4D97-AF65-F5344CB8AC3E}">
        <p14:creationId xmlns:p14="http://schemas.microsoft.com/office/powerpoint/2010/main" val="94700943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FDA0-8079-EC03-4843-C8C89E3D3F0B}"/>
              </a:ext>
            </a:extLst>
          </p:cNvPr>
          <p:cNvSpPr>
            <a:spLocks noGrp="1"/>
          </p:cNvSpPr>
          <p:nvPr>
            <p:ph type="title"/>
          </p:nvPr>
        </p:nvSpPr>
        <p:spPr/>
        <p:txBody>
          <a:bodyPr/>
          <a:lstStyle/>
          <a:p>
            <a:r>
              <a:rPr lang="en-US"/>
              <a:t>How do we Interact with Azure?</a:t>
            </a:r>
          </a:p>
        </p:txBody>
      </p:sp>
      <p:sp>
        <p:nvSpPr>
          <p:cNvPr id="3" name="Content Placeholder 2">
            <a:extLst>
              <a:ext uri="{FF2B5EF4-FFF2-40B4-BE49-F238E27FC236}">
                <a16:creationId xmlns:a16="http://schemas.microsoft.com/office/drawing/2014/main" id="{0F95FBAA-061C-7FA2-F2FD-67BAEABECE87}"/>
              </a:ext>
            </a:extLst>
          </p:cNvPr>
          <p:cNvSpPr>
            <a:spLocks noGrp="1"/>
          </p:cNvSpPr>
          <p:nvPr>
            <p:ph idx="1"/>
          </p:nvPr>
        </p:nvSpPr>
        <p:spPr/>
        <p:txBody>
          <a:bodyPr/>
          <a:lstStyle/>
          <a:p>
            <a:r>
              <a:rPr lang="en-US"/>
              <a:t>AZ CLI</a:t>
            </a:r>
          </a:p>
          <a:p>
            <a:pPr lvl="1"/>
            <a:r>
              <a:rPr lang="en-US"/>
              <a:t>Is a CMD interface that can execute commands</a:t>
            </a:r>
          </a:p>
          <a:p>
            <a:r>
              <a:rPr lang="en-US"/>
              <a:t>Az PowerShell Modules</a:t>
            </a:r>
          </a:p>
          <a:p>
            <a:pPr lvl="1"/>
            <a:r>
              <a:rPr lang="en-US"/>
              <a:t>Useful for Automation and working with Azure from within Azure</a:t>
            </a:r>
          </a:p>
          <a:p>
            <a:r>
              <a:rPr lang="en-US"/>
              <a:t>Graph API</a:t>
            </a:r>
          </a:p>
          <a:p>
            <a:pPr lvl="1"/>
            <a:r>
              <a:rPr lang="en-US" err="1"/>
              <a:t>Sorta</a:t>
            </a:r>
            <a:r>
              <a:rPr lang="en-US"/>
              <a:t>, It’s more for interacting with M365, but can still be useful</a:t>
            </a:r>
          </a:p>
          <a:p>
            <a:r>
              <a:rPr lang="en-US"/>
              <a:t>One of the 100 portals</a:t>
            </a:r>
          </a:p>
          <a:p>
            <a:pPr lvl="1"/>
            <a:r>
              <a:rPr lang="en-US"/>
              <a:t>Why type when you can click?</a:t>
            </a:r>
          </a:p>
        </p:txBody>
      </p:sp>
    </p:spTree>
    <p:extLst>
      <p:ext uri="{BB962C8B-B14F-4D97-AF65-F5344CB8AC3E}">
        <p14:creationId xmlns:p14="http://schemas.microsoft.com/office/powerpoint/2010/main" val="4280404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7F76A5-6EBE-2366-3A1F-A60941FBF829}"/>
              </a:ext>
            </a:extLst>
          </p:cNvPr>
          <p:cNvSpPr>
            <a:spLocks noGrp="1"/>
          </p:cNvSpPr>
          <p:nvPr>
            <p:ph type="title"/>
          </p:nvPr>
        </p:nvSpPr>
        <p:spPr/>
        <p:txBody>
          <a:bodyPr/>
          <a:lstStyle/>
          <a:p>
            <a:r>
              <a:rPr lang="en-US"/>
              <a:t>100 Portals?</a:t>
            </a:r>
          </a:p>
        </p:txBody>
      </p:sp>
      <p:sp>
        <p:nvSpPr>
          <p:cNvPr id="5" name="Content Placeholder 4">
            <a:extLst>
              <a:ext uri="{FF2B5EF4-FFF2-40B4-BE49-F238E27FC236}">
                <a16:creationId xmlns:a16="http://schemas.microsoft.com/office/drawing/2014/main" id="{C855360A-69CC-CAA3-8EF2-97D23F762715}"/>
              </a:ext>
            </a:extLst>
          </p:cNvPr>
          <p:cNvSpPr>
            <a:spLocks noGrp="1"/>
          </p:cNvSpPr>
          <p:nvPr>
            <p:ph idx="1"/>
          </p:nvPr>
        </p:nvSpPr>
        <p:spPr>
          <a:xfrm>
            <a:off x="846826" y="1542291"/>
            <a:ext cx="10515600" cy="4669176"/>
          </a:xfrm>
        </p:spPr>
        <p:txBody>
          <a:bodyPr/>
          <a:lstStyle/>
          <a:p>
            <a:r>
              <a:rPr lang="en-US"/>
              <a:t>100 portals is what happens when you have 100 developers that think they know better than the other 99.</a:t>
            </a:r>
          </a:p>
          <a:p>
            <a:r>
              <a:rPr lang="en-US">
                <a:hlinkClick r:id="rId2"/>
              </a:rPr>
              <a:t>Administrator Portals | MSPortals.io - Microsoft Portals</a:t>
            </a:r>
            <a:endParaRPr lang="en-US"/>
          </a:p>
          <a:p>
            <a:r>
              <a:rPr lang="en-US"/>
              <a:t>The Important ones (that we’ll cover)</a:t>
            </a:r>
          </a:p>
          <a:p>
            <a:pPr lvl="1"/>
            <a:r>
              <a:rPr lang="en-US"/>
              <a:t>portal.azure.com</a:t>
            </a:r>
          </a:p>
          <a:p>
            <a:pPr lvl="1"/>
            <a:r>
              <a:rPr lang="en-US"/>
              <a:t>rc.portal.azure.com</a:t>
            </a:r>
          </a:p>
          <a:p>
            <a:pPr lvl="1"/>
            <a:r>
              <a:rPr lang="en-US"/>
              <a:t>preview.portal.azure.com</a:t>
            </a:r>
          </a:p>
          <a:p>
            <a:pPr lvl="1"/>
            <a:r>
              <a:rPr lang="en-US"/>
              <a:t>resources.azure.com</a:t>
            </a:r>
          </a:p>
          <a:p>
            <a:pPr lvl="1"/>
            <a:r>
              <a:rPr lang="en-US"/>
              <a:t>dev.azure.com</a:t>
            </a:r>
          </a:p>
          <a:p>
            <a:r>
              <a:rPr lang="en-US"/>
              <a:t>There is no “Production” Portal ;)  You should be doing </a:t>
            </a:r>
            <a:r>
              <a:rPr lang="en-US" err="1"/>
              <a:t>IaC</a:t>
            </a:r>
            <a:r>
              <a:rPr lang="en-US"/>
              <a:t>!</a:t>
            </a:r>
          </a:p>
        </p:txBody>
      </p:sp>
    </p:spTree>
    <p:extLst>
      <p:ext uri="{BB962C8B-B14F-4D97-AF65-F5344CB8AC3E}">
        <p14:creationId xmlns:p14="http://schemas.microsoft.com/office/powerpoint/2010/main" val="3595936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6BC2B6-AE2C-3E1D-788D-592ABCDC14E7}"/>
              </a:ext>
            </a:extLst>
          </p:cNvPr>
          <p:cNvSpPr>
            <a:spLocks noGrp="1"/>
          </p:cNvSpPr>
          <p:nvPr>
            <p:ph type="title"/>
          </p:nvPr>
        </p:nvSpPr>
        <p:spPr/>
        <p:txBody>
          <a:bodyPr wrap="square" anchor="b">
            <a:normAutofit fontScale="90000"/>
          </a:bodyPr>
          <a:lstStyle/>
          <a:p>
            <a:r>
              <a:rPr lang="en-US"/>
              <a:t>Death by 100 Portals</a:t>
            </a:r>
          </a:p>
        </p:txBody>
      </p:sp>
      <p:sp>
        <p:nvSpPr>
          <p:cNvPr id="5" name="Text Placeholder 4">
            <a:extLst>
              <a:ext uri="{FF2B5EF4-FFF2-40B4-BE49-F238E27FC236}">
                <a16:creationId xmlns:a16="http://schemas.microsoft.com/office/drawing/2014/main" id="{CE5050AF-7D60-7B16-0E17-6467A67E504A}"/>
              </a:ext>
            </a:extLst>
          </p:cNvPr>
          <p:cNvSpPr>
            <a:spLocks noGrp="1"/>
          </p:cNvSpPr>
          <p:nvPr>
            <p:ph type="body" sz="quarter" idx="12"/>
          </p:nvPr>
        </p:nvSpPr>
        <p:spPr/>
        <p:txBody>
          <a:bodyPr wrap="square">
            <a:normAutofit/>
          </a:bodyPr>
          <a:lstStyle/>
          <a:p>
            <a:pPr>
              <a:lnSpc>
                <a:spcPct val="90000"/>
              </a:lnSpc>
              <a:spcAft>
                <a:spcPts val="600"/>
              </a:spcAft>
            </a:pPr>
            <a:r>
              <a:rPr lang="en-US" sz="1700"/>
              <a:t>Yup, It’s plural.  Because why settle for one portal when you can have 100….  No, Seriously</a:t>
            </a:r>
          </a:p>
        </p:txBody>
      </p:sp>
    </p:spTree>
    <p:extLst>
      <p:ext uri="{BB962C8B-B14F-4D97-AF65-F5344CB8AC3E}">
        <p14:creationId xmlns:p14="http://schemas.microsoft.com/office/powerpoint/2010/main" val="299856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08BD3A9-215F-FFCC-C1A7-0C1D02803A51}"/>
              </a:ext>
            </a:extLst>
          </p:cNvPr>
          <p:cNvSpPr>
            <a:spLocks noGrp="1"/>
          </p:cNvSpPr>
          <p:nvPr>
            <p:ph type="title"/>
          </p:nvPr>
        </p:nvSpPr>
        <p:spPr>
          <a:xfrm>
            <a:off x="585216" y="2918853"/>
            <a:ext cx="9144000" cy="615553"/>
          </a:xfrm>
        </p:spPr>
        <p:txBody>
          <a:bodyPr/>
          <a:lstStyle/>
          <a:p>
            <a:r>
              <a:rPr lang="en-US" dirty="0"/>
              <a:t>Azure Networking</a:t>
            </a:r>
          </a:p>
        </p:txBody>
      </p:sp>
    </p:spTree>
    <p:extLst>
      <p:ext uri="{BB962C8B-B14F-4D97-AF65-F5344CB8AC3E}">
        <p14:creationId xmlns:p14="http://schemas.microsoft.com/office/powerpoint/2010/main" val="125099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C68930-3139-A8F7-E01D-4BD443990FA4}"/>
              </a:ext>
            </a:extLst>
          </p:cNvPr>
          <p:cNvSpPr>
            <a:spLocks noGrp="1"/>
          </p:cNvSpPr>
          <p:nvPr>
            <p:ph type="title"/>
          </p:nvPr>
        </p:nvSpPr>
        <p:spPr/>
        <p:txBody>
          <a:bodyPr/>
          <a:lstStyle/>
          <a:p>
            <a:r>
              <a:rPr lang="en-US"/>
              <a:t>Azure Networks</a:t>
            </a:r>
          </a:p>
        </p:txBody>
      </p:sp>
      <p:sp>
        <p:nvSpPr>
          <p:cNvPr id="5" name="Content Placeholder 4">
            <a:extLst>
              <a:ext uri="{FF2B5EF4-FFF2-40B4-BE49-F238E27FC236}">
                <a16:creationId xmlns:a16="http://schemas.microsoft.com/office/drawing/2014/main" id="{581B598A-CB65-7993-3FCF-42623BB7A3BE}"/>
              </a:ext>
            </a:extLst>
          </p:cNvPr>
          <p:cNvSpPr>
            <a:spLocks noGrp="1"/>
          </p:cNvSpPr>
          <p:nvPr>
            <p:ph idx="1"/>
          </p:nvPr>
        </p:nvSpPr>
        <p:spPr>
          <a:xfrm>
            <a:off x="873759" y="1241881"/>
            <a:ext cx="10436354" cy="5158919"/>
          </a:xfrm>
        </p:spPr>
        <p:txBody>
          <a:bodyPr>
            <a:normAutofit/>
          </a:bodyPr>
          <a:lstStyle/>
          <a:p>
            <a:r>
              <a:rPr lang="en-US" dirty="0"/>
              <a:t>Virtual Networks in Azure are just like your datacenter</a:t>
            </a:r>
          </a:p>
          <a:p>
            <a:pPr lvl="1"/>
            <a:r>
              <a:rPr lang="en-US" dirty="0"/>
              <a:t>Until you talk about DNS</a:t>
            </a:r>
          </a:p>
          <a:p>
            <a:r>
              <a:rPr lang="en-US" dirty="0"/>
              <a:t>Private Endpoints allow many Azure services to become private and local to your network</a:t>
            </a:r>
          </a:p>
          <a:p>
            <a:pPr lvl="1"/>
            <a:r>
              <a:rPr lang="en-US" dirty="0"/>
              <a:t>Let’s talk about that DNS</a:t>
            </a:r>
          </a:p>
          <a:p>
            <a:r>
              <a:rPr lang="en-US" dirty="0"/>
              <a:t>Azure Private Resolvers allow you to resolve DNS records from Azure, do conditional forwards, and auto-manage record lifecycles</a:t>
            </a:r>
          </a:p>
          <a:p>
            <a:r>
              <a:rPr lang="en-US" dirty="0"/>
              <a:t>Virtual Networks are normally isolated and cannot talk to each other.</a:t>
            </a:r>
          </a:p>
          <a:p>
            <a:r>
              <a:rPr lang="en-US" dirty="0"/>
              <a:t>Virtual Network Peering allows one or more networks to talk to each other</a:t>
            </a:r>
          </a:p>
          <a:p>
            <a:r>
              <a:rPr lang="en-US" dirty="0"/>
              <a:t>Virtual Network Peering costs money</a:t>
            </a:r>
          </a:p>
          <a:p>
            <a:endParaRPr lang="en-US" dirty="0"/>
          </a:p>
          <a:p>
            <a:endParaRPr lang="en-US" dirty="0"/>
          </a:p>
        </p:txBody>
      </p:sp>
    </p:spTree>
    <p:extLst>
      <p:ext uri="{BB962C8B-B14F-4D97-AF65-F5344CB8AC3E}">
        <p14:creationId xmlns:p14="http://schemas.microsoft.com/office/powerpoint/2010/main" val="36653828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D9405-BC82-AD92-AD85-DF2A94CE2058}"/>
              </a:ext>
            </a:extLst>
          </p:cNvPr>
          <p:cNvSpPr>
            <a:spLocks noGrp="1"/>
          </p:cNvSpPr>
          <p:nvPr>
            <p:ph type="title"/>
          </p:nvPr>
        </p:nvSpPr>
        <p:spPr/>
        <p:txBody>
          <a:bodyPr/>
          <a:lstStyle/>
          <a:p>
            <a:r>
              <a:rPr lang="en-US" dirty="0"/>
              <a:t>Public Endpoints</a:t>
            </a:r>
          </a:p>
        </p:txBody>
      </p:sp>
      <p:sp>
        <p:nvSpPr>
          <p:cNvPr id="3" name="Content Placeholder 2">
            <a:extLst>
              <a:ext uri="{FF2B5EF4-FFF2-40B4-BE49-F238E27FC236}">
                <a16:creationId xmlns:a16="http://schemas.microsoft.com/office/drawing/2014/main" id="{A5E7E432-D35F-DD14-DCE8-2E67DE258124}"/>
              </a:ext>
            </a:extLst>
          </p:cNvPr>
          <p:cNvSpPr>
            <a:spLocks noGrp="1"/>
          </p:cNvSpPr>
          <p:nvPr>
            <p:ph idx="1"/>
          </p:nvPr>
        </p:nvSpPr>
        <p:spPr>
          <a:xfrm>
            <a:off x="873759" y="1241881"/>
            <a:ext cx="10436354" cy="2880789"/>
          </a:xfrm>
        </p:spPr>
        <p:txBody>
          <a:bodyPr/>
          <a:lstStyle/>
          <a:p>
            <a:r>
              <a:rPr lang="en-US" dirty="0"/>
              <a:t>Public?, Well, yeah, It’s in a public cloud </a:t>
            </a:r>
            <a:r>
              <a:rPr lang="en-US" dirty="0" err="1"/>
              <a:t>afterall</a:t>
            </a:r>
            <a:endParaRPr lang="en-US" dirty="0"/>
          </a:p>
          <a:p>
            <a:r>
              <a:rPr lang="en-US" dirty="0"/>
              <a:t>By default, all services ingress and egress over a </a:t>
            </a:r>
            <a:r>
              <a:rPr lang="en-US" b="1" dirty="0"/>
              <a:t>public</a:t>
            </a:r>
            <a:r>
              <a:rPr lang="en-US" dirty="0"/>
              <a:t> interface</a:t>
            </a:r>
          </a:p>
          <a:p>
            <a:r>
              <a:rPr lang="en-US" dirty="0"/>
              <a:t>Many services support private endpoints which allow </a:t>
            </a:r>
            <a:r>
              <a:rPr lang="en-US" b="1" dirty="0"/>
              <a:t>ingress</a:t>
            </a:r>
            <a:r>
              <a:rPr lang="en-US" dirty="0"/>
              <a:t> to be private, but egress is still public.</a:t>
            </a:r>
          </a:p>
          <a:p>
            <a:r>
              <a:rPr lang="en-US" dirty="0"/>
              <a:t>Some services support </a:t>
            </a:r>
            <a:r>
              <a:rPr lang="en-US" dirty="0" err="1"/>
              <a:t>Vnet</a:t>
            </a:r>
            <a:r>
              <a:rPr lang="en-US" dirty="0"/>
              <a:t> Integration which allows </a:t>
            </a:r>
            <a:r>
              <a:rPr lang="en-US" b="1" dirty="0"/>
              <a:t>both</a:t>
            </a:r>
            <a:r>
              <a:rPr lang="en-US" dirty="0"/>
              <a:t> ingress and egress to be private.</a:t>
            </a:r>
          </a:p>
          <a:p>
            <a:r>
              <a:rPr lang="en-US" dirty="0"/>
              <a:t>There are use valid use-cases for all of the above.</a:t>
            </a:r>
          </a:p>
        </p:txBody>
      </p:sp>
    </p:spTree>
    <p:extLst>
      <p:ext uri="{BB962C8B-B14F-4D97-AF65-F5344CB8AC3E}">
        <p14:creationId xmlns:p14="http://schemas.microsoft.com/office/powerpoint/2010/main" val="35055035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5E3F66-461E-49F1-B7A7-CB4427AC3E4F}"/>
              </a:ext>
            </a:extLst>
          </p:cNvPr>
          <p:cNvSpPr>
            <a:spLocks noGrp="1"/>
          </p:cNvSpPr>
          <p:nvPr>
            <p:ph type="title"/>
          </p:nvPr>
        </p:nvSpPr>
        <p:spPr/>
        <p:txBody>
          <a:bodyPr>
            <a:normAutofit/>
          </a:bodyPr>
          <a:lstStyle/>
          <a:p>
            <a:r>
              <a:rPr lang="en-US"/>
              <a:t>Private Endpoint Structure (According to CoPilot)</a:t>
            </a:r>
          </a:p>
        </p:txBody>
      </p:sp>
      <p:sp>
        <p:nvSpPr>
          <p:cNvPr id="6" name="TextBox 5">
            <a:extLst>
              <a:ext uri="{FF2B5EF4-FFF2-40B4-BE49-F238E27FC236}">
                <a16:creationId xmlns:a16="http://schemas.microsoft.com/office/drawing/2014/main" id="{9128C7D5-A5EF-CA95-530C-76CA930A37F6}"/>
              </a:ext>
            </a:extLst>
          </p:cNvPr>
          <p:cNvSpPr txBox="1"/>
          <p:nvPr/>
        </p:nvSpPr>
        <p:spPr>
          <a:xfrm>
            <a:off x="3048372" y="2165193"/>
            <a:ext cx="6095256" cy="3416320"/>
          </a:xfrm>
          <a:prstGeom prst="rect">
            <a:avLst/>
          </a:prstGeom>
          <a:noFill/>
        </p:spPr>
        <p:txBody>
          <a:bodyPr wrap="square">
            <a:spAutoFit/>
          </a:bodyPr>
          <a:lstStyle/>
          <a:p>
            <a:r>
              <a:rPr lang="en-US" sz="1200" dirty="0">
                <a:solidFill>
                  <a:srgbClr val="F4364C"/>
                </a:solidFill>
                <a:latin typeface="Aptos Mono" panose="020B0009020202020204" pitchFamily="49" charset="0"/>
              </a:rPr>
              <a:t>+-------------------+                  +-------------------+</a:t>
            </a:r>
          </a:p>
          <a:p>
            <a:r>
              <a:rPr lang="en-US" sz="1200" dirty="0">
                <a:solidFill>
                  <a:srgbClr val="F4364C"/>
                </a:solidFill>
                <a:latin typeface="Aptos Mono" panose="020B0009020202020204" pitchFamily="49" charset="0"/>
              </a:rPr>
              <a:t>|                   |                  |                   |</a:t>
            </a:r>
          </a:p>
          <a:p>
            <a:r>
              <a:rPr lang="en-US" sz="1200" dirty="0">
                <a:solidFill>
                  <a:srgbClr val="F4364C"/>
                </a:solidFill>
                <a:latin typeface="Aptos Mono" panose="020B0009020202020204" pitchFamily="49" charset="0"/>
              </a:rPr>
              <a:t>|   Your Virtual    |                  |   Azure Service   |</a:t>
            </a:r>
          </a:p>
          <a:p>
            <a:r>
              <a:rPr lang="en-US" sz="1200" dirty="0">
                <a:solidFill>
                  <a:srgbClr val="F4364C"/>
                </a:solidFill>
                <a:latin typeface="Aptos Mono" panose="020B0009020202020204" pitchFamily="49" charset="0"/>
              </a:rPr>
              <a:t>|   Network         |                  |                   |</a:t>
            </a:r>
          </a:p>
          <a:p>
            <a:r>
              <a:rPr lang="en-US" sz="1200" dirty="0">
                <a:solidFill>
                  <a:srgbClr val="F4364C"/>
                </a:solidFill>
                <a:latin typeface="Aptos Mono" panose="020B0009020202020204" pitchFamily="49" charset="0"/>
              </a:rPr>
              <a:t>|                   |                  |                   |</a:t>
            </a:r>
          </a:p>
          <a:p>
            <a:r>
              <a:rPr lang="en-US" sz="1200" dirty="0">
                <a:solidFill>
                  <a:srgbClr val="F4364C"/>
                </a:solidFill>
                <a:latin typeface="Aptos Mono" panose="020B0009020202020204" pitchFamily="49" charset="0"/>
              </a:rPr>
              <a:t>|  +--------------+ |                  | +---------------+ |</a:t>
            </a:r>
          </a:p>
          <a:p>
            <a:r>
              <a:rPr lang="en-US" sz="1200" dirty="0">
                <a:solidFill>
                  <a:srgbClr val="F4364C"/>
                </a:solidFill>
                <a:latin typeface="Aptos Mono" panose="020B0009020202020204" pitchFamily="49" charset="0"/>
              </a:rPr>
              <a:t>|  | Private      | |                  | |               | |</a:t>
            </a:r>
          </a:p>
          <a:p>
            <a:r>
              <a:rPr lang="en-US" sz="1200" dirty="0">
                <a:solidFill>
                  <a:srgbClr val="F4364C"/>
                </a:solidFill>
                <a:latin typeface="Aptos Mono" panose="020B0009020202020204" pitchFamily="49" charset="0"/>
              </a:rPr>
              <a:t>|  | Endpoint     | |                  | |               | |</a:t>
            </a:r>
          </a:p>
          <a:p>
            <a:r>
              <a:rPr lang="en-US" sz="1200" dirty="0">
                <a:solidFill>
                  <a:srgbClr val="F4364C"/>
                </a:solidFill>
                <a:latin typeface="Aptos Mono" panose="020B0009020202020204" pitchFamily="49" charset="0"/>
              </a:rPr>
              <a:t>|  |              | |                  | |               | |</a:t>
            </a:r>
          </a:p>
          <a:p>
            <a:r>
              <a:rPr lang="en-US" sz="1200" dirty="0">
                <a:solidFill>
                  <a:srgbClr val="F4364C"/>
                </a:solidFill>
                <a:latin typeface="Aptos Mono" panose="020B0009020202020204" pitchFamily="49" charset="0"/>
              </a:rPr>
              <a:t>|  |  +---------+ | |                  | | +-----------+ | |</a:t>
            </a:r>
          </a:p>
          <a:p>
            <a:r>
              <a:rPr lang="en-US" sz="1200" dirty="0">
                <a:solidFill>
                  <a:srgbClr val="F4364C"/>
                </a:solidFill>
                <a:latin typeface="Aptos Mono" panose="020B0009020202020204" pitchFamily="49" charset="0"/>
              </a:rPr>
              <a:t>|  |  |         | | |                  | | |           | | |</a:t>
            </a:r>
          </a:p>
          <a:p>
            <a:r>
              <a:rPr lang="en-US" sz="1200" dirty="0">
                <a:solidFill>
                  <a:srgbClr val="F4364C"/>
                </a:solidFill>
                <a:latin typeface="Aptos Mono" panose="020B0009020202020204" pitchFamily="49" charset="0"/>
              </a:rPr>
              <a:t>|  |  | Subnet  | | |                  | | | Resource  | | |</a:t>
            </a:r>
          </a:p>
          <a:p>
            <a:r>
              <a:rPr lang="en-US" sz="1200" dirty="0">
                <a:solidFill>
                  <a:srgbClr val="F4364C"/>
                </a:solidFill>
                <a:latin typeface="Aptos Mono" panose="020B0009020202020204" pitchFamily="49" charset="0"/>
              </a:rPr>
              <a:t>|  |  |         | | |                  | | |           | | |</a:t>
            </a:r>
          </a:p>
          <a:p>
            <a:r>
              <a:rPr lang="en-US" sz="1200" dirty="0">
                <a:solidFill>
                  <a:srgbClr val="F4364C"/>
                </a:solidFill>
                <a:latin typeface="Aptos Mono" panose="020B0009020202020204" pitchFamily="49" charset="0"/>
              </a:rPr>
              <a:t>|  |  +---------+ | |                  | | +-----------+ | |</a:t>
            </a:r>
          </a:p>
          <a:p>
            <a:r>
              <a:rPr lang="en-US" sz="1200" dirty="0">
                <a:solidFill>
                  <a:srgbClr val="F4364C"/>
                </a:solidFill>
                <a:latin typeface="Aptos Mono" panose="020B0009020202020204" pitchFamily="49" charset="0"/>
              </a:rPr>
              <a:t>|  |              | |                  | |               | |</a:t>
            </a:r>
          </a:p>
          <a:p>
            <a:r>
              <a:rPr lang="en-US" sz="1200" dirty="0">
                <a:solidFill>
                  <a:srgbClr val="F4364C"/>
                </a:solidFill>
                <a:latin typeface="Aptos Mono" panose="020B0009020202020204" pitchFamily="49" charset="0"/>
              </a:rPr>
              <a:t>|  +--------------+ |                  | +---------------+ |</a:t>
            </a:r>
          </a:p>
          <a:p>
            <a:r>
              <a:rPr lang="en-US" sz="1200" dirty="0">
                <a:solidFill>
                  <a:srgbClr val="F4364C"/>
                </a:solidFill>
                <a:latin typeface="Aptos Mono" panose="020B0009020202020204" pitchFamily="49" charset="0"/>
              </a:rPr>
              <a:t>|                   |                  |                   |</a:t>
            </a:r>
          </a:p>
          <a:p>
            <a:r>
              <a:rPr lang="en-US" sz="1200" dirty="0">
                <a:solidFill>
                  <a:srgbClr val="F4364C"/>
                </a:solidFill>
                <a:latin typeface="Aptos Mono" panose="020B0009020202020204" pitchFamily="49" charset="0"/>
              </a:rPr>
              <a:t>+-------------------+                  +-------------------+</a:t>
            </a:r>
          </a:p>
        </p:txBody>
      </p:sp>
    </p:spTree>
    <p:extLst>
      <p:ext uri="{BB962C8B-B14F-4D97-AF65-F5344CB8AC3E}">
        <p14:creationId xmlns:p14="http://schemas.microsoft.com/office/powerpoint/2010/main" val="10233543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descr="A person in sunglasses and headphones leaning out of a plane window&#10;&#10;Description automatically generated">
            <a:extLst>
              <a:ext uri="{FF2B5EF4-FFF2-40B4-BE49-F238E27FC236}">
                <a16:creationId xmlns:a16="http://schemas.microsoft.com/office/drawing/2014/main" id="{0FE1ACE3-AA98-CC45-7CD6-2A15641BA31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37" b="37"/>
          <a:stretch/>
        </p:blipFill>
        <p:spPr>
          <a:xfrm>
            <a:off x="881885" y="1643840"/>
            <a:ext cx="2119312" cy="2117725"/>
          </a:xfrm>
        </p:spPr>
      </p:pic>
      <p:pic>
        <p:nvPicPr>
          <p:cNvPr id="20" name="Picture Placeholder 19" descr="A person smiling at the camera&#10;&#10;Description automatically generated">
            <a:extLst>
              <a:ext uri="{FF2B5EF4-FFF2-40B4-BE49-F238E27FC236}">
                <a16:creationId xmlns:a16="http://schemas.microsoft.com/office/drawing/2014/main" id="{B7918F96-4D98-5F39-EF5F-4AB2815A32E0}"/>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37" b="37"/>
          <a:stretch/>
        </p:blipFill>
        <p:spPr>
          <a:xfrm>
            <a:off x="881885" y="4257856"/>
            <a:ext cx="2119311" cy="2117725"/>
          </a:xfrm>
        </p:spPr>
      </p:pic>
      <p:sp>
        <p:nvSpPr>
          <p:cNvPr id="7" name="Text Placeholder 6">
            <a:extLst>
              <a:ext uri="{FF2B5EF4-FFF2-40B4-BE49-F238E27FC236}">
                <a16:creationId xmlns:a16="http://schemas.microsoft.com/office/drawing/2014/main" id="{B13AB5F0-3405-E0A1-90FE-C61869EE91FC}"/>
              </a:ext>
            </a:extLst>
          </p:cNvPr>
          <p:cNvSpPr>
            <a:spLocks noGrp="1"/>
          </p:cNvSpPr>
          <p:nvPr>
            <p:ph type="body" sz="quarter" idx="12"/>
          </p:nvPr>
        </p:nvSpPr>
        <p:spPr>
          <a:xfrm>
            <a:off x="3352801" y="1643840"/>
            <a:ext cx="7957314" cy="553998"/>
          </a:xfrm>
        </p:spPr>
        <p:txBody>
          <a:bodyPr/>
          <a:lstStyle/>
          <a:p>
            <a:r>
              <a:rPr lang="en-US" dirty="0"/>
              <a:t>Scott Corio</a:t>
            </a:r>
          </a:p>
        </p:txBody>
      </p:sp>
      <p:sp>
        <p:nvSpPr>
          <p:cNvPr id="8" name="Text Placeholder 7">
            <a:extLst>
              <a:ext uri="{FF2B5EF4-FFF2-40B4-BE49-F238E27FC236}">
                <a16:creationId xmlns:a16="http://schemas.microsoft.com/office/drawing/2014/main" id="{4F2131F5-C052-6017-8F24-0BC88590ECD3}"/>
              </a:ext>
            </a:extLst>
          </p:cNvPr>
          <p:cNvSpPr>
            <a:spLocks noGrp="1"/>
          </p:cNvSpPr>
          <p:nvPr>
            <p:ph type="body" sz="quarter" idx="13"/>
          </p:nvPr>
        </p:nvSpPr>
        <p:spPr>
          <a:xfrm>
            <a:off x="4066393" y="2604927"/>
            <a:ext cx="7243722" cy="276999"/>
          </a:xfrm>
        </p:spPr>
        <p:txBody>
          <a:bodyPr/>
          <a:lstStyle/>
          <a:p>
            <a:r>
              <a:rPr lang="en-US" dirty="0" err="1"/>
              <a:t>scottcorio</a:t>
            </a:r>
            <a:endParaRPr lang="en-US" dirty="0"/>
          </a:p>
        </p:txBody>
      </p:sp>
      <p:sp>
        <p:nvSpPr>
          <p:cNvPr id="9" name="Text Placeholder 8">
            <a:extLst>
              <a:ext uri="{FF2B5EF4-FFF2-40B4-BE49-F238E27FC236}">
                <a16:creationId xmlns:a16="http://schemas.microsoft.com/office/drawing/2014/main" id="{0C52EED0-D0A6-32D6-E848-0EE601ABA556}"/>
              </a:ext>
            </a:extLst>
          </p:cNvPr>
          <p:cNvSpPr>
            <a:spLocks noGrp="1"/>
          </p:cNvSpPr>
          <p:nvPr>
            <p:ph type="body" sz="quarter" idx="14"/>
          </p:nvPr>
        </p:nvSpPr>
        <p:spPr>
          <a:xfrm>
            <a:off x="4066393" y="3399662"/>
            <a:ext cx="7243722" cy="276999"/>
          </a:xfrm>
        </p:spPr>
        <p:txBody>
          <a:bodyPr/>
          <a:lstStyle/>
          <a:p>
            <a:r>
              <a:rPr lang="en-US" dirty="0"/>
              <a:t>https://blog.shitstormbrewing.beer</a:t>
            </a:r>
          </a:p>
        </p:txBody>
      </p:sp>
      <p:sp>
        <p:nvSpPr>
          <p:cNvPr id="10" name="Text Placeholder 9">
            <a:extLst>
              <a:ext uri="{FF2B5EF4-FFF2-40B4-BE49-F238E27FC236}">
                <a16:creationId xmlns:a16="http://schemas.microsoft.com/office/drawing/2014/main" id="{36AB1DDC-3B80-FF17-F999-B9633E648363}"/>
              </a:ext>
            </a:extLst>
          </p:cNvPr>
          <p:cNvSpPr>
            <a:spLocks noGrp="1"/>
          </p:cNvSpPr>
          <p:nvPr>
            <p:ph type="body" sz="quarter" idx="15"/>
          </p:nvPr>
        </p:nvSpPr>
        <p:spPr>
          <a:xfrm>
            <a:off x="4066393" y="3005601"/>
            <a:ext cx="7243722" cy="276999"/>
          </a:xfrm>
        </p:spPr>
        <p:txBody>
          <a:bodyPr/>
          <a:lstStyle/>
          <a:p>
            <a:r>
              <a:rPr lang="en-US" dirty="0" err="1"/>
              <a:t>DumpsterDave</a:t>
            </a:r>
            <a:endParaRPr lang="en-US" dirty="0"/>
          </a:p>
        </p:txBody>
      </p:sp>
      <p:sp>
        <p:nvSpPr>
          <p:cNvPr id="15" name="Text Placeholder 14">
            <a:extLst>
              <a:ext uri="{FF2B5EF4-FFF2-40B4-BE49-F238E27FC236}">
                <a16:creationId xmlns:a16="http://schemas.microsoft.com/office/drawing/2014/main" id="{96FC36F2-FBCF-F3CD-9445-684991947944}"/>
              </a:ext>
            </a:extLst>
          </p:cNvPr>
          <p:cNvSpPr>
            <a:spLocks noGrp="1"/>
          </p:cNvSpPr>
          <p:nvPr>
            <p:ph type="body" sz="quarter" idx="20"/>
          </p:nvPr>
        </p:nvSpPr>
        <p:spPr>
          <a:xfrm>
            <a:off x="3352802" y="2257829"/>
            <a:ext cx="7957314" cy="246221"/>
          </a:xfrm>
        </p:spPr>
        <p:txBody>
          <a:bodyPr/>
          <a:lstStyle/>
          <a:p>
            <a:r>
              <a:rPr lang="en-US" dirty="0"/>
              <a:t>Enterprise Cloud Architect, Microsoft MVP – Azure (Cloud Native/PowerShell)</a:t>
            </a:r>
          </a:p>
        </p:txBody>
      </p:sp>
      <p:sp>
        <p:nvSpPr>
          <p:cNvPr id="11" name="Text Placeholder 10">
            <a:extLst>
              <a:ext uri="{FF2B5EF4-FFF2-40B4-BE49-F238E27FC236}">
                <a16:creationId xmlns:a16="http://schemas.microsoft.com/office/drawing/2014/main" id="{6EDA0F87-E660-BEAC-B536-28A13799F53B}"/>
              </a:ext>
            </a:extLst>
          </p:cNvPr>
          <p:cNvSpPr>
            <a:spLocks noGrp="1"/>
          </p:cNvSpPr>
          <p:nvPr>
            <p:ph type="body" sz="quarter" idx="21"/>
          </p:nvPr>
        </p:nvSpPr>
        <p:spPr>
          <a:xfrm>
            <a:off x="3352800" y="4252913"/>
            <a:ext cx="7956550" cy="554037"/>
          </a:xfrm>
        </p:spPr>
        <p:txBody>
          <a:bodyPr/>
          <a:lstStyle/>
          <a:p>
            <a:r>
              <a:rPr lang="en-US" dirty="0"/>
              <a:t>Chad Lich</a:t>
            </a:r>
          </a:p>
        </p:txBody>
      </p:sp>
      <p:sp>
        <p:nvSpPr>
          <p:cNvPr id="12" name="Text Placeholder 11">
            <a:extLst>
              <a:ext uri="{FF2B5EF4-FFF2-40B4-BE49-F238E27FC236}">
                <a16:creationId xmlns:a16="http://schemas.microsoft.com/office/drawing/2014/main" id="{A6CAA7E4-2C89-711F-CC82-F463F0B6656B}"/>
              </a:ext>
            </a:extLst>
          </p:cNvPr>
          <p:cNvSpPr>
            <a:spLocks noGrp="1"/>
          </p:cNvSpPr>
          <p:nvPr>
            <p:ph type="body" sz="quarter" idx="22"/>
          </p:nvPr>
        </p:nvSpPr>
        <p:spPr>
          <a:xfrm>
            <a:off x="4067175" y="5214938"/>
            <a:ext cx="7242175" cy="276225"/>
          </a:xfrm>
        </p:spPr>
        <p:txBody>
          <a:bodyPr/>
          <a:lstStyle/>
          <a:p>
            <a:r>
              <a:rPr lang="en-US" dirty="0"/>
              <a:t>chad-lich-72378bb</a:t>
            </a:r>
          </a:p>
        </p:txBody>
      </p:sp>
      <p:sp>
        <p:nvSpPr>
          <p:cNvPr id="13" name="Text Placeholder 12">
            <a:extLst>
              <a:ext uri="{FF2B5EF4-FFF2-40B4-BE49-F238E27FC236}">
                <a16:creationId xmlns:a16="http://schemas.microsoft.com/office/drawing/2014/main" id="{E39765BC-FA9E-67FF-7031-66117A507330}"/>
              </a:ext>
            </a:extLst>
          </p:cNvPr>
          <p:cNvSpPr>
            <a:spLocks noGrp="1"/>
          </p:cNvSpPr>
          <p:nvPr>
            <p:ph type="body" sz="quarter" idx="23"/>
          </p:nvPr>
        </p:nvSpPr>
        <p:spPr>
          <a:xfrm>
            <a:off x="4067175" y="6008688"/>
            <a:ext cx="7242175" cy="277812"/>
          </a:xfrm>
        </p:spPr>
        <p:txBody>
          <a:bodyPr/>
          <a:lstStyle/>
          <a:p>
            <a:r>
              <a:rPr lang="en-US" dirty="0"/>
              <a:t>I Don’t Internet</a:t>
            </a:r>
          </a:p>
        </p:txBody>
      </p:sp>
      <p:sp>
        <p:nvSpPr>
          <p:cNvPr id="14" name="Text Placeholder 13">
            <a:extLst>
              <a:ext uri="{FF2B5EF4-FFF2-40B4-BE49-F238E27FC236}">
                <a16:creationId xmlns:a16="http://schemas.microsoft.com/office/drawing/2014/main" id="{ACB22D29-2839-8907-645E-3B5B768EE2EC}"/>
              </a:ext>
            </a:extLst>
          </p:cNvPr>
          <p:cNvSpPr>
            <a:spLocks noGrp="1"/>
          </p:cNvSpPr>
          <p:nvPr>
            <p:ph type="body" sz="quarter" idx="24"/>
          </p:nvPr>
        </p:nvSpPr>
        <p:spPr>
          <a:xfrm>
            <a:off x="4067175" y="5614988"/>
            <a:ext cx="7242175" cy="277812"/>
          </a:xfrm>
        </p:spPr>
        <p:txBody>
          <a:bodyPr/>
          <a:lstStyle/>
          <a:p>
            <a:r>
              <a:rPr lang="en-US" dirty="0"/>
              <a:t>bluesky4x4</a:t>
            </a:r>
          </a:p>
        </p:txBody>
      </p:sp>
      <p:sp>
        <p:nvSpPr>
          <p:cNvPr id="16" name="Text Placeholder 15">
            <a:extLst>
              <a:ext uri="{FF2B5EF4-FFF2-40B4-BE49-F238E27FC236}">
                <a16:creationId xmlns:a16="http://schemas.microsoft.com/office/drawing/2014/main" id="{C13D9BA9-29BD-F2E0-1999-F59443D39A1E}"/>
              </a:ext>
            </a:extLst>
          </p:cNvPr>
          <p:cNvSpPr>
            <a:spLocks noGrp="1"/>
          </p:cNvSpPr>
          <p:nvPr>
            <p:ph type="body" sz="quarter" idx="25"/>
          </p:nvPr>
        </p:nvSpPr>
        <p:spPr>
          <a:xfrm>
            <a:off x="3352800" y="4867275"/>
            <a:ext cx="7956550" cy="246063"/>
          </a:xfrm>
        </p:spPr>
        <p:txBody>
          <a:bodyPr/>
          <a:lstStyle/>
          <a:p>
            <a:r>
              <a:rPr lang="en-US" dirty="0"/>
              <a:t>Director Azure Infrastructure Specialist</a:t>
            </a:r>
          </a:p>
        </p:txBody>
      </p:sp>
    </p:spTree>
    <p:extLst>
      <p:ext uri="{BB962C8B-B14F-4D97-AF65-F5344CB8AC3E}">
        <p14:creationId xmlns:p14="http://schemas.microsoft.com/office/powerpoint/2010/main" val="139036853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46381A8B-93AD-E82C-B0E9-BBE071C796C3}"/>
              </a:ext>
            </a:extLst>
          </p:cNvPr>
          <p:cNvSpPr/>
          <p:nvPr/>
        </p:nvSpPr>
        <p:spPr>
          <a:xfrm>
            <a:off x="1490985" y="2439346"/>
            <a:ext cx="930482" cy="2513654"/>
          </a:xfrm>
          <a:prstGeom prst="roundRect">
            <a:avLst/>
          </a:prstGeom>
          <a:noFill/>
          <a:ln w="38100">
            <a:solidFill>
              <a:schemeClr val="accent2">
                <a:lumMod val="40000"/>
                <a:lumOff val="6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91F2C"/>
              </a:solidFill>
            </a:endParaRPr>
          </a:p>
        </p:txBody>
      </p:sp>
      <p:sp>
        <p:nvSpPr>
          <p:cNvPr id="2" name="Title 1">
            <a:extLst>
              <a:ext uri="{FF2B5EF4-FFF2-40B4-BE49-F238E27FC236}">
                <a16:creationId xmlns:a16="http://schemas.microsoft.com/office/drawing/2014/main" id="{E19AEFF7-C8B3-A916-96C3-E7FE565B2099}"/>
              </a:ext>
            </a:extLst>
          </p:cNvPr>
          <p:cNvSpPr>
            <a:spLocks noGrp="1"/>
          </p:cNvSpPr>
          <p:nvPr>
            <p:ph type="title"/>
          </p:nvPr>
        </p:nvSpPr>
        <p:spPr/>
        <p:txBody>
          <a:bodyPr>
            <a:normAutofit/>
          </a:bodyPr>
          <a:lstStyle/>
          <a:p>
            <a:r>
              <a:rPr lang="en-US">
                <a:solidFill>
                  <a:srgbClr val="091F2C"/>
                </a:solidFill>
              </a:rPr>
              <a:t>Private Endpoint Structure (According to Scott)</a:t>
            </a:r>
          </a:p>
        </p:txBody>
      </p:sp>
      <p:pic>
        <p:nvPicPr>
          <p:cNvPr id="4" name="Graphic 3">
            <a:extLst>
              <a:ext uri="{FF2B5EF4-FFF2-40B4-BE49-F238E27FC236}">
                <a16:creationId xmlns:a16="http://schemas.microsoft.com/office/drawing/2014/main" id="{2168921C-F9CC-B207-C70E-9ABA0BB0D13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89646" y="3429000"/>
            <a:ext cx="564092" cy="564092"/>
          </a:xfrm>
          <a:prstGeom prst="rect">
            <a:avLst/>
          </a:prstGeom>
        </p:spPr>
      </p:pic>
      <p:pic>
        <p:nvPicPr>
          <p:cNvPr id="6" name="Graphic 5">
            <a:extLst>
              <a:ext uri="{FF2B5EF4-FFF2-40B4-BE49-F238E27FC236}">
                <a16:creationId xmlns:a16="http://schemas.microsoft.com/office/drawing/2014/main" id="{A10B482B-17DA-852D-3A31-6A96885C1B8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1298" y="1748744"/>
            <a:ext cx="690602" cy="690602"/>
          </a:xfrm>
          <a:prstGeom prst="rect">
            <a:avLst/>
          </a:prstGeom>
        </p:spPr>
      </p:pic>
      <p:pic>
        <p:nvPicPr>
          <p:cNvPr id="8" name="Graphic 7">
            <a:extLst>
              <a:ext uri="{FF2B5EF4-FFF2-40B4-BE49-F238E27FC236}">
                <a16:creationId xmlns:a16="http://schemas.microsoft.com/office/drawing/2014/main" id="{A7C1A1D7-9E8D-CB85-A4D2-6C296449D1C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92508" y="2568008"/>
            <a:ext cx="690602" cy="690602"/>
          </a:xfrm>
          <a:prstGeom prst="rect">
            <a:avLst/>
          </a:prstGeom>
        </p:spPr>
      </p:pic>
      <p:pic>
        <p:nvPicPr>
          <p:cNvPr id="10" name="Graphic 9">
            <a:extLst>
              <a:ext uri="{FF2B5EF4-FFF2-40B4-BE49-F238E27FC236}">
                <a16:creationId xmlns:a16="http://schemas.microsoft.com/office/drawing/2014/main" id="{5280738E-4B13-920F-B941-5DDFEDA516F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98841" y="3429000"/>
            <a:ext cx="520491" cy="520491"/>
          </a:xfrm>
          <a:prstGeom prst="rect">
            <a:avLst/>
          </a:prstGeom>
        </p:spPr>
      </p:pic>
      <p:pic>
        <p:nvPicPr>
          <p:cNvPr id="11" name="Graphic 10">
            <a:extLst>
              <a:ext uri="{FF2B5EF4-FFF2-40B4-BE49-F238E27FC236}">
                <a16:creationId xmlns:a16="http://schemas.microsoft.com/office/drawing/2014/main" id="{0259C42C-76DA-C254-A381-E946F0FCD18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92508" y="3343275"/>
            <a:ext cx="690602" cy="690602"/>
          </a:xfrm>
          <a:prstGeom prst="rect">
            <a:avLst/>
          </a:prstGeom>
        </p:spPr>
      </p:pic>
      <p:pic>
        <p:nvPicPr>
          <p:cNvPr id="12" name="Graphic 11">
            <a:extLst>
              <a:ext uri="{FF2B5EF4-FFF2-40B4-BE49-F238E27FC236}">
                <a16:creationId xmlns:a16="http://schemas.microsoft.com/office/drawing/2014/main" id="{B28682D9-C8CB-CE7B-1B18-82FF6148EA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92508" y="4118542"/>
            <a:ext cx="690602" cy="690602"/>
          </a:xfrm>
          <a:prstGeom prst="rect">
            <a:avLst/>
          </a:prstGeom>
        </p:spPr>
      </p:pic>
      <p:pic>
        <p:nvPicPr>
          <p:cNvPr id="14" name="Graphic 13">
            <a:extLst>
              <a:ext uri="{FF2B5EF4-FFF2-40B4-BE49-F238E27FC236}">
                <a16:creationId xmlns:a16="http://schemas.microsoft.com/office/drawing/2014/main" id="{8186741F-EF6A-A490-BC42-231C2F79332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864435" y="3406530"/>
            <a:ext cx="564092" cy="564092"/>
          </a:xfrm>
          <a:prstGeom prst="rect">
            <a:avLst/>
          </a:prstGeom>
        </p:spPr>
      </p:pic>
      <p:pic>
        <p:nvPicPr>
          <p:cNvPr id="18" name="Graphic 17">
            <a:extLst>
              <a:ext uri="{FF2B5EF4-FFF2-40B4-BE49-F238E27FC236}">
                <a16:creationId xmlns:a16="http://schemas.microsoft.com/office/drawing/2014/main" id="{DD00E234-83EB-BB3A-2BA1-9E861ADD57E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64435" y="4809144"/>
            <a:ext cx="564092" cy="564092"/>
          </a:xfrm>
          <a:prstGeom prst="rect">
            <a:avLst/>
          </a:prstGeom>
        </p:spPr>
      </p:pic>
      <p:sp>
        <p:nvSpPr>
          <p:cNvPr id="19" name="TextBox 18">
            <a:extLst>
              <a:ext uri="{FF2B5EF4-FFF2-40B4-BE49-F238E27FC236}">
                <a16:creationId xmlns:a16="http://schemas.microsoft.com/office/drawing/2014/main" id="{869A0986-56F5-9DDF-00D0-DB0163E85D06}"/>
              </a:ext>
            </a:extLst>
          </p:cNvPr>
          <p:cNvSpPr txBox="1"/>
          <p:nvPr/>
        </p:nvSpPr>
        <p:spPr>
          <a:xfrm>
            <a:off x="1937808" y="1838239"/>
            <a:ext cx="4500741" cy="369332"/>
          </a:xfrm>
          <a:prstGeom prst="rect">
            <a:avLst/>
          </a:prstGeom>
          <a:noFill/>
        </p:spPr>
        <p:txBody>
          <a:bodyPr wrap="square" rtlCol="0">
            <a:spAutoFit/>
          </a:bodyPr>
          <a:lstStyle/>
          <a:p>
            <a:r>
              <a:rPr lang="en-US">
                <a:solidFill>
                  <a:srgbClr val="091F2C"/>
                </a:solidFill>
              </a:rPr>
              <a:t>Virtual Network  10.10.0.0/16</a:t>
            </a:r>
          </a:p>
        </p:txBody>
      </p:sp>
      <p:sp>
        <p:nvSpPr>
          <p:cNvPr id="20" name="TextBox 19">
            <a:extLst>
              <a:ext uri="{FF2B5EF4-FFF2-40B4-BE49-F238E27FC236}">
                <a16:creationId xmlns:a16="http://schemas.microsoft.com/office/drawing/2014/main" id="{9B056067-CF59-FA77-856C-3D0BA541029C}"/>
              </a:ext>
            </a:extLst>
          </p:cNvPr>
          <p:cNvSpPr txBox="1"/>
          <p:nvPr/>
        </p:nvSpPr>
        <p:spPr>
          <a:xfrm>
            <a:off x="106079" y="2706226"/>
            <a:ext cx="1384906" cy="369332"/>
          </a:xfrm>
          <a:prstGeom prst="rect">
            <a:avLst/>
          </a:prstGeom>
          <a:noFill/>
        </p:spPr>
        <p:txBody>
          <a:bodyPr wrap="square" rtlCol="0">
            <a:spAutoFit/>
          </a:bodyPr>
          <a:lstStyle/>
          <a:p>
            <a:r>
              <a:rPr lang="en-US">
                <a:solidFill>
                  <a:srgbClr val="091F2C"/>
                </a:solidFill>
              </a:rPr>
              <a:t>10.10.1.0/24</a:t>
            </a:r>
          </a:p>
        </p:txBody>
      </p:sp>
      <p:sp>
        <p:nvSpPr>
          <p:cNvPr id="21" name="TextBox 20">
            <a:extLst>
              <a:ext uri="{FF2B5EF4-FFF2-40B4-BE49-F238E27FC236}">
                <a16:creationId xmlns:a16="http://schemas.microsoft.com/office/drawing/2014/main" id="{24EE49B5-1585-BD80-1122-7CED3B19980C}"/>
              </a:ext>
            </a:extLst>
          </p:cNvPr>
          <p:cNvSpPr txBox="1"/>
          <p:nvPr/>
        </p:nvSpPr>
        <p:spPr>
          <a:xfrm>
            <a:off x="106079" y="3527530"/>
            <a:ext cx="1384906" cy="369332"/>
          </a:xfrm>
          <a:prstGeom prst="rect">
            <a:avLst/>
          </a:prstGeom>
          <a:noFill/>
        </p:spPr>
        <p:txBody>
          <a:bodyPr wrap="square" rtlCol="0">
            <a:spAutoFit/>
          </a:bodyPr>
          <a:lstStyle/>
          <a:p>
            <a:r>
              <a:rPr lang="en-US">
                <a:solidFill>
                  <a:srgbClr val="091F2C"/>
                </a:solidFill>
              </a:rPr>
              <a:t>10.10.2.0/24</a:t>
            </a:r>
          </a:p>
        </p:txBody>
      </p:sp>
      <p:sp>
        <p:nvSpPr>
          <p:cNvPr id="22" name="TextBox 21">
            <a:extLst>
              <a:ext uri="{FF2B5EF4-FFF2-40B4-BE49-F238E27FC236}">
                <a16:creationId xmlns:a16="http://schemas.microsoft.com/office/drawing/2014/main" id="{F49884A8-9E4E-4E53-430E-AAE36B94E92B}"/>
              </a:ext>
            </a:extLst>
          </p:cNvPr>
          <p:cNvSpPr txBox="1"/>
          <p:nvPr/>
        </p:nvSpPr>
        <p:spPr>
          <a:xfrm>
            <a:off x="3820508" y="4033877"/>
            <a:ext cx="1457117" cy="369332"/>
          </a:xfrm>
          <a:prstGeom prst="rect">
            <a:avLst/>
          </a:prstGeom>
          <a:noFill/>
        </p:spPr>
        <p:txBody>
          <a:bodyPr wrap="square" rtlCol="0">
            <a:spAutoFit/>
          </a:bodyPr>
          <a:lstStyle/>
          <a:p>
            <a:r>
              <a:rPr lang="en-US">
                <a:solidFill>
                  <a:srgbClr val="091F2C"/>
                </a:solidFill>
              </a:rPr>
              <a:t>10.10.2.16</a:t>
            </a:r>
          </a:p>
        </p:txBody>
      </p:sp>
      <p:sp>
        <p:nvSpPr>
          <p:cNvPr id="23" name="TextBox 22">
            <a:extLst>
              <a:ext uri="{FF2B5EF4-FFF2-40B4-BE49-F238E27FC236}">
                <a16:creationId xmlns:a16="http://schemas.microsoft.com/office/drawing/2014/main" id="{9E3F30C6-A6C1-0B28-752B-39D1A6318D3E}"/>
              </a:ext>
            </a:extLst>
          </p:cNvPr>
          <p:cNvSpPr txBox="1"/>
          <p:nvPr/>
        </p:nvSpPr>
        <p:spPr>
          <a:xfrm>
            <a:off x="148799" y="4430622"/>
            <a:ext cx="1400988" cy="369332"/>
          </a:xfrm>
          <a:prstGeom prst="rect">
            <a:avLst/>
          </a:prstGeom>
          <a:noFill/>
        </p:spPr>
        <p:txBody>
          <a:bodyPr wrap="square" rtlCol="0">
            <a:spAutoFit/>
          </a:bodyPr>
          <a:lstStyle/>
          <a:p>
            <a:r>
              <a:rPr lang="en-US">
                <a:solidFill>
                  <a:srgbClr val="091F2C"/>
                </a:solidFill>
              </a:rPr>
              <a:t>10.10.3.0/24</a:t>
            </a:r>
          </a:p>
        </p:txBody>
      </p:sp>
      <p:sp>
        <p:nvSpPr>
          <p:cNvPr id="24" name="TextBox 23">
            <a:extLst>
              <a:ext uri="{FF2B5EF4-FFF2-40B4-BE49-F238E27FC236}">
                <a16:creationId xmlns:a16="http://schemas.microsoft.com/office/drawing/2014/main" id="{BA715F1D-B3AA-02CA-AC65-3BF48A4E40A9}"/>
              </a:ext>
            </a:extLst>
          </p:cNvPr>
          <p:cNvSpPr txBox="1"/>
          <p:nvPr/>
        </p:nvSpPr>
        <p:spPr>
          <a:xfrm>
            <a:off x="8517467" y="3503910"/>
            <a:ext cx="5162587" cy="369332"/>
          </a:xfrm>
          <a:prstGeom prst="rect">
            <a:avLst/>
          </a:prstGeom>
          <a:noFill/>
        </p:spPr>
        <p:txBody>
          <a:bodyPr wrap="square" rtlCol="0">
            <a:spAutoFit/>
          </a:bodyPr>
          <a:lstStyle/>
          <a:p>
            <a:r>
              <a:rPr lang="en-US" dirty="0">
                <a:solidFill>
                  <a:srgbClr val="091F2C"/>
                </a:solidFill>
              </a:rPr>
              <a:t>sqlserver1.database.windows.net</a:t>
            </a:r>
          </a:p>
        </p:txBody>
      </p:sp>
      <p:sp>
        <p:nvSpPr>
          <p:cNvPr id="25" name="TextBox 24">
            <a:extLst>
              <a:ext uri="{FF2B5EF4-FFF2-40B4-BE49-F238E27FC236}">
                <a16:creationId xmlns:a16="http://schemas.microsoft.com/office/drawing/2014/main" id="{238E36C5-AAD2-6461-B8ED-7354C52112F5}"/>
              </a:ext>
            </a:extLst>
          </p:cNvPr>
          <p:cNvSpPr txBox="1"/>
          <p:nvPr/>
        </p:nvSpPr>
        <p:spPr>
          <a:xfrm>
            <a:off x="8331200" y="5638891"/>
            <a:ext cx="5162587" cy="369332"/>
          </a:xfrm>
          <a:prstGeom prst="rect">
            <a:avLst/>
          </a:prstGeom>
          <a:noFill/>
        </p:spPr>
        <p:txBody>
          <a:bodyPr wrap="square" rtlCol="0">
            <a:spAutoFit/>
          </a:bodyPr>
          <a:lstStyle/>
          <a:p>
            <a:r>
              <a:rPr lang="en-US">
                <a:solidFill>
                  <a:srgbClr val="091F2C"/>
                </a:solidFill>
              </a:rPr>
              <a:t>A Record:  sqlserver1 = 10.10.2.16</a:t>
            </a:r>
          </a:p>
        </p:txBody>
      </p:sp>
      <p:sp>
        <p:nvSpPr>
          <p:cNvPr id="26" name="TextBox 25">
            <a:extLst>
              <a:ext uri="{FF2B5EF4-FFF2-40B4-BE49-F238E27FC236}">
                <a16:creationId xmlns:a16="http://schemas.microsoft.com/office/drawing/2014/main" id="{1B7D129B-C754-0796-6111-EAA78C6A6696}"/>
              </a:ext>
            </a:extLst>
          </p:cNvPr>
          <p:cNvSpPr txBox="1"/>
          <p:nvPr/>
        </p:nvSpPr>
        <p:spPr>
          <a:xfrm>
            <a:off x="8517467" y="4906524"/>
            <a:ext cx="5162587" cy="369332"/>
          </a:xfrm>
          <a:prstGeom prst="rect">
            <a:avLst/>
          </a:prstGeom>
          <a:noFill/>
        </p:spPr>
        <p:txBody>
          <a:bodyPr wrap="square" rtlCol="0">
            <a:spAutoFit/>
          </a:bodyPr>
          <a:lstStyle/>
          <a:p>
            <a:r>
              <a:rPr lang="en-US">
                <a:solidFill>
                  <a:srgbClr val="091F2C"/>
                </a:solidFill>
              </a:rPr>
              <a:t>privatelink.database.windows.net</a:t>
            </a:r>
          </a:p>
        </p:txBody>
      </p:sp>
      <p:sp>
        <p:nvSpPr>
          <p:cNvPr id="27" name="TextBox 26">
            <a:extLst>
              <a:ext uri="{FF2B5EF4-FFF2-40B4-BE49-F238E27FC236}">
                <a16:creationId xmlns:a16="http://schemas.microsoft.com/office/drawing/2014/main" id="{09FE83A5-C7FC-BDA3-386F-C1E037FDD1C0}"/>
              </a:ext>
            </a:extLst>
          </p:cNvPr>
          <p:cNvSpPr txBox="1"/>
          <p:nvPr/>
        </p:nvSpPr>
        <p:spPr>
          <a:xfrm>
            <a:off x="5909733" y="2768395"/>
            <a:ext cx="6639933" cy="369332"/>
          </a:xfrm>
          <a:prstGeom prst="rect">
            <a:avLst/>
          </a:prstGeom>
          <a:noFill/>
        </p:spPr>
        <p:txBody>
          <a:bodyPr wrap="square" rtlCol="0">
            <a:spAutoFit/>
          </a:bodyPr>
          <a:lstStyle/>
          <a:p>
            <a:r>
              <a:rPr lang="en-US" dirty="0">
                <a:solidFill>
                  <a:srgbClr val="091F2C"/>
                </a:solidFill>
              </a:rPr>
              <a:t>sqlserver1.privatelink.database.windows.net</a:t>
            </a:r>
          </a:p>
        </p:txBody>
      </p:sp>
      <p:cxnSp>
        <p:nvCxnSpPr>
          <p:cNvPr id="29" name="Straight Arrow Connector 28">
            <a:extLst>
              <a:ext uri="{FF2B5EF4-FFF2-40B4-BE49-F238E27FC236}">
                <a16:creationId xmlns:a16="http://schemas.microsoft.com/office/drawing/2014/main" id="{B667FDC3-2D78-32EB-E2E3-524F1E63A54C}"/>
              </a:ext>
            </a:extLst>
          </p:cNvPr>
          <p:cNvCxnSpPr>
            <a:cxnSpLocks/>
          </p:cNvCxnSpPr>
          <p:nvPr/>
        </p:nvCxnSpPr>
        <p:spPr>
          <a:xfrm flipH="1">
            <a:off x="6519332" y="3716867"/>
            <a:ext cx="13451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23530F7-FDC4-ABDE-84A4-D1D384436444}"/>
              </a:ext>
            </a:extLst>
          </p:cNvPr>
          <p:cNvCxnSpPr>
            <a:endCxn id="4" idx="3"/>
          </p:cNvCxnSpPr>
          <p:nvPr/>
        </p:nvCxnSpPr>
        <p:spPr>
          <a:xfrm flipH="1">
            <a:off x="4653738" y="3678767"/>
            <a:ext cx="1345103" cy="322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1ADAA895-2642-8FB4-20BB-D72EBA49EC57}"/>
              </a:ext>
            </a:extLst>
          </p:cNvPr>
          <p:cNvCxnSpPr>
            <a:stCxn id="4" idx="1"/>
          </p:cNvCxnSpPr>
          <p:nvPr/>
        </p:nvCxnSpPr>
        <p:spPr>
          <a:xfrm rot="10800000">
            <a:off x="2283110" y="3687234"/>
            <a:ext cx="1806536" cy="2381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E2B783C5-E135-1BFC-1398-32529636BE92}"/>
              </a:ext>
            </a:extLst>
          </p:cNvPr>
          <p:cNvCxnSpPr>
            <a:cxnSpLocks/>
            <a:endCxn id="18" idx="1"/>
          </p:cNvCxnSpPr>
          <p:nvPr/>
        </p:nvCxnSpPr>
        <p:spPr>
          <a:xfrm>
            <a:off x="6273800" y="3970622"/>
            <a:ext cx="1590635" cy="1120568"/>
          </a:xfrm>
          <a:prstGeom prst="bentConnector3">
            <a:avLst>
              <a:gd name="adj1" fmla="val -35"/>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003930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9DB30-AC48-54CC-5913-D2BDBAE466FC}"/>
              </a:ext>
            </a:extLst>
          </p:cNvPr>
          <p:cNvSpPr>
            <a:spLocks noGrp="1"/>
          </p:cNvSpPr>
          <p:nvPr>
            <p:ph type="title"/>
          </p:nvPr>
        </p:nvSpPr>
        <p:spPr/>
        <p:txBody>
          <a:bodyPr/>
          <a:lstStyle/>
          <a:p>
            <a:r>
              <a:rPr lang="en-US"/>
              <a:t>Private Endpoints (How they work)</a:t>
            </a:r>
          </a:p>
        </p:txBody>
      </p:sp>
      <p:sp>
        <p:nvSpPr>
          <p:cNvPr id="4" name="Rectangle: Rounded Corners 3">
            <a:extLst>
              <a:ext uri="{FF2B5EF4-FFF2-40B4-BE49-F238E27FC236}">
                <a16:creationId xmlns:a16="http://schemas.microsoft.com/office/drawing/2014/main" id="{A13F2EE5-1553-B37B-BDE1-007B7A488B11}"/>
              </a:ext>
            </a:extLst>
          </p:cNvPr>
          <p:cNvSpPr/>
          <p:nvPr/>
        </p:nvSpPr>
        <p:spPr>
          <a:xfrm>
            <a:off x="769628" y="1815647"/>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ser looks for sqlserver1.database.windows.net</a:t>
            </a:r>
          </a:p>
        </p:txBody>
      </p:sp>
      <p:sp>
        <p:nvSpPr>
          <p:cNvPr id="5" name="Rectangle: Rounded Corners 4">
            <a:extLst>
              <a:ext uri="{FF2B5EF4-FFF2-40B4-BE49-F238E27FC236}">
                <a16:creationId xmlns:a16="http://schemas.microsoft.com/office/drawing/2014/main" id="{402E353B-5D9D-2A99-456D-C4F61642098D}"/>
              </a:ext>
            </a:extLst>
          </p:cNvPr>
          <p:cNvSpPr/>
          <p:nvPr/>
        </p:nvSpPr>
        <p:spPr>
          <a:xfrm>
            <a:off x="9443711" y="2743689"/>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zure Global DNS</a:t>
            </a:r>
          </a:p>
        </p:txBody>
      </p:sp>
      <p:sp>
        <p:nvSpPr>
          <p:cNvPr id="8" name="TextBox 7">
            <a:extLst>
              <a:ext uri="{FF2B5EF4-FFF2-40B4-BE49-F238E27FC236}">
                <a16:creationId xmlns:a16="http://schemas.microsoft.com/office/drawing/2014/main" id="{08A1C8B0-FF16-899E-5BA2-7083EFCD87E0}"/>
              </a:ext>
            </a:extLst>
          </p:cNvPr>
          <p:cNvSpPr txBox="1"/>
          <p:nvPr/>
        </p:nvSpPr>
        <p:spPr>
          <a:xfrm>
            <a:off x="7111840" y="1867722"/>
            <a:ext cx="3317639" cy="646331"/>
          </a:xfrm>
          <a:prstGeom prst="rect">
            <a:avLst/>
          </a:prstGeom>
          <a:noFill/>
        </p:spPr>
        <p:txBody>
          <a:bodyPr wrap="none" rtlCol="0">
            <a:spAutoFit/>
          </a:bodyPr>
          <a:lstStyle/>
          <a:p>
            <a:r>
              <a:rPr lang="en-US">
                <a:solidFill>
                  <a:schemeClr val="bg1"/>
                </a:solidFill>
              </a:rPr>
              <a:t>User queries DNS for </a:t>
            </a:r>
          </a:p>
          <a:p>
            <a:r>
              <a:rPr lang="en-US">
                <a:solidFill>
                  <a:schemeClr val="bg1"/>
                </a:solidFill>
              </a:rPr>
              <a:t>sqlserver1.database.windows.net</a:t>
            </a:r>
          </a:p>
        </p:txBody>
      </p:sp>
      <p:sp>
        <p:nvSpPr>
          <p:cNvPr id="9" name="Rectangle: Rounded Corners 8">
            <a:extLst>
              <a:ext uri="{FF2B5EF4-FFF2-40B4-BE49-F238E27FC236}">
                <a16:creationId xmlns:a16="http://schemas.microsoft.com/office/drawing/2014/main" id="{B5D1595D-A983-F592-BACE-34CFD868F54C}"/>
              </a:ext>
            </a:extLst>
          </p:cNvPr>
          <p:cNvSpPr/>
          <p:nvPr/>
        </p:nvSpPr>
        <p:spPr>
          <a:xfrm>
            <a:off x="9443711" y="3673737"/>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Private Link Configuration Found</a:t>
            </a:r>
          </a:p>
        </p:txBody>
      </p:sp>
      <p:sp>
        <p:nvSpPr>
          <p:cNvPr id="11" name="Rectangle: Rounded Corners 10">
            <a:extLst>
              <a:ext uri="{FF2B5EF4-FFF2-40B4-BE49-F238E27FC236}">
                <a16:creationId xmlns:a16="http://schemas.microsoft.com/office/drawing/2014/main" id="{559BBBFD-9729-8274-CDE9-745902404785}"/>
              </a:ext>
            </a:extLst>
          </p:cNvPr>
          <p:cNvSpPr/>
          <p:nvPr/>
        </p:nvSpPr>
        <p:spPr>
          <a:xfrm>
            <a:off x="769628" y="3673737"/>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lias Returned</a:t>
            </a:r>
          </a:p>
        </p:txBody>
      </p:sp>
      <p:cxnSp>
        <p:nvCxnSpPr>
          <p:cNvPr id="13" name="Straight Arrow Connector 12">
            <a:extLst>
              <a:ext uri="{FF2B5EF4-FFF2-40B4-BE49-F238E27FC236}">
                <a16:creationId xmlns:a16="http://schemas.microsoft.com/office/drawing/2014/main" id="{E41E269F-619C-7277-82D8-A65039B838B7}"/>
              </a:ext>
            </a:extLst>
          </p:cNvPr>
          <p:cNvCxnSpPr>
            <a:stCxn id="9" idx="1"/>
            <a:endCxn id="11" idx="3"/>
          </p:cNvCxnSpPr>
          <p:nvPr/>
        </p:nvCxnSpPr>
        <p:spPr>
          <a:xfrm flipH="1">
            <a:off x="2741164" y="4135397"/>
            <a:ext cx="67025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8EF9B1A-9C11-78A2-979D-FB3F54EFB0AE}"/>
              </a:ext>
            </a:extLst>
          </p:cNvPr>
          <p:cNvSpPr txBox="1"/>
          <p:nvPr/>
        </p:nvSpPr>
        <p:spPr>
          <a:xfrm>
            <a:off x="4336572" y="3779569"/>
            <a:ext cx="3337004" cy="646331"/>
          </a:xfrm>
          <a:prstGeom prst="rect">
            <a:avLst/>
          </a:prstGeom>
          <a:noFill/>
        </p:spPr>
        <p:txBody>
          <a:bodyPr wrap="none" rtlCol="0">
            <a:spAutoFit/>
          </a:bodyPr>
          <a:lstStyle/>
          <a:p>
            <a:r>
              <a:rPr lang="en-US">
                <a:solidFill>
                  <a:schemeClr val="bg1"/>
                </a:solidFill>
              </a:rPr>
              <a:t>Global DNS Returns Alias for </a:t>
            </a:r>
          </a:p>
          <a:p>
            <a:r>
              <a:rPr lang="en-US">
                <a:solidFill>
                  <a:schemeClr val="bg1"/>
                </a:solidFill>
              </a:rPr>
              <a:t>privatelink.database.windows.net</a:t>
            </a:r>
          </a:p>
        </p:txBody>
      </p:sp>
      <p:sp>
        <p:nvSpPr>
          <p:cNvPr id="15" name="Rectangle: Rounded Corners 14">
            <a:extLst>
              <a:ext uri="{FF2B5EF4-FFF2-40B4-BE49-F238E27FC236}">
                <a16:creationId xmlns:a16="http://schemas.microsoft.com/office/drawing/2014/main" id="{90FDA35B-B80B-AD00-6DB5-FC4D6B6D2D23}"/>
              </a:ext>
            </a:extLst>
          </p:cNvPr>
          <p:cNvSpPr/>
          <p:nvPr/>
        </p:nvSpPr>
        <p:spPr>
          <a:xfrm>
            <a:off x="769628" y="4592143"/>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 DNS Query for Alias</a:t>
            </a:r>
          </a:p>
        </p:txBody>
      </p:sp>
      <p:sp>
        <p:nvSpPr>
          <p:cNvPr id="16" name="Rectangle: Rounded Corners 15">
            <a:extLst>
              <a:ext uri="{FF2B5EF4-FFF2-40B4-BE49-F238E27FC236}">
                <a16:creationId xmlns:a16="http://schemas.microsoft.com/office/drawing/2014/main" id="{0ED07B3F-CF40-FA9A-AB02-F83EC19C2732}"/>
              </a:ext>
            </a:extLst>
          </p:cNvPr>
          <p:cNvSpPr/>
          <p:nvPr/>
        </p:nvSpPr>
        <p:spPr>
          <a:xfrm>
            <a:off x="5019306" y="4592143"/>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sers Local DNS</a:t>
            </a:r>
          </a:p>
        </p:txBody>
      </p:sp>
      <p:sp>
        <p:nvSpPr>
          <p:cNvPr id="17" name="Rectangle: Rounded Corners 16">
            <a:extLst>
              <a:ext uri="{FF2B5EF4-FFF2-40B4-BE49-F238E27FC236}">
                <a16:creationId xmlns:a16="http://schemas.microsoft.com/office/drawing/2014/main" id="{0FB51FDD-956A-143D-4EAA-F6CE378C327D}"/>
              </a:ext>
            </a:extLst>
          </p:cNvPr>
          <p:cNvSpPr/>
          <p:nvPr/>
        </p:nvSpPr>
        <p:spPr>
          <a:xfrm>
            <a:off x="5019306" y="5515689"/>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err="1"/>
              <a:t>Fwd</a:t>
            </a:r>
            <a:r>
              <a:rPr lang="en-US"/>
              <a:t> Lookup Zone exists</a:t>
            </a:r>
          </a:p>
        </p:txBody>
      </p:sp>
      <p:sp>
        <p:nvSpPr>
          <p:cNvPr id="18" name="Rectangle: Rounded Corners 17">
            <a:extLst>
              <a:ext uri="{FF2B5EF4-FFF2-40B4-BE49-F238E27FC236}">
                <a16:creationId xmlns:a16="http://schemas.microsoft.com/office/drawing/2014/main" id="{E18F35BC-6B2C-714E-AA98-085D3DEE86F5}"/>
              </a:ext>
            </a:extLst>
          </p:cNvPr>
          <p:cNvSpPr/>
          <p:nvPr/>
        </p:nvSpPr>
        <p:spPr>
          <a:xfrm>
            <a:off x="769628" y="5510549"/>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10.10.2.16</a:t>
            </a:r>
          </a:p>
        </p:txBody>
      </p:sp>
      <p:cxnSp>
        <p:nvCxnSpPr>
          <p:cNvPr id="20" name="Straight Arrow Connector 19">
            <a:extLst>
              <a:ext uri="{FF2B5EF4-FFF2-40B4-BE49-F238E27FC236}">
                <a16:creationId xmlns:a16="http://schemas.microsoft.com/office/drawing/2014/main" id="{5D4E7C2E-D96A-EECB-1C27-D24F7780048A}"/>
              </a:ext>
            </a:extLst>
          </p:cNvPr>
          <p:cNvCxnSpPr>
            <a:stCxn id="15" idx="3"/>
            <a:endCxn id="16" idx="1"/>
          </p:cNvCxnSpPr>
          <p:nvPr/>
        </p:nvCxnSpPr>
        <p:spPr>
          <a:xfrm>
            <a:off x="2741164" y="5053803"/>
            <a:ext cx="227814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68AF2BC-A198-A942-F85B-88359477999B}"/>
              </a:ext>
            </a:extLst>
          </p:cNvPr>
          <p:cNvCxnSpPr>
            <a:stCxn id="17" idx="1"/>
            <a:endCxn id="18" idx="3"/>
          </p:cNvCxnSpPr>
          <p:nvPr/>
        </p:nvCxnSpPr>
        <p:spPr>
          <a:xfrm flipH="1" flipV="1">
            <a:off x="2741164" y="5972209"/>
            <a:ext cx="2278142" cy="51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F159A63C-B50E-CD34-C786-E2A2DA911976}"/>
              </a:ext>
            </a:extLst>
          </p:cNvPr>
          <p:cNvSpPr/>
          <p:nvPr/>
        </p:nvSpPr>
        <p:spPr>
          <a:xfrm>
            <a:off x="5019306" y="1815647"/>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sers Local DNS</a:t>
            </a:r>
          </a:p>
        </p:txBody>
      </p:sp>
      <p:cxnSp>
        <p:nvCxnSpPr>
          <p:cNvPr id="25" name="Straight Arrow Connector 24">
            <a:extLst>
              <a:ext uri="{FF2B5EF4-FFF2-40B4-BE49-F238E27FC236}">
                <a16:creationId xmlns:a16="http://schemas.microsoft.com/office/drawing/2014/main" id="{B52F2755-893F-6F9A-23FB-E03AE0797DE7}"/>
              </a:ext>
            </a:extLst>
          </p:cNvPr>
          <p:cNvCxnSpPr>
            <a:stCxn id="4" idx="3"/>
            <a:endCxn id="23" idx="1"/>
          </p:cNvCxnSpPr>
          <p:nvPr/>
        </p:nvCxnSpPr>
        <p:spPr>
          <a:xfrm>
            <a:off x="2741164" y="2277307"/>
            <a:ext cx="227814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9E0D93B4-7562-209E-82E5-42DF62B9C2D6}"/>
              </a:ext>
            </a:extLst>
          </p:cNvPr>
          <p:cNvSpPr/>
          <p:nvPr/>
        </p:nvSpPr>
        <p:spPr>
          <a:xfrm>
            <a:off x="5019306" y="2743689"/>
            <a:ext cx="1971536" cy="9233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o </a:t>
            </a:r>
            <a:r>
              <a:rPr lang="en-US" err="1"/>
              <a:t>Fwd</a:t>
            </a:r>
            <a:r>
              <a:rPr lang="en-US"/>
              <a:t> Lookup Zone</a:t>
            </a:r>
          </a:p>
        </p:txBody>
      </p:sp>
      <p:cxnSp>
        <p:nvCxnSpPr>
          <p:cNvPr id="28" name="Straight Arrow Connector 27">
            <a:extLst>
              <a:ext uri="{FF2B5EF4-FFF2-40B4-BE49-F238E27FC236}">
                <a16:creationId xmlns:a16="http://schemas.microsoft.com/office/drawing/2014/main" id="{5F0B45D1-A622-C0C6-8C43-2215C9622811}"/>
              </a:ext>
            </a:extLst>
          </p:cNvPr>
          <p:cNvCxnSpPr>
            <a:stCxn id="26" idx="3"/>
            <a:endCxn id="5" idx="1"/>
          </p:cNvCxnSpPr>
          <p:nvPr/>
        </p:nvCxnSpPr>
        <p:spPr>
          <a:xfrm>
            <a:off x="6990842" y="3205349"/>
            <a:ext cx="24528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71ECA76E-8D81-4FAF-4390-037BD3FF6983}"/>
              </a:ext>
            </a:extLst>
          </p:cNvPr>
          <p:cNvSpPr txBox="1"/>
          <p:nvPr/>
        </p:nvSpPr>
        <p:spPr>
          <a:xfrm>
            <a:off x="769628" y="3074769"/>
            <a:ext cx="3453894" cy="369332"/>
          </a:xfrm>
          <a:prstGeom prst="rect">
            <a:avLst/>
          </a:prstGeom>
          <a:noFill/>
        </p:spPr>
        <p:txBody>
          <a:bodyPr wrap="none" rtlCol="0">
            <a:spAutoFit/>
          </a:bodyPr>
          <a:lstStyle/>
          <a:p>
            <a:r>
              <a:rPr lang="en-US">
                <a:solidFill>
                  <a:schemeClr val="bg1"/>
                </a:solidFill>
              </a:rPr>
              <a:t>No Zone for database.windows.net</a:t>
            </a:r>
          </a:p>
        </p:txBody>
      </p:sp>
      <p:sp>
        <p:nvSpPr>
          <p:cNvPr id="31" name="TextBox 30">
            <a:extLst>
              <a:ext uri="{FF2B5EF4-FFF2-40B4-BE49-F238E27FC236}">
                <a16:creationId xmlns:a16="http://schemas.microsoft.com/office/drawing/2014/main" id="{86C630F5-57A7-6872-532F-4E43F29DB768}"/>
              </a:ext>
            </a:extLst>
          </p:cNvPr>
          <p:cNvSpPr txBox="1"/>
          <p:nvPr/>
        </p:nvSpPr>
        <p:spPr>
          <a:xfrm>
            <a:off x="7111840" y="4707611"/>
            <a:ext cx="4425314" cy="646331"/>
          </a:xfrm>
          <a:prstGeom prst="rect">
            <a:avLst/>
          </a:prstGeom>
          <a:noFill/>
        </p:spPr>
        <p:txBody>
          <a:bodyPr wrap="none" rtlCol="0">
            <a:spAutoFit/>
          </a:bodyPr>
          <a:lstStyle/>
          <a:p>
            <a:r>
              <a:rPr lang="en-US">
                <a:solidFill>
                  <a:schemeClr val="bg1"/>
                </a:solidFill>
              </a:rPr>
              <a:t>User queries DNS for </a:t>
            </a:r>
          </a:p>
          <a:p>
            <a:r>
              <a:rPr lang="en-US">
                <a:solidFill>
                  <a:schemeClr val="bg1"/>
                </a:solidFill>
              </a:rPr>
              <a:t>sq1server1.privatelink.database.windows.net</a:t>
            </a:r>
          </a:p>
        </p:txBody>
      </p:sp>
    </p:spTree>
    <p:extLst>
      <p:ext uri="{BB962C8B-B14F-4D97-AF65-F5344CB8AC3E}">
        <p14:creationId xmlns:p14="http://schemas.microsoft.com/office/powerpoint/2010/main" val="38831456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p:bldP spid="9" grpId="0" animBg="1"/>
      <p:bldP spid="11" grpId="0" animBg="1"/>
      <p:bldP spid="14" grpId="0"/>
      <p:bldP spid="15" grpId="0" animBg="1"/>
      <p:bldP spid="16" grpId="0" animBg="1"/>
      <p:bldP spid="17" grpId="0" animBg="1"/>
      <p:bldP spid="18" grpId="0" animBg="1"/>
      <p:bldP spid="23" grpId="0" animBg="1"/>
      <p:bldP spid="26" grpId="0" animBg="1"/>
      <p:bldP spid="29" grpId="0"/>
      <p:bldP spid="3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B299AA-BAE6-9970-9AE1-0795DCB9640F}"/>
              </a:ext>
            </a:extLst>
          </p:cNvPr>
          <p:cNvSpPr>
            <a:spLocks noGrp="1"/>
          </p:cNvSpPr>
          <p:nvPr>
            <p:ph type="title"/>
          </p:nvPr>
        </p:nvSpPr>
        <p:spPr>
          <a:xfrm>
            <a:off x="585216" y="2977823"/>
            <a:ext cx="9144000" cy="553998"/>
          </a:xfrm>
        </p:spPr>
        <p:txBody>
          <a:bodyPr wrap="square" anchor="b">
            <a:normAutofit/>
          </a:bodyPr>
          <a:lstStyle/>
          <a:p>
            <a:pPr>
              <a:lnSpc>
                <a:spcPct val="90000"/>
              </a:lnSpc>
            </a:pPr>
            <a:r>
              <a:rPr lang="en-US"/>
              <a:t>Azure Networks</a:t>
            </a:r>
          </a:p>
        </p:txBody>
      </p:sp>
      <p:sp>
        <p:nvSpPr>
          <p:cNvPr id="4" name="Text Placeholder 3">
            <a:extLst>
              <a:ext uri="{FF2B5EF4-FFF2-40B4-BE49-F238E27FC236}">
                <a16:creationId xmlns:a16="http://schemas.microsoft.com/office/drawing/2014/main" id="{ABBAE6A8-A214-7F93-DBB4-9DA69B6C5E42}"/>
              </a:ext>
            </a:extLst>
          </p:cNvPr>
          <p:cNvSpPr>
            <a:spLocks noGrp="1"/>
          </p:cNvSpPr>
          <p:nvPr>
            <p:ph type="body" sz="quarter" idx="12"/>
          </p:nvPr>
        </p:nvSpPr>
        <p:spPr>
          <a:xfrm>
            <a:off x="585216" y="3977319"/>
            <a:ext cx="9144000" cy="246221"/>
          </a:xfrm>
        </p:spPr>
        <p:txBody>
          <a:bodyPr wrap="square">
            <a:normAutofit/>
          </a:bodyPr>
          <a:lstStyle/>
          <a:p>
            <a:pPr>
              <a:spcAft>
                <a:spcPts val="600"/>
              </a:spcAft>
            </a:pPr>
            <a:r>
              <a:rPr lang="en-US"/>
              <a:t>Now we can blame our DNS problems on Microsoft AND the network team</a:t>
            </a:r>
          </a:p>
        </p:txBody>
      </p:sp>
    </p:spTree>
    <p:extLst>
      <p:ext uri="{BB962C8B-B14F-4D97-AF65-F5344CB8AC3E}">
        <p14:creationId xmlns:p14="http://schemas.microsoft.com/office/powerpoint/2010/main" val="406259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9BB4-BA6D-423B-9B7A-AE3CBF7E2A33}"/>
              </a:ext>
            </a:extLst>
          </p:cNvPr>
          <p:cNvSpPr>
            <a:spLocks noGrp="1"/>
          </p:cNvSpPr>
          <p:nvPr>
            <p:ph type="title" idx="4294967295"/>
          </p:nvPr>
        </p:nvSpPr>
        <p:spPr>
          <a:xfrm>
            <a:off x="538163" y="355600"/>
            <a:ext cx="11653837" cy="898525"/>
          </a:xfrm>
        </p:spPr>
        <p:txBody>
          <a:bodyPr/>
          <a:lstStyle/>
          <a:p>
            <a:r>
              <a:rPr lang="en-US">
                <a:solidFill>
                  <a:srgbClr val="737373"/>
                </a:solidFill>
                <a:latin typeface="Segoe UI Light" panose="020B0502040204020203" pitchFamily="34" charset="0"/>
                <a:cs typeface="Segoe UI Light" panose="020B0502040204020203" pitchFamily="34" charset="0"/>
              </a:rPr>
              <a:t>Compute options for all types of apps</a:t>
            </a:r>
          </a:p>
        </p:txBody>
      </p:sp>
      <p:grpSp>
        <p:nvGrpSpPr>
          <p:cNvPr id="5" name="Group 4">
            <a:extLst>
              <a:ext uri="{FF2B5EF4-FFF2-40B4-BE49-F238E27FC236}">
                <a16:creationId xmlns:a16="http://schemas.microsoft.com/office/drawing/2014/main" id="{BD715E5E-2E69-431B-A2AC-E72C30DC5A17}"/>
              </a:ext>
            </a:extLst>
          </p:cNvPr>
          <p:cNvGrpSpPr/>
          <p:nvPr/>
        </p:nvGrpSpPr>
        <p:grpSpPr>
          <a:xfrm>
            <a:off x="398487" y="1771107"/>
            <a:ext cx="11395026" cy="4394702"/>
            <a:chOff x="357957" y="2184390"/>
            <a:chExt cx="11396642" cy="4395325"/>
          </a:xfrm>
        </p:grpSpPr>
        <p:grpSp>
          <p:nvGrpSpPr>
            <p:cNvPr id="67" name="Group 66">
              <a:extLst>
                <a:ext uri="{FF2B5EF4-FFF2-40B4-BE49-F238E27FC236}">
                  <a16:creationId xmlns:a16="http://schemas.microsoft.com/office/drawing/2014/main" id="{0AC73AD0-FD95-44E5-A746-FF09FFD8DCF9}"/>
                </a:ext>
              </a:extLst>
            </p:cNvPr>
            <p:cNvGrpSpPr/>
            <p:nvPr/>
          </p:nvGrpSpPr>
          <p:grpSpPr>
            <a:xfrm>
              <a:off x="2679010" y="2186848"/>
              <a:ext cx="1542705" cy="1175755"/>
              <a:chOff x="3475683" y="1763123"/>
              <a:chExt cx="1573639" cy="1199332"/>
            </a:xfrm>
          </p:grpSpPr>
          <p:grpSp>
            <p:nvGrpSpPr>
              <p:cNvPr id="64" name="Group 63">
                <a:extLst>
                  <a:ext uri="{FF2B5EF4-FFF2-40B4-BE49-F238E27FC236}">
                    <a16:creationId xmlns:a16="http://schemas.microsoft.com/office/drawing/2014/main" id="{D904902D-B27A-4D20-A3B3-3D6586CE5CA0}"/>
                  </a:ext>
                </a:extLst>
              </p:cNvPr>
              <p:cNvGrpSpPr/>
              <p:nvPr/>
            </p:nvGrpSpPr>
            <p:grpSpPr>
              <a:xfrm>
                <a:off x="4026292" y="2332372"/>
                <a:ext cx="679598" cy="520840"/>
                <a:chOff x="3489019" y="2410376"/>
                <a:chExt cx="932004" cy="714281"/>
              </a:xfrm>
            </p:grpSpPr>
            <p:sp>
              <p:nvSpPr>
                <p:cNvPr id="15" name="monitor">
                  <a:extLst>
                    <a:ext uri="{FF2B5EF4-FFF2-40B4-BE49-F238E27FC236}">
                      <a16:creationId xmlns:a16="http://schemas.microsoft.com/office/drawing/2014/main" id="{A383DF45-0E1E-43CD-BA80-1E2FFE98AEF8}"/>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371">
                    <a:gradFill>
                      <a:gsLst>
                        <a:gs pos="0">
                          <a:srgbClr val="505050"/>
                        </a:gs>
                        <a:gs pos="100000">
                          <a:srgbClr val="505050"/>
                        </a:gs>
                      </a:gsLst>
                    </a:gradFill>
                    <a:latin typeface="Segoe UI Semilight"/>
                  </a:endParaRPr>
                </a:p>
              </p:txBody>
            </p:sp>
            <p:sp>
              <p:nvSpPr>
                <p:cNvPr id="16" name="TextBox 15">
                  <a:extLst>
                    <a:ext uri="{FF2B5EF4-FFF2-40B4-BE49-F238E27FC236}">
                      <a16:creationId xmlns:a16="http://schemas.microsoft.com/office/drawing/2014/main" id="{3148D175-EA1E-4B74-BD70-8EC4BD935E14}"/>
                    </a:ext>
                  </a:extLst>
                </p:cNvPr>
                <p:cNvSpPr txBox="1"/>
                <p:nvPr/>
              </p:nvSpPr>
              <p:spPr>
                <a:xfrm>
                  <a:off x="3888571" y="2554739"/>
                  <a:ext cx="170450" cy="303670"/>
                </a:xfrm>
                <a:prstGeom prst="rect">
                  <a:avLst/>
                </a:prstGeom>
                <a:noFill/>
              </p:spPr>
              <p:txBody>
                <a:bodyPr wrap="none" lIns="0" tIns="0" rIns="0" bIns="0" rtlCol="0">
                  <a:spAutoFit/>
                </a:bodyPr>
                <a:lstStyle/>
                <a:p>
                  <a:pP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B</a:t>
                  </a:r>
                </a:p>
              </p:txBody>
            </p:sp>
          </p:grpSp>
          <p:sp>
            <p:nvSpPr>
              <p:cNvPr id="102" name="Rectangle 101">
                <a:extLst>
                  <a:ext uri="{FF2B5EF4-FFF2-40B4-BE49-F238E27FC236}">
                    <a16:creationId xmlns:a16="http://schemas.microsoft.com/office/drawing/2014/main" id="{6740A7D8-FBC3-4CA4-A5DD-E7931BACAF04}"/>
                  </a:ext>
                </a:extLst>
              </p:cNvPr>
              <p:cNvSpPr/>
              <p:nvPr/>
            </p:nvSpPr>
            <p:spPr bwMode="auto">
              <a:xfrm>
                <a:off x="3608738" y="1984725"/>
                <a:ext cx="144058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9F2628C5-279D-46B7-AAF2-B8C90EBAE288}"/>
                  </a:ext>
                </a:extLst>
              </p:cNvPr>
              <p:cNvSpPr/>
              <p:nvPr/>
            </p:nvSpPr>
            <p:spPr bwMode="auto">
              <a:xfrm>
                <a:off x="3898852" y="1817266"/>
                <a:ext cx="971904" cy="338416"/>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1">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Burstable</a:t>
                </a:r>
              </a:p>
            </p:txBody>
          </p:sp>
          <p:grpSp>
            <p:nvGrpSpPr>
              <p:cNvPr id="17" name="Group 16">
                <a:extLst>
                  <a:ext uri="{FF2B5EF4-FFF2-40B4-BE49-F238E27FC236}">
                    <a16:creationId xmlns:a16="http://schemas.microsoft.com/office/drawing/2014/main" id="{DC42C1AF-A841-4974-8FFB-84C1E34C4951}"/>
                  </a:ext>
                </a:extLst>
              </p:cNvPr>
              <p:cNvGrpSpPr/>
              <p:nvPr/>
            </p:nvGrpSpPr>
            <p:grpSpPr>
              <a:xfrm>
                <a:off x="3475683" y="1763123"/>
                <a:ext cx="443204" cy="443204"/>
                <a:chOff x="3433906" y="1801744"/>
                <a:chExt cx="365962" cy="365962"/>
              </a:xfrm>
            </p:grpSpPr>
            <p:sp>
              <p:nvSpPr>
                <p:cNvPr id="112" name="Oval 111">
                  <a:extLst>
                    <a:ext uri="{FF2B5EF4-FFF2-40B4-BE49-F238E27FC236}">
                      <a16:creationId xmlns:a16="http://schemas.microsoft.com/office/drawing/2014/main" id="{97F79F7F-F90F-40F0-9C47-BED48C20720D}"/>
                    </a:ext>
                  </a:extLst>
                </p:cNvPr>
                <p:cNvSpPr/>
                <p:nvPr/>
              </p:nvSpPr>
              <p:spPr bwMode="auto">
                <a:xfrm>
                  <a:off x="3433906" y="1801744"/>
                  <a:ext cx="365962" cy="365962"/>
                </a:xfrm>
                <a:prstGeom prst="ellipse">
                  <a:avLst/>
                </a:prstGeom>
                <a:solidFill>
                  <a:schemeClr val="bg1">
                    <a:lumMod val="95000"/>
                  </a:schemeClr>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MiniExpand_E93A">
                  <a:extLst>
                    <a:ext uri="{FF2B5EF4-FFF2-40B4-BE49-F238E27FC236}">
                      <a16:creationId xmlns:a16="http://schemas.microsoft.com/office/drawing/2014/main" id="{82421175-79F9-4A8A-A42E-50D57CEB0829}"/>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rgbClr val="0078D7"/>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lin ang="5400000" scaled="1"/>
                    </a:gradFill>
                    <a:latin typeface="Segoe UI Semilight"/>
                  </a:endParaRPr>
                </a:p>
              </p:txBody>
            </p:sp>
          </p:grpSp>
        </p:grpSp>
        <p:grpSp>
          <p:nvGrpSpPr>
            <p:cNvPr id="68" name="Group 67">
              <a:extLst>
                <a:ext uri="{FF2B5EF4-FFF2-40B4-BE49-F238E27FC236}">
                  <a16:creationId xmlns:a16="http://schemas.microsoft.com/office/drawing/2014/main" id="{E2B54E01-E4F7-4765-9416-578984E8AEDC}"/>
                </a:ext>
              </a:extLst>
            </p:cNvPr>
            <p:cNvGrpSpPr/>
            <p:nvPr/>
          </p:nvGrpSpPr>
          <p:grpSpPr>
            <a:xfrm>
              <a:off x="357958" y="2186848"/>
              <a:ext cx="2139004" cy="1174672"/>
              <a:chOff x="1126308" y="1763123"/>
              <a:chExt cx="2181896" cy="1198227"/>
            </a:xfrm>
          </p:grpSpPr>
          <p:sp>
            <p:nvSpPr>
              <p:cNvPr id="9" name="Rectangle 8">
                <a:extLst>
                  <a:ext uri="{FF2B5EF4-FFF2-40B4-BE49-F238E27FC236}">
                    <a16:creationId xmlns:a16="http://schemas.microsoft.com/office/drawing/2014/main" id="{68517F6A-6867-48EB-8AAA-A74F57CA8AC3}"/>
                  </a:ext>
                </a:extLst>
              </p:cNvPr>
              <p:cNvSpPr/>
              <p:nvPr/>
            </p:nvSpPr>
            <p:spPr bwMode="auto">
              <a:xfrm>
                <a:off x="1235575" y="1983620"/>
                <a:ext cx="207262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Rectangle 104">
                <a:extLst>
                  <a:ext uri="{FF2B5EF4-FFF2-40B4-BE49-F238E27FC236}">
                    <a16:creationId xmlns:a16="http://schemas.microsoft.com/office/drawing/2014/main" id="{940D0A4E-1357-411B-A7D6-B4C2DF7FBC99}"/>
                  </a:ext>
                </a:extLst>
              </p:cNvPr>
              <p:cNvSpPr/>
              <p:nvPr/>
            </p:nvSpPr>
            <p:spPr bwMode="auto">
              <a:xfrm>
                <a:off x="1582518" y="1800639"/>
                <a:ext cx="1032661" cy="337311"/>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1">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13" name="Group 12">
                <a:extLst>
                  <a:ext uri="{FF2B5EF4-FFF2-40B4-BE49-F238E27FC236}">
                    <a16:creationId xmlns:a16="http://schemas.microsoft.com/office/drawing/2014/main" id="{FFED0EA7-E5B4-488F-ABDE-665C844E297D}"/>
                  </a:ext>
                </a:extLst>
              </p:cNvPr>
              <p:cNvGrpSpPr/>
              <p:nvPr/>
            </p:nvGrpSpPr>
            <p:grpSpPr>
              <a:xfrm>
                <a:off x="1457286" y="2332382"/>
                <a:ext cx="679586" cy="520830"/>
                <a:chOff x="1107905" y="1985997"/>
                <a:chExt cx="865583" cy="663377"/>
              </a:xfrm>
            </p:grpSpPr>
            <p:sp>
              <p:nvSpPr>
                <p:cNvPr id="3" name="monitor">
                  <a:extLst>
                    <a:ext uri="{FF2B5EF4-FFF2-40B4-BE49-F238E27FC236}">
                      <a16:creationId xmlns:a16="http://schemas.microsoft.com/office/drawing/2014/main" id="{81FF4470-CB54-4E8E-845A-523E71D0BFFE}"/>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371">
                    <a:gradFill>
                      <a:gsLst>
                        <a:gs pos="0">
                          <a:srgbClr val="505050"/>
                        </a:gs>
                        <a:gs pos="100000">
                          <a:srgbClr val="505050"/>
                        </a:gs>
                      </a:gsLst>
                    </a:gradFill>
                    <a:latin typeface="Segoe UI Semilight"/>
                  </a:endParaRPr>
                </a:p>
              </p:txBody>
            </p:sp>
            <p:sp>
              <p:nvSpPr>
                <p:cNvPr id="7" name="TextBox 6">
                  <a:extLst>
                    <a:ext uri="{FF2B5EF4-FFF2-40B4-BE49-F238E27FC236}">
                      <a16:creationId xmlns:a16="http://schemas.microsoft.com/office/drawing/2014/main" id="{BBC94484-E00B-4E8B-B1B4-41F264079F76}"/>
                    </a:ext>
                  </a:extLst>
                </p:cNvPr>
                <p:cNvSpPr txBox="1"/>
                <p:nvPr/>
              </p:nvSpPr>
              <p:spPr>
                <a:xfrm>
                  <a:off x="1436520" y="2120073"/>
                  <a:ext cx="174969" cy="282035"/>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a:t>
                  </a:r>
                </a:p>
              </p:txBody>
            </p:sp>
          </p:grpSp>
          <p:grpSp>
            <p:nvGrpSpPr>
              <p:cNvPr id="14" name="Group 13">
                <a:extLst>
                  <a:ext uri="{FF2B5EF4-FFF2-40B4-BE49-F238E27FC236}">
                    <a16:creationId xmlns:a16="http://schemas.microsoft.com/office/drawing/2014/main" id="{DB71AF20-F95B-4649-9B43-02FA9FC8FB0B}"/>
                  </a:ext>
                </a:extLst>
              </p:cNvPr>
              <p:cNvGrpSpPr/>
              <p:nvPr/>
            </p:nvGrpSpPr>
            <p:grpSpPr>
              <a:xfrm>
                <a:off x="2396839" y="2332382"/>
                <a:ext cx="679586" cy="520830"/>
                <a:chOff x="2294035" y="1985997"/>
                <a:chExt cx="865583" cy="663377"/>
              </a:xfrm>
            </p:grpSpPr>
            <p:sp>
              <p:nvSpPr>
                <p:cNvPr id="10" name="monitor">
                  <a:extLst>
                    <a:ext uri="{FF2B5EF4-FFF2-40B4-BE49-F238E27FC236}">
                      <a16:creationId xmlns:a16="http://schemas.microsoft.com/office/drawing/2014/main" id="{84913259-4BC5-4144-B5AC-BFBC3BAD0393}"/>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371">
                    <a:gradFill>
                      <a:gsLst>
                        <a:gs pos="0">
                          <a:srgbClr val="505050"/>
                        </a:gs>
                        <a:gs pos="100000">
                          <a:srgbClr val="505050"/>
                        </a:gs>
                      </a:gsLst>
                    </a:gradFill>
                    <a:latin typeface="Segoe UI Semilight"/>
                  </a:endParaRPr>
                </a:p>
              </p:txBody>
            </p:sp>
            <p:sp>
              <p:nvSpPr>
                <p:cNvPr id="12" name="TextBox 11">
                  <a:extLst>
                    <a:ext uri="{FF2B5EF4-FFF2-40B4-BE49-F238E27FC236}">
                      <a16:creationId xmlns:a16="http://schemas.microsoft.com/office/drawing/2014/main" id="{50095600-5976-4C52-8384-E0C5591378A1}"/>
                    </a:ext>
                  </a:extLst>
                </p:cNvPr>
                <p:cNvSpPr txBox="1"/>
                <p:nvPr/>
              </p:nvSpPr>
              <p:spPr>
                <a:xfrm>
                  <a:off x="2486089" y="2120073"/>
                  <a:ext cx="448505" cy="282035"/>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v2</a:t>
                  </a:r>
                </a:p>
              </p:txBody>
            </p:sp>
          </p:grpSp>
          <p:grpSp>
            <p:nvGrpSpPr>
              <p:cNvPr id="21" name="Group 20">
                <a:extLst>
                  <a:ext uri="{FF2B5EF4-FFF2-40B4-BE49-F238E27FC236}">
                    <a16:creationId xmlns:a16="http://schemas.microsoft.com/office/drawing/2014/main" id="{3D8510E8-339F-4CE6-8B34-54C83D10E636}"/>
                  </a:ext>
                </a:extLst>
              </p:cNvPr>
              <p:cNvGrpSpPr/>
              <p:nvPr/>
            </p:nvGrpSpPr>
            <p:grpSpPr>
              <a:xfrm>
                <a:off x="1126308" y="1763123"/>
                <a:ext cx="449062" cy="449062"/>
                <a:chOff x="1069967" y="1804673"/>
                <a:chExt cx="365962" cy="365962"/>
              </a:xfrm>
            </p:grpSpPr>
            <p:sp>
              <p:nvSpPr>
                <p:cNvPr id="4" name="Oval 3">
                  <a:extLst>
                    <a:ext uri="{FF2B5EF4-FFF2-40B4-BE49-F238E27FC236}">
                      <a16:creationId xmlns:a16="http://schemas.microsoft.com/office/drawing/2014/main" id="{0FC62282-704A-4626-AEB2-2DBB417EB877}"/>
                    </a:ext>
                  </a:extLst>
                </p:cNvPr>
                <p:cNvSpPr/>
                <p:nvPr/>
              </p:nvSpPr>
              <p:spPr bwMode="auto">
                <a:xfrm>
                  <a:off x="1069967" y="1804673"/>
                  <a:ext cx="365962" cy="365962"/>
                </a:xfrm>
                <a:prstGeom prst="ellipse">
                  <a:avLst/>
                </a:prstGeom>
                <a:solidFill>
                  <a:schemeClr val="bg1">
                    <a:lumMod val="95000"/>
                  </a:schemeClr>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7" name="desktop">
                  <a:extLst>
                    <a:ext uri="{FF2B5EF4-FFF2-40B4-BE49-F238E27FC236}">
                      <a16:creationId xmlns:a16="http://schemas.microsoft.com/office/drawing/2014/main" id="{AD1FB475-2458-4267-8F5A-67E51A2FC77E}"/>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Semilight"/>
                  </a:endParaRPr>
                </a:p>
              </p:txBody>
            </p:sp>
          </p:grpSp>
        </p:grpSp>
        <p:grpSp>
          <p:nvGrpSpPr>
            <p:cNvPr id="66" name="Group 65">
              <a:extLst>
                <a:ext uri="{FF2B5EF4-FFF2-40B4-BE49-F238E27FC236}">
                  <a16:creationId xmlns:a16="http://schemas.microsoft.com/office/drawing/2014/main" id="{54960795-3629-4C80-97D5-4C31085B3587}"/>
                </a:ext>
              </a:extLst>
            </p:cNvPr>
            <p:cNvGrpSpPr/>
            <p:nvPr/>
          </p:nvGrpSpPr>
          <p:grpSpPr>
            <a:xfrm>
              <a:off x="4403762" y="2186848"/>
              <a:ext cx="3180585" cy="1174672"/>
              <a:chOff x="5233109" y="1763123"/>
              <a:chExt cx="3244362" cy="1198227"/>
            </a:xfrm>
          </p:grpSpPr>
          <p:grpSp>
            <p:nvGrpSpPr>
              <p:cNvPr id="18" name="Group 17">
                <a:extLst>
                  <a:ext uri="{FF2B5EF4-FFF2-40B4-BE49-F238E27FC236}">
                    <a16:creationId xmlns:a16="http://schemas.microsoft.com/office/drawing/2014/main" id="{585DD1D6-1340-4682-AD8F-2FAA0C0A7BBE}"/>
                  </a:ext>
                </a:extLst>
              </p:cNvPr>
              <p:cNvGrpSpPr/>
              <p:nvPr/>
            </p:nvGrpSpPr>
            <p:grpSpPr>
              <a:xfrm>
                <a:off x="5574596" y="2330359"/>
                <a:ext cx="679584" cy="520830"/>
                <a:chOff x="5177200" y="1985997"/>
                <a:chExt cx="865582" cy="663377"/>
              </a:xfrm>
            </p:grpSpPr>
            <p:sp>
              <p:nvSpPr>
                <p:cNvPr id="19" name="monitor">
                  <a:extLst>
                    <a:ext uri="{FF2B5EF4-FFF2-40B4-BE49-F238E27FC236}">
                      <a16:creationId xmlns:a16="http://schemas.microsoft.com/office/drawing/2014/main" id="{56242792-DDB6-4506-AEFB-E0C47DC99598}"/>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0" name="TextBox 19">
                  <a:extLst>
                    <a:ext uri="{FF2B5EF4-FFF2-40B4-BE49-F238E27FC236}">
                      <a16:creationId xmlns:a16="http://schemas.microsoft.com/office/drawing/2014/main" id="{E309D138-D0E2-4BA2-8FB1-0767FE402B0D}"/>
                    </a:ext>
                  </a:extLst>
                </p:cNvPr>
                <p:cNvSpPr txBox="1"/>
                <p:nvPr/>
              </p:nvSpPr>
              <p:spPr>
                <a:xfrm>
                  <a:off x="5516256" y="2120336"/>
                  <a:ext cx="187467" cy="282035"/>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a:t>
                  </a:r>
                </a:p>
              </p:txBody>
            </p:sp>
          </p:grpSp>
          <p:grpSp>
            <p:nvGrpSpPr>
              <p:cNvPr id="22" name="Group 21">
                <a:extLst>
                  <a:ext uri="{FF2B5EF4-FFF2-40B4-BE49-F238E27FC236}">
                    <a16:creationId xmlns:a16="http://schemas.microsoft.com/office/drawing/2014/main" id="{2958AC20-D7E7-4FE8-B06A-206134DC4F9F}"/>
                  </a:ext>
                </a:extLst>
              </p:cNvPr>
              <p:cNvGrpSpPr/>
              <p:nvPr/>
            </p:nvGrpSpPr>
            <p:grpSpPr>
              <a:xfrm>
                <a:off x="6573713" y="2330359"/>
                <a:ext cx="679584" cy="520830"/>
                <a:chOff x="6375635" y="1985997"/>
                <a:chExt cx="865582" cy="663377"/>
              </a:xfrm>
            </p:grpSpPr>
            <p:sp>
              <p:nvSpPr>
                <p:cNvPr id="24" name="monitor">
                  <a:extLst>
                    <a:ext uri="{FF2B5EF4-FFF2-40B4-BE49-F238E27FC236}">
                      <a16:creationId xmlns:a16="http://schemas.microsoft.com/office/drawing/2014/main" id="{6DB41D9F-05E5-45A8-94F3-0828691BA6AC}"/>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5" name="TextBox 24">
                  <a:extLst>
                    <a:ext uri="{FF2B5EF4-FFF2-40B4-BE49-F238E27FC236}">
                      <a16:creationId xmlns:a16="http://schemas.microsoft.com/office/drawing/2014/main" id="{49582746-CFC8-4FB1-92E9-8EC7071192AD}"/>
                    </a:ext>
                  </a:extLst>
                </p:cNvPr>
                <p:cNvSpPr txBox="1"/>
                <p:nvPr/>
              </p:nvSpPr>
              <p:spPr>
                <a:xfrm>
                  <a:off x="6575134" y="2120336"/>
                  <a:ext cx="466588" cy="282035"/>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v2</a:t>
                  </a:r>
                </a:p>
              </p:txBody>
            </p:sp>
          </p:grpSp>
          <p:grpSp>
            <p:nvGrpSpPr>
              <p:cNvPr id="23" name="Group 22">
                <a:extLst>
                  <a:ext uri="{FF2B5EF4-FFF2-40B4-BE49-F238E27FC236}">
                    <a16:creationId xmlns:a16="http://schemas.microsoft.com/office/drawing/2014/main" id="{1A3E49A0-9CC0-4F57-AB6A-3BF0ACD9506F}"/>
                  </a:ext>
                </a:extLst>
              </p:cNvPr>
              <p:cNvGrpSpPr/>
              <p:nvPr/>
            </p:nvGrpSpPr>
            <p:grpSpPr>
              <a:xfrm>
                <a:off x="7572813" y="2330361"/>
                <a:ext cx="679600" cy="520840"/>
                <a:chOff x="7574071" y="1985997"/>
                <a:chExt cx="865603" cy="663392"/>
              </a:xfrm>
            </p:grpSpPr>
            <p:sp>
              <p:nvSpPr>
                <p:cNvPr id="36" name="monitor">
                  <a:extLst>
                    <a:ext uri="{FF2B5EF4-FFF2-40B4-BE49-F238E27FC236}">
                      <a16:creationId xmlns:a16="http://schemas.microsoft.com/office/drawing/2014/main" id="{F3CED334-B258-4C7F-BF4D-6B6B25048A27}"/>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371">
                    <a:gradFill>
                      <a:gsLst>
                        <a:gs pos="0">
                          <a:srgbClr val="505050"/>
                        </a:gs>
                        <a:gs pos="100000">
                          <a:srgbClr val="505050"/>
                        </a:gs>
                      </a:gsLst>
                    </a:gradFill>
                    <a:latin typeface="Segoe UI Semilight"/>
                  </a:endParaRPr>
                </a:p>
              </p:txBody>
            </p:sp>
            <p:sp>
              <p:nvSpPr>
                <p:cNvPr id="37" name="TextBox 36">
                  <a:extLst>
                    <a:ext uri="{FF2B5EF4-FFF2-40B4-BE49-F238E27FC236}">
                      <a16:creationId xmlns:a16="http://schemas.microsoft.com/office/drawing/2014/main" id="{CA6A53CC-AD81-4AAE-879D-E13E60DEB430}"/>
                    </a:ext>
                  </a:extLst>
                </p:cNvPr>
                <p:cNvSpPr txBox="1"/>
                <p:nvPr/>
              </p:nvSpPr>
              <p:spPr>
                <a:xfrm>
                  <a:off x="7773579" y="2120336"/>
                  <a:ext cx="466588" cy="282035"/>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v3</a:t>
                  </a:r>
                </a:p>
              </p:txBody>
            </p:sp>
          </p:grpSp>
          <p:sp>
            <p:nvSpPr>
              <p:cNvPr id="115" name="Rectangle 114">
                <a:extLst>
                  <a:ext uri="{FF2B5EF4-FFF2-40B4-BE49-F238E27FC236}">
                    <a16:creationId xmlns:a16="http://schemas.microsoft.com/office/drawing/2014/main" id="{6EF36271-476A-44A1-8AA0-92DCD3C2446E}"/>
                  </a:ext>
                </a:extLst>
              </p:cNvPr>
              <p:cNvSpPr/>
              <p:nvPr/>
            </p:nvSpPr>
            <p:spPr bwMode="auto">
              <a:xfrm>
                <a:off x="5355008" y="1983620"/>
                <a:ext cx="3122463"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6" name="Rectangle 115">
                <a:extLst>
                  <a:ext uri="{FF2B5EF4-FFF2-40B4-BE49-F238E27FC236}">
                    <a16:creationId xmlns:a16="http://schemas.microsoft.com/office/drawing/2014/main" id="{3C53D8A9-3E85-4A0B-88D3-13606B9D9960}"/>
                  </a:ext>
                </a:extLst>
              </p:cNvPr>
              <p:cNvSpPr/>
              <p:nvPr/>
            </p:nvSpPr>
            <p:spPr bwMode="auto">
              <a:xfrm>
                <a:off x="5683807" y="1800639"/>
                <a:ext cx="1469378" cy="337311"/>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1">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34" name="Group 33">
                <a:extLst>
                  <a:ext uri="{FF2B5EF4-FFF2-40B4-BE49-F238E27FC236}">
                    <a16:creationId xmlns:a16="http://schemas.microsoft.com/office/drawing/2014/main" id="{884611A7-9B36-4D07-AE29-FCC88280169D}"/>
                  </a:ext>
                </a:extLst>
              </p:cNvPr>
              <p:cNvGrpSpPr/>
              <p:nvPr/>
            </p:nvGrpSpPr>
            <p:grpSpPr>
              <a:xfrm>
                <a:off x="5233109" y="1763123"/>
                <a:ext cx="448056" cy="448056"/>
                <a:chOff x="5233109" y="1763123"/>
                <a:chExt cx="448056" cy="448056"/>
              </a:xfrm>
            </p:grpSpPr>
            <p:sp>
              <p:nvSpPr>
                <p:cNvPr id="121" name="Oval 120">
                  <a:extLst>
                    <a:ext uri="{FF2B5EF4-FFF2-40B4-BE49-F238E27FC236}">
                      <a16:creationId xmlns:a16="http://schemas.microsoft.com/office/drawing/2014/main" id="{D6EAF9BB-3A60-4C2D-8497-79AA874DDFC9}"/>
                    </a:ext>
                  </a:extLst>
                </p:cNvPr>
                <p:cNvSpPr/>
                <p:nvPr/>
              </p:nvSpPr>
              <p:spPr bwMode="auto">
                <a:xfrm>
                  <a:off x="5233109" y="1763123"/>
                  <a:ext cx="448056" cy="448056"/>
                </a:xfrm>
                <a:prstGeom prst="ellipse">
                  <a:avLst/>
                </a:prstGeom>
                <a:solidFill>
                  <a:schemeClr val="bg1">
                    <a:lumMod val="95000"/>
                  </a:schemeClr>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0" name="server">
                  <a:extLst>
                    <a:ext uri="{FF2B5EF4-FFF2-40B4-BE49-F238E27FC236}">
                      <a16:creationId xmlns:a16="http://schemas.microsoft.com/office/drawing/2014/main" id="{98EACE0D-57D7-4115-A466-C308BF587AC6}"/>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lin ang="5400000" scaled="1"/>
                    </a:gradFill>
                    <a:latin typeface="Segoe UI Semilight"/>
                  </a:endParaRPr>
                </a:p>
              </p:txBody>
            </p:sp>
          </p:grpSp>
        </p:grpSp>
        <p:grpSp>
          <p:nvGrpSpPr>
            <p:cNvPr id="47" name="Group 46">
              <a:extLst>
                <a:ext uri="{FF2B5EF4-FFF2-40B4-BE49-F238E27FC236}">
                  <a16:creationId xmlns:a16="http://schemas.microsoft.com/office/drawing/2014/main" id="{B4DD40A4-F906-4E1F-BCCF-0F89FA4CC8D7}"/>
                </a:ext>
              </a:extLst>
            </p:cNvPr>
            <p:cNvGrpSpPr/>
            <p:nvPr/>
          </p:nvGrpSpPr>
          <p:grpSpPr>
            <a:xfrm>
              <a:off x="10700553" y="2721060"/>
              <a:ext cx="666225" cy="510592"/>
              <a:chOff x="4318388" y="3898203"/>
              <a:chExt cx="865582" cy="663377"/>
            </a:xfrm>
          </p:grpSpPr>
          <p:sp>
            <p:nvSpPr>
              <p:cNvPr id="44" name="monitor">
                <a:extLst>
                  <a:ext uri="{FF2B5EF4-FFF2-40B4-BE49-F238E27FC236}">
                    <a16:creationId xmlns:a16="http://schemas.microsoft.com/office/drawing/2014/main" id="{92EE50BD-4391-4FC6-A05C-B53DB0351007}"/>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97B8C29E-CE57-47B4-9DFC-3F16989AA250}"/>
                  </a:ext>
                </a:extLst>
              </p:cNvPr>
              <p:cNvSpPr txBox="1"/>
              <p:nvPr/>
            </p:nvSpPr>
            <p:spPr>
              <a:xfrm>
                <a:off x="4687646" y="4032282"/>
                <a:ext cx="127062" cy="282034"/>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914192">
                  <a:defRPr/>
                </a:pPr>
                <a:r>
                  <a:rPr lang="en-US" sz="1567">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L</a:t>
                </a:r>
              </a:p>
            </p:txBody>
          </p:sp>
        </p:grpSp>
        <p:sp>
          <p:nvSpPr>
            <p:cNvPr id="134" name="Rectangle 133">
              <a:extLst>
                <a:ext uri="{FF2B5EF4-FFF2-40B4-BE49-F238E27FC236}">
                  <a16:creationId xmlns:a16="http://schemas.microsoft.com/office/drawing/2014/main" id="{828783BF-6685-4705-8CDD-236A0B796D6E}"/>
                </a:ext>
              </a:extLst>
            </p:cNvPr>
            <p:cNvSpPr/>
            <p:nvPr/>
          </p:nvSpPr>
          <p:spPr bwMode="auto">
            <a:xfrm>
              <a:off x="10327533" y="2403010"/>
              <a:ext cx="1412265"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F75E9CEA-670A-4C33-B9D8-BA3C5900D7DB}"/>
                </a:ext>
              </a:extLst>
            </p:cNvPr>
            <p:cNvSpPr/>
            <p:nvPr/>
          </p:nvSpPr>
          <p:spPr bwMode="auto">
            <a:xfrm>
              <a:off x="10546315" y="2231156"/>
              <a:ext cx="1111490" cy="331763"/>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371">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Storage Optimized</a:t>
              </a:r>
            </a:p>
          </p:txBody>
        </p:sp>
        <p:grpSp>
          <p:nvGrpSpPr>
            <p:cNvPr id="38" name="Group 37">
              <a:extLst>
                <a:ext uri="{FF2B5EF4-FFF2-40B4-BE49-F238E27FC236}">
                  <a16:creationId xmlns:a16="http://schemas.microsoft.com/office/drawing/2014/main" id="{295AA07A-D7BA-4A0A-91F6-55B54C70494D}"/>
                </a:ext>
              </a:extLst>
            </p:cNvPr>
            <p:cNvGrpSpPr/>
            <p:nvPr/>
          </p:nvGrpSpPr>
          <p:grpSpPr>
            <a:xfrm>
              <a:off x="10208359" y="2223626"/>
              <a:ext cx="439248" cy="439248"/>
              <a:chOff x="3750357" y="3629439"/>
              <a:chExt cx="365962" cy="365962"/>
            </a:xfrm>
          </p:grpSpPr>
          <p:sp>
            <p:nvSpPr>
              <p:cNvPr id="136" name="Oval 135">
                <a:extLst>
                  <a:ext uri="{FF2B5EF4-FFF2-40B4-BE49-F238E27FC236}">
                    <a16:creationId xmlns:a16="http://schemas.microsoft.com/office/drawing/2014/main" id="{FE382D44-BC93-4AAD-81B1-1FD7F4C534FC}"/>
                  </a:ext>
                </a:extLst>
              </p:cNvPr>
              <p:cNvSpPr/>
              <p:nvPr/>
            </p:nvSpPr>
            <p:spPr bwMode="auto">
              <a:xfrm>
                <a:off x="3750357" y="3629439"/>
                <a:ext cx="365962" cy="365962"/>
              </a:xfrm>
              <a:prstGeom prst="ellipse">
                <a:avLst/>
              </a:prstGeom>
              <a:solidFill>
                <a:schemeClr val="bg1">
                  <a:lumMod val="95000"/>
                </a:schemeClr>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1" name="Database_EFC7">
                <a:extLst>
                  <a:ext uri="{FF2B5EF4-FFF2-40B4-BE49-F238E27FC236}">
                    <a16:creationId xmlns:a16="http://schemas.microsoft.com/office/drawing/2014/main" id="{BD0E1A88-3565-4348-9740-584CEE44ECA5}"/>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grpSp>
        <p:grpSp>
          <p:nvGrpSpPr>
            <p:cNvPr id="27" name="Group 26">
              <a:extLst>
                <a:ext uri="{FF2B5EF4-FFF2-40B4-BE49-F238E27FC236}">
                  <a16:creationId xmlns:a16="http://schemas.microsoft.com/office/drawing/2014/main" id="{2CA3873C-251D-43CB-8092-F100931A879E}"/>
                </a:ext>
              </a:extLst>
            </p:cNvPr>
            <p:cNvGrpSpPr/>
            <p:nvPr/>
          </p:nvGrpSpPr>
          <p:grpSpPr>
            <a:xfrm>
              <a:off x="8139448" y="2736919"/>
              <a:ext cx="666227" cy="510591"/>
              <a:chOff x="8994248" y="1985997"/>
              <a:chExt cx="865583" cy="663377"/>
            </a:xfrm>
          </p:grpSpPr>
          <p:sp>
            <p:nvSpPr>
              <p:cNvPr id="28" name="monitor">
                <a:extLst>
                  <a:ext uri="{FF2B5EF4-FFF2-40B4-BE49-F238E27FC236}">
                    <a16:creationId xmlns:a16="http://schemas.microsoft.com/office/drawing/2014/main" id="{B808A0B6-74C9-444F-B9E6-5DDC2B01E4B2}"/>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9" name="TextBox 28">
                <a:extLst>
                  <a:ext uri="{FF2B5EF4-FFF2-40B4-BE49-F238E27FC236}">
                    <a16:creationId xmlns:a16="http://schemas.microsoft.com/office/drawing/2014/main" id="{3C8ECDA9-1E28-4DC0-BF58-80D2FD66B69C}"/>
                  </a:ext>
                </a:extLst>
              </p:cNvPr>
              <p:cNvSpPr txBox="1"/>
              <p:nvPr/>
            </p:nvSpPr>
            <p:spPr>
              <a:xfrm>
                <a:off x="9361428" y="2120336"/>
                <a:ext cx="131228" cy="282035"/>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F</a:t>
                </a:r>
              </a:p>
            </p:txBody>
          </p:sp>
        </p:grpSp>
        <p:grpSp>
          <p:nvGrpSpPr>
            <p:cNvPr id="31" name="Group 30">
              <a:extLst>
                <a:ext uri="{FF2B5EF4-FFF2-40B4-BE49-F238E27FC236}">
                  <a16:creationId xmlns:a16="http://schemas.microsoft.com/office/drawing/2014/main" id="{038D76D2-A35B-4A90-80FA-81CD0D5F454E}"/>
                </a:ext>
              </a:extLst>
            </p:cNvPr>
            <p:cNvGrpSpPr/>
            <p:nvPr/>
          </p:nvGrpSpPr>
          <p:grpSpPr>
            <a:xfrm>
              <a:off x="9118923" y="2736919"/>
              <a:ext cx="666227" cy="510591"/>
              <a:chOff x="10201320" y="1985997"/>
              <a:chExt cx="865583" cy="663377"/>
            </a:xfrm>
          </p:grpSpPr>
          <p:sp>
            <p:nvSpPr>
              <p:cNvPr id="152" name="monitor">
                <a:extLst>
                  <a:ext uri="{FF2B5EF4-FFF2-40B4-BE49-F238E27FC236}">
                    <a16:creationId xmlns:a16="http://schemas.microsoft.com/office/drawing/2014/main" id="{19A06945-45C9-4E08-A4AA-0A77C4FCF18E}"/>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371">
                  <a:gradFill>
                    <a:gsLst>
                      <a:gs pos="0">
                        <a:srgbClr val="505050"/>
                      </a:gs>
                      <a:gs pos="100000">
                        <a:srgbClr val="505050"/>
                      </a:gs>
                    </a:gsLst>
                  </a:gradFill>
                  <a:latin typeface="Segoe UI Semilight"/>
                </a:endParaRPr>
              </a:p>
            </p:txBody>
          </p:sp>
          <p:sp>
            <p:nvSpPr>
              <p:cNvPr id="153" name="TextBox 152">
                <a:extLst>
                  <a:ext uri="{FF2B5EF4-FFF2-40B4-BE49-F238E27FC236}">
                    <a16:creationId xmlns:a16="http://schemas.microsoft.com/office/drawing/2014/main" id="{BC5F8690-4543-4E54-8ED5-D75F52B2C864}"/>
                  </a:ext>
                </a:extLst>
              </p:cNvPr>
              <p:cNvSpPr txBox="1"/>
              <p:nvPr/>
            </p:nvSpPr>
            <p:spPr>
              <a:xfrm>
                <a:off x="10428937" y="2120336"/>
                <a:ext cx="410345" cy="282035"/>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Fv2</a:t>
                </a:r>
              </a:p>
            </p:txBody>
          </p:sp>
        </p:grpSp>
        <p:sp>
          <p:nvSpPr>
            <p:cNvPr id="127" name="Rectangle 126">
              <a:extLst>
                <a:ext uri="{FF2B5EF4-FFF2-40B4-BE49-F238E27FC236}">
                  <a16:creationId xmlns:a16="http://schemas.microsoft.com/office/drawing/2014/main" id="{DAD5FE71-B8D1-4559-999C-6CFF6B862AB9}"/>
                </a:ext>
              </a:extLst>
            </p:cNvPr>
            <p:cNvSpPr/>
            <p:nvPr/>
          </p:nvSpPr>
          <p:spPr bwMode="auto">
            <a:xfrm>
              <a:off x="7890108" y="2396574"/>
              <a:ext cx="2136204"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Rectangle 128">
              <a:extLst>
                <a:ext uri="{FF2B5EF4-FFF2-40B4-BE49-F238E27FC236}">
                  <a16:creationId xmlns:a16="http://schemas.microsoft.com/office/drawing/2014/main" id="{BD389A05-45CD-4B62-AE70-9F1EA294C508}"/>
                </a:ext>
              </a:extLst>
            </p:cNvPr>
            <p:cNvSpPr/>
            <p:nvPr/>
          </p:nvSpPr>
          <p:spPr bwMode="auto">
            <a:xfrm>
              <a:off x="8113339" y="2205125"/>
              <a:ext cx="1768186" cy="3306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371">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26" name="Group 25">
              <a:extLst>
                <a:ext uri="{FF2B5EF4-FFF2-40B4-BE49-F238E27FC236}">
                  <a16:creationId xmlns:a16="http://schemas.microsoft.com/office/drawing/2014/main" id="{79F2E164-1D23-466B-8DCA-B076BA33E6A6}"/>
                </a:ext>
              </a:extLst>
            </p:cNvPr>
            <p:cNvGrpSpPr/>
            <p:nvPr/>
          </p:nvGrpSpPr>
          <p:grpSpPr>
            <a:xfrm>
              <a:off x="7766394" y="2184390"/>
              <a:ext cx="439248" cy="439248"/>
              <a:chOff x="8646073" y="1794074"/>
              <a:chExt cx="365962" cy="365962"/>
            </a:xfrm>
          </p:grpSpPr>
          <p:sp>
            <p:nvSpPr>
              <p:cNvPr id="130" name="Oval 129">
                <a:extLst>
                  <a:ext uri="{FF2B5EF4-FFF2-40B4-BE49-F238E27FC236}">
                    <a16:creationId xmlns:a16="http://schemas.microsoft.com/office/drawing/2014/main" id="{66F3CBEB-30BF-45EB-8CB8-B573606CA363}"/>
                  </a:ext>
                </a:extLst>
              </p:cNvPr>
              <p:cNvSpPr/>
              <p:nvPr/>
            </p:nvSpPr>
            <p:spPr bwMode="auto">
              <a:xfrm>
                <a:off x="8646073" y="1794074"/>
                <a:ext cx="365962" cy="365962"/>
              </a:xfrm>
              <a:prstGeom prst="ellipse">
                <a:avLst/>
              </a:prstGeom>
              <a:solidFill>
                <a:schemeClr val="bg1">
                  <a:lumMod val="95000"/>
                </a:schemeClr>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0" name="binary">
                <a:extLst>
                  <a:ext uri="{FF2B5EF4-FFF2-40B4-BE49-F238E27FC236}">
                    <a16:creationId xmlns:a16="http://schemas.microsoft.com/office/drawing/2014/main" id="{49E98904-35EE-4941-9BD2-C04390ABC0BB}"/>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grpSp>
        <p:grpSp>
          <p:nvGrpSpPr>
            <p:cNvPr id="63" name="Group 62">
              <a:extLst>
                <a:ext uri="{FF2B5EF4-FFF2-40B4-BE49-F238E27FC236}">
                  <a16:creationId xmlns:a16="http://schemas.microsoft.com/office/drawing/2014/main" id="{A2465405-8CA1-46EF-89A3-0883CECAC1C2}"/>
                </a:ext>
              </a:extLst>
            </p:cNvPr>
            <p:cNvGrpSpPr/>
            <p:nvPr/>
          </p:nvGrpSpPr>
          <p:grpSpPr>
            <a:xfrm>
              <a:off x="357957" y="4767350"/>
              <a:ext cx="3207635" cy="1122079"/>
              <a:chOff x="291247" y="3629439"/>
              <a:chExt cx="3271955" cy="1144579"/>
            </a:xfrm>
          </p:grpSpPr>
          <p:grpSp>
            <p:nvGrpSpPr>
              <p:cNvPr id="59" name="Group 58">
                <a:extLst>
                  <a:ext uri="{FF2B5EF4-FFF2-40B4-BE49-F238E27FC236}">
                    <a16:creationId xmlns:a16="http://schemas.microsoft.com/office/drawing/2014/main" id="{7552689F-398A-4C0B-90A4-9A3BDC6EFAF9}"/>
                  </a:ext>
                </a:extLst>
              </p:cNvPr>
              <p:cNvGrpSpPr/>
              <p:nvPr/>
            </p:nvGrpSpPr>
            <p:grpSpPr>
              <a:xfrm>
                <a:off x="675267" y="4142148"/>
                <a:ext cx="679584" cy="520830"/>
                <a:chOff x="482514" y="3898203"/>
                <a:chExt cx="865582" cy="663377"/>
              </a:xfrm>
            </p:grpSpPr>
            <p:sp>
              <p:nvSpPr>
                <p:cNvPr id="32" name="monitor">
                  <a:extLst>
                    <a:ext uri="{FF2B5EF4-FFF2-40B4-BE49-F238E27FC236}">
                      <a16:creationId xmlns:a16="http://schemas.microsoft.com/office/drawing/2014/main" id="{67B3E0F9-F6E1-48FC-9AB7-BCBE0CBB1303}"/>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33" name="TextBox 32">
                  <a:extLst>
                    <a:ext uri="{FF2B5EF4-FFF2-40B4-BE49-F238E27FC236}">
                      <a16:creationId xmlns:a16="http://schemas.microsoft.com/office/drawing/2014/main" id="{8A24A3FF-73CB-45F7-9F4E-3AC3FBB7F6C5}"/>
                    </a:ext>
                  </a:extLst>
                </p:cNvPr>
                <p:cNvSpPr txBox="1"/>
                <p:nvPr/>
              </p:nvSpPr>
              <p:spPr>
                <a:xfrm>
                  <a:off x="824695" y="4032282"/>
                  <a:ext cx="181220" cy="282035"/>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G</a:t>
                  </a:r>
                </a:p>
              </p:txBody>
            </p:sp>
          </p:grpSp>
          <p:grpSp>
            <p:nvGrpSpPr>
              <p:cNvPr id="55" name="Group 54">
                <a:extLst>
                  <a:ext uri="{FF2B5EF4-FFF2-40B4-BE49-F238E27FC236}">
                    <a16:creationId xmlns:a16="http://schemas.microsoft.com/office/drawing/2014/main" id="{2A1ABE4F-D979-41EF-8F67-7494BA8FE962}"/>
                  </a:ext>
                </a:extLst>
              </p:cNvPr>
              <p:cNvGrpSpPr/>
              <p:nvPr/>
            </p:nvGrpSpPr>
            <p:grpSpPr>
              <a:xfrm>
                <a:off x="1674368" y="4142138"/>
                <a:ext cx="679600" cy="520840"/>
                <a:chOff x="1681172" y="3898203"/>
                <a:chExt cx="865603" cy="663392"/>
              </a:xfrm>
            </p:grpSpPr>
            <p:sp>
              <p:nvSpPr>
                <p:cNvPr id="52" name="monitor">
                  <a:extLst>
                    <a:ext uri="{FF2B5EF4-FFF2-40B4-BE49-F238E27FC236}">
                      <a16:creationId xmlns:a16="http://schemas.microsoft.com/office/drawing/2014/main" id="{D62E81F8-1D14-41A6-AE4D-E2321E618F42}"/>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371">
                    <a:gradFill>
                      <a:gsLst>
                        <a:gs pos="0">
                          <a:srgbClr val="505050"/>
                        </a:gs>
                        <a:gs pos="100000">
                          <a:srgbClr val="505050"/>
                        </a:gs>
                      </a:gsLst>
                    </a:gradFill>
                    <a:latin typeface="Segoe UI Semilight"/>
                  </a:endParaRPr>
                </a:p>
              </p:txBody>
            </p:sp>
            <p:sp>
              <p:nvSpPr>
                <p:cNvPr id="53" name="TextBox 52">
                  <a:extLst>
                    <a:ext uri="{FF2B5EF4-FFF2-40B4-BE49-F238E27FC236}">
                      <a16:creationId xmlns:a16="http://schemas.microsoft.com/office/drawing/2014/main" id="{97357997-FB45-4009-ADD9-7CF39EFBF2B7}"/>
                    </a:ext>
                  </a:extLst>
                </p:cNvPr>
                <p:cNvSpPr txBox="1"/>
                <p:nvPr/>
              </p:nvSpPr>
              <p:spPr>
                <a:xfrm>
                  <a:off x="1888422" y="4032282"/>
                  <a:ext cx="414512" cy="282035"/>
                </a:xfrm>
                <a:prstGeom prst="rect">
                  <a:avLst/>
                </a:prstGeom>
                <a:noFill/>
              </p:spPr>
              <p:txBody>
                <a:bodyPr wrap="none" lIns="0" tIns="0" rIns="0" bIns="0" rtlCol="0">
                  <a:spAutoFit/>
                </a:bodyPr>
                <a:lstStyle/>
                <a:p>
                  <a:pP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Ev3</a:t>
                  </a:r>
                </a:p>
              </p:txBody>
            </p:sp>
          </p:grpSp>
          <p:grpSp>
            <p:nvGrpSpPr>
              <p:cNvPr id="51" name="Group 50">
                <a:extLst>
                  <a:ext uri="{FF2B5EF4-FFF2-40B4-BE49-F238E27FC236}">
                    <a16:creationId xmlns:a16="http://schemas.microsoft.com/office/drawing/2014/main" id="{E716E407-1F7F-48D1-AA44-B6BA56F75702}"/>
                  </a:ext>
                </a:extLst>
              </p:cNvPr>
              <p:cNvGrpSpPr/>
              <p:nvPr/>
            </p:nvGrpSpPr>
            <p:grpSpPr>
              <a:xfrm>
                <a:off x="2673484" y="4142138"/>
                <a:ext cx="679600" cy="520840"/>
                <a:chOff x="2901150" y="3898203"/>
                <a:chExt cx="865603" cy="663392"/>
              </a:xfrm>
            </p:grpSpPr>
            <p:sp>
              <p:nvSpPr>
                <p:cNvPr id="56" name="monitor">
                  <a:extLst>
                    <a:ext uri="{FF2B5EF4-FFF2-40B4-BE49-F238E27FC236}">
                      <a16:creationId xmlns:a16="http://schemas.microsoft.com/office/drawing/2014/main" id="{0F25C13F-B53A-459A-B813-12B27311D442}"/>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371">
                    <a:gradFill>
                      <a:gsLst>
                        <a:gs pos="0">
                          <a:srgbClr val="505050"/>
                        </a:gs>
                        <a:gs pos="100000">
                          <a:srgbClr val="505050"/>
                        </a:gs>
                      </a:gsLst>
                    </a:gradFill>
                    <a:latin typeface="Segoe UI Semilight"/>
                  </a:endParaRPr>
                </a:p>
              </p:txBody>
            </p:sp>
            <p:sp>
              <p:nvSpPr>
                <p:cNvPr id="57" name="TextBox 56">
                  <a:extLst>
                    <a:ext uri="{FF2B5EF4-FFF2-40B4-BE49-F238E27FC236}">
                      <a16:creationId xmlns:a16="http://schemas.microsoft.com/office/drawing/2014/main" id="{6EC9F048-6131-4032-B838-FAEF7EFAE49F}"/>
                    </a:ext>
                  </a:extLst>
                </p:cNvPr>
                <p:cNvSpPr txBox="1"/>
                <p:nvPr/>
              </p:nvSpPr>
              <p:spPr>
                <a:xfrm>
                  <a:off x="3202193" y="4032282"/>
                  <a:ext cx="241624" cy="282035"/>
                </a:xfrm>
                <a:prstGeom prst="rect">
                  <a:avLst/>
                </a:prstGeom>
                <a:noFill/>
              </p:spPr>
              <p:txBody>
                <a:bodyPr wrap="none" lIns="0" tIns="0" rIns="0" bIns="0" rtlCol="0">
                  <a:spAutoFit/>
                </a:bodyPr>
                <a:lstStyle/>
                <a:p>
                  <a:pP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M</a:t>
                  </a:r>
                </a:p>
              </p:txBody>
            </p:sp>
          </p:grpSp>
          <p:sp>
            <p:nvSpPr>
              <p:cNvPr id="131" name="Rectangle 130">
                <a:extLst>
                  <a:ext uri="{FF2B5EF4-FFF2-40B4-BE49-F238E27FC236}">
                    <a16:creationId xmlns:a16="http://schemas.microsoft.com/office/drawing/2014/main" id="{0EF9302D-C5BF-44FB-A10C-DD373E86C0BE}"/>
                  </a:ext>
                </a:extLst>
              </p:cNvPr>
              <p:cNvSpPr/>
              <p:nvPr/>
            </p:nvSpPr>
            <p:spPr bwMode="auto">
              <a:xfrm>
                <a:off x="387148" y="3796288"/>
                <a:ext cx="317605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B04C2F78-6194-4E1B-AAB1-3069119D9BEF}"/>
                  </a:ext>
                </a:extLst>
              </p:cNvPr>
              <p:cNvSpPr/>
              <p:nvPr/>
            </p:nvSpPr>
            <p:spPr bwMode="auto">
              <a:xfrm>
                <a:off x="735504" y="3646527"/>
                <a:ext cx="1760243" cy="337311"/>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1">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Memory Optimized</a:t>
                </a:r>
              </a:p>
            </p:txBody>
          </p:sp>
          <p:grpSp>
            <p:nvGrpSpPr>
              <p:cNvPr id="30" name="Group 29">
                <a:extLst>
                  <a:ext uri="{FF2B5EF4-FFF2-40B4-BE49-F238E27FC236}">
                    <a16:creationId xmlns:a16="http://schemas.microsoft.com/office/drawing/2014/main" id="{5F285FE2-CA5F-4465-9B2C-D2D329970A62}"/>
                  </a:ext>
                </a:extLst>
              </p:cNvPr>
              <p:cNvGrpSpPr/>
              <p:nvPr/>
            </p:nvGrpSpPr>
            <p:grpSpPr>
              <a:xfrm>
                <a:off x="291247" y="3629439"/>
                <a:ext cx="448056" cy="448056"/>
                <a:chOff x="282369" y="3629439"/>
                <a:chExt cx="365962" cy="365962"/>
              </a:xfrm>
            </p:grpSpPr>
            <p:sp>
              <p:nvSpPr>
                <p:cNvPr id="133" name="Oval 132">
                  <a:extLst>
                    <a:ext uri="{FF2B5EF4-FFF2-40B4-BE49-F238E27FC236}">
                      <a16:creationId xmlns:a16="http://schemas.microsoft.com/office/drawing/2014/main" id="{2EE734FA-91E7-4ABD-BBAC-D07E5485C166}"/>
                    </a:ext>
                  </a:extLst>
                </p:cNvPr>
                <p:cNvSpPr/>
                <p:nvPr/>
              </p:nvSpPr>
              <p:spPr bwMode="auto">
                <a:xfrm>
                  <a:off x="282369" y="3629439"/>
                  <a:ext cx="365962" cy="365962"/>
                </a:xfrm>
                <a:prstGeom prst="ellipse">
                  <a:avLst/>
                </a:prstGeom>
                <a:solidFill>
                  <a:schemeClr val="bg1">
                    <a:lumMod val="95000"/>
                  </a:schemeClr>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4" name="chip">
                  <a:extLst>
                    <a:ext uri="{FF2B5EF4-FFF2-40B4-BE49-F238E27FC236}">
                      <a16:creationId xmlns:a16="http://schemas.microsoft.com/office/drawing/2014/main" id="{CB163C25-5B49-4D40-95EF-E75AA013BAAD}"/>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Semilight"/>
                  </a:endParaRPr>
                </a:p>
              </p:txBody>
            </p:sp>
          </p:grpSp>
        </p:grpSp>
        <p:grpSp>
          <p:nvGrpSpPr>
            <p:cNvPr id="43" name="Group 42">
              <a:extLst>
                <a:ext uri="{FF2B5EF4-FFF2-40B4-BE49-F238E27FC236}">
                  <a16:creationId xmlns:a16="http://schemas.microsoft.com/office/drawing/2014/main" id="{C23D4DFA-8FF9-4012-8FA9-F44AE2DD9983}"/>
                </a:ext>
              </a:extLst>
            </p:cNvPr>
            <p:cNvGrpSpPr/>
            <p:nvPr/>
          </p:nvGrpSpPr>
          <p:grpSpPr>
            <a:xfrm>
              <a:off x="4113858" y="5268969"/>
              <a:ext cx="666225" cy="510592"/>
              <a:chOff x="6142928" y="4501551"/>
              <a:chExt cx="931982" cy="714265"/>
            </a:xfrm>
          </p:grpSpPr>
          <p:sp>
            <p:nvSpPr>
              <p:cNvPr id="40" name="monitor">
                <a:extLst>
                  <a:ext uri="{FF2B5EF4-FFF2-40B4-BE49-F238E27FC236}">
                    <a16:creationId xmlns:a16="http://schemas.microsoft.com/office/drawing/2014/main" id="{A67C15BD-ACF8-4700-9B6C-F41AC773D3C0}"/>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1" name="TextBox 40">
                <a:extLst>
                  <a:ext uri="{FF2B5EF4-FFF2-40B4-BE49-F238E27FC236}">
                    <a16:creationId xmlns:a16="http://schemas.microsoft.com/office/drawing/2014/main" id="{E01B3162-5AFB-49E2-8465-E9F25E73C3D4}"/>
                  </a:ext>
                </a:extLst>
              </p:cNvPr>
              <p:cNvSpPr txBox="1"/>
              <p:nvPr/>
            </p:nvSpPr>
            <p:spPr>
              <a:xfrm>
                <a:off x="6413797" y="4645916"/>
                <a:ext cx="390242" cy="303669"/>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C</a:t>
                </a:r>
              </a:p>
            </p:txBody>
          </p:sp>
        </p:grpSp>
        <p:grpSp>
          <p:nvGrpSpPr>
            <p:cNvPr id="39" name="Group 38">
              <a:extLst>
                <a:ext uri="{FF2B5EF4-FFF2-40B4-BE49-F238E27FC236}">
                  <a16:creationId xmlns:a16="http://schemas.microsoft.com/office/drawing/2014/main" id="{86D9069F-D831-44B2-8DDF-86F5237C69A3}"/>
                </a:ext>
              </a:extLst>
            </p:cNvPr>
            <p:cNvGrpSpPr/>
            <p:nvPr/>
          </p:nvGrpSpPr>
          <p:grpSpPr>
            <a:xfrm>
              <a:off x="6077561" y="5273041"/>
              <a:ext cx="666225" cy="510592"/>
              <a:chOff x="7745277" y="4501551"/>
              <a:chExt cx="931982" cy="714265"/>
            </a:xfrm>
          </p:grpSpPr>
          <p:sp>
            <p:nvSpPr>
              <p:cNvPr id="148" name="monitor">
                <a:extLst>
                  <a:ext uri="{FF2B5EF4-FFF2-40B4-BE49-F238E27FC236}">
                    <a16:creationId xmlns:a16="http://schemas.microsoft.com/office/drawing/2014/main" id="{C8397FB3-A1F8-4668-89D1-84EC851B53D3}"/>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49" name="TextBox 148">
                <a:extLst>
                  <a:ext uri="{FF2B5EF4-FFF2-40B4-BE49-F238E27FC236}">
                    <a16:creationId xmlns:a16="http://schemas.microsoft.com/office/drawing/2014/main" id="{579AF27F-F66B-497A-9E4E-378FAAB21B47}"/>
                  </a:ext>
                </a:extLst>
              </p:cNvPr>
              <p:cNvSpPr txBox="1"/>
              <p:nvPr/>
            </p:nvSpPr>
            <p:spPr>
              <a:xfrm>
                <a:off x="8013904" y="4645916"/>
                <a:ext cx="394727" cy="303669"/>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V</a:t>
                </a:r>
              </a:p>
            </p:txBody>
          </p:sp>
        </p:grpSp>
        <p:grpSp>
          <p:nvGrpSpPr>
            <p:cNvPr id="96" name="Group 95">
              <a:extLst>
                <a:ext uri="{FF2B5EF4-FFF2-40B4-BE49-F238E27FC236}">
                  <a16:creationId xmlns:a16="http://schemas.microsoft.com/office/drawing/2014/main" id="{A179898E-E34B-4A92-AA56-15265D888197}"/>
                </a:ext>
              </a:extLst>
            </p:cNvPr>
            <p:cNvGrpSpPr/>
            <p:nvPr/>
          </p:nvGrpSpPr>
          <p:grpSpPr>
            <a:xfrm>
              <a:off x="7052285" y="5268969"/>
              <a:ext cx="666225" cy="510592"/>
              <a:chOff x="7745277" y="4501551"/>
              <a:chExt cx="931982" cy="714265"/>
            </a:xfrm>
          </p:grpSpPr>
          <p:sp>
            <p:nvSpPr>
              <p:cNvPr id="98" name="monitor">
                <a:extLst>
                  <a:ext uri="{FF2B5EF4-FFF2-40B4-BE49-F238E27FC236}">
                    <a16:creationId xmlns:a16="http://schemas.microsoft.com/office/drawing/2014/main" id="{2E405A3D-F214-443B-8C86-6A5F635A3A64}"/>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9" name="TextBox 98">
                <a:extLst>
                  <a:ext uri="{FF2B5EF4-FFF2-40B4-BE49-F238E27FC236}">
                    <a16:creationId xmlns:a16="http://schemas.microsoft.com/office/drawing/2014/main" id="{EFEE8AD0-AFF2-44CF-9327-F6D83C181BFE}"/>
                  </a:ext>
                </a:extLst>
              </p:cNvPr>
              <p:cNvSpPr txBox="1"/>
              <p:nvPr/>
            </p:nvSpPr>
            <p:spPr>
              <a:xfrm>
                <a:off x="8002691" y="4645916"/>
                <a:ext cx="417155" cy="303669"/>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D</a:t>
                </a:r>
              </a:p>
            </p:txBody>
          </p:sp>
        </p:grpSp>
        <p:grpSp>
          <p:nvGrpSpPr>
            <p:cNvPr id="89" name="Group 88">
              <a:extLst>
                <a:ext uri="{FF2B5EF4-FFF2-40B4-BE49-F238E27FC236}">
                  <a16:creationId xmlns:a16="http://schemas.microsoft.com/office/drawing/2014/main" id="{FFE5EA73-43F9-457F-B22A-A1BF5A3CD2A5}"/>
                </a:ext>
              </a:extLst>
            </p:cNvPr>
            <p:cNvGrpSpPr/>
            <p:nvPr/>
          </p:nvGrpSpPr>
          <p:grpSpPr>
            <a:xfrm>
              <a:off x="5106525" y="5268969"/>
              <a:ext cx="666225" cy="510592"/>
              <a:chOff x="7745277" y="4501551"/>
              <a:chExt cx="931982" cy="714265"/>
            </a:xfrm>
          </p:grpSpPr>
          <p:sp>
            <p:nvSpPr>
              <p:cNvPr id="90" name="monitor">
                <a:extLst>
                  <a:ext uri="{FF2B5EF4-FFF2-40B4-BE49-F238E27FC236}">
                    <a16:creationId xmlns:a16="http://schemas.microsoft.com/office/drawing/2014/main" id="{BEC4D020-19A3-45F2-BB21-74FC2D62B2D8}"/>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4" name="TextBox 93">
                <a:extLst>
                  <a:ext uri="{FF2B5EF4-FFF2-40B4-BE49-F238E27FC236}">
                    <a16:creationId xmlns:a16="http://schemas.microsoft.com/office/drawing/2014/main" id="{764E0ACC-61DD-48B8-8739-6A15A2DF2034}"/>
                  </a:ext>
                </a:extLst>
              </p:cNvPr>
              <p:cNvSpPr txBox="1"/>
              <p:nvPr/>
            </p:nvSpPr>
            <p:spPr>
              <a:xfrm>
                <a:off x="7865888" y="4645916"/>
                <a:ext cx="690769" cy="303669"/>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Cv2</a:t>
                </a:r>
              </a:p>
            </p:txBody>
          </p:sp>
        </p:grpSp>
        <p:sp>
          <p:nvSpPr>
            <p:cNvPr id="137" name="Rectangle 136">
              <a:extLst>
                <a:ext uri="{FF2B5EF4-FFF2-40B4-BE49-F238E27FC236}">
                  <a16:creationId xmlns:a16="http://schemas.microsoft.com/office/drawing/2014/main" id="{373A0F89-E22E-459F-955E-A37C1BC834E0}"/>
                </a:ext>
              </a:extLst>
            </p:cNvPr>
            <p:cNvSpPr/>
            <p:nvPr/>
          </p:nvSpPr>
          <p:spPr bwMode="auto">
            <a:xfrm>
              <a:off x="3897713" y="4930919"/>
              <a:ext cx="4030988" cy="1648796"/>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8" name="Rectangle 137">
              <a:extLst>
                <a:ext uri="{FF2B5EF4-FFF2-40B4-BE49-F238E27FC236}">
                  <a16:creationId xmlns:a16="http://schemas.microsoft.com/office/drawing/2014/main" id="{A40093AA-A97A-4CAE-8DAE-D4390136D362}"/>
                </a:ext>
              </a:extLst>
            </p:cNvPr>
            <p:cNvSpPr/>
            <p:nvPr/>
          </p:nvSpPr>
          <p:spPr bwMode="auto">
            <a:xfrm>
              <a:off x="4208243" y="4774972"/>
              <a:ext cx="1613792" cy="3306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1">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Graphics Intensive</a:t>
              </a:r>
            </a:p>
          </p:txBody>
        </p:sp>
        <p:grpSp>
          <p:nvGrpSpPr>
            <p:cNvPr id="42" name="Group 41">
              <a:extLst>
                <a:ext uri="{FF2B5EF4-FFF2-40B4-BE49-F238E27FC236}">
                  <a16:creationId xmlns:a16="http://schemas.microsoft.com/office/drawing/2014/main" id="{91694E46-4455-4486-A1C6-431896B423E8}"/>
                </a:ext>
              </a:extLst>
            </p:cNvPr>
            <p:cNvGrpSpPr/>
            <p:nvPr/>
          </p:nvGrpSpPr>
          <p:grpSpPr>
            <a:xfrm>
              <a:off x="3769836" y="4751535"/>
              <a:ext cx="439248" cy="439248"/>
              <a:chOff x="6171198" y="3604950"/>
              <a:chExt cx="365962" cy="365962"/>
            </a:xfrm>
          </p:grpSpPr>
          <p:sp>
            <p:nvSpPr>
              <p:cNvPr id="139" name="Oval 138">
                <a:extLst>
                  <a:ext uri="{FF2B5EF4-FFF2-40B4-BE49-F238E27FC236}">
                    <a16:creationId xmlns:a16="http://schemas.microsoft.com/office/drawing/2014/main" id="{29713A58-62C5-49ED-A3CC-52A92A2A0B5C}"/>
                  </a:ext>
                </a:extLst>
              </p:cNvPr>
              <p:cNvSpPr/>
              <p:nvPr/>
            </p:nvSpPr>
            <p:spPr bwMode="auto">
              <a:xfrm>
                <a:off x="6171198" y="3604950"/>
                <a:ext cx="365962" cy="365962"/>
              </a:xfrm>
              <a:prstGeom prst="ellipse">
                <a:avLst/>
              </a:prstGeom>
              <a:solidFill>
                <a:schemeClr val="bg1">
                  <a:lumMod val="95000"/>
                </a:schemeClr>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5" name="PhotoCollection_E7AA">
                <a:extLst>
                  <a:ext uri="{FF2B5EF4-FFF2-40B4-BE49-F238E27FC236}">
                    <a16:creationId xmlns:a16="http://schemas.microsoft.com/office/drawing/2014/main" id="{E8131ADA-6A4F-48DA-801D-162642A29FF8}"/>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grpSp>
        <p:grpSp>
          <p:nvGrpSpPr>
            <p:cNvPr id="35" name="Group 34">
              <a:extLst>
                <a:ext uri="{FF2B5EF4-FFF2-40B4-BE49-F238E27FC236}">
                  <a16:creationId xmlns:a16="http://schemas.microsoft.com/office/drawing/2014/main" id="{51D82792-1672-43E6-85B0-87A18FFD6748}"/>
                </a:ext>
              </a:extLst>
            </p:cNvPr>
            <p:cNvGrpSpPr/>
            <p:nvPr/>
          </p:nvGrpSpPr>
          <p:grpSpPr>
            <a:xfrm>
              <a:off x="8699244" y="5269980"/>
              <a:ext cx="666225" cy="510592"/>
              <a:chOff x="10648898" y="3898203"/>
              <a:chExt cx="865582" cy="663377"/>
            </a:xfrm>
          </p:grpSpPr>
          <p:sp>
            <p:nvSpPr>
              <p:cNvPr id="48" name="monitor">
                <a:extLst>
                  <a:ext uri="{FF2B5EF4-FFF2-40B4-BE49-F238E27FC236}">
                    <a16:creationId xmlns:a16="http://schemas.microsoft.com/office/drawing/2014/main" id="{17264BFB-5F0C-438A-A2F9-3631239BF5FC}"/>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algn="ct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9" name="TextBox 48">
                <a:extLst>
                  <a:ext uri="{FF2B5EF4-FFF2-40B4-BE49-F238E27FC236}">
                    <a16:creationId xmlns:a16="http://schemas.microsoft.com/office/drawing/2014/main" id="{FBE6CE31-D8DD-4A10-9CC8-D7815FDCFE84}"/>
                  </a:ext>
                </a:extLst>
              </p:cNvPr>
              <p:cNvSpPr txBox="1"/>
              <p:nvPr/>
            </p:nvSpPr>
            <p:spPr>
              <a:xfrm>
                <a:off x="10985873" y="4032282"/>
                <a:ext cx="191633" cy="282034"/>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H</a:t>
                </a:r>
              </a:p>
            </p:txBody>
          </p:sp>
        </p:grpSp>
        <p:sp>
          <p:nvSpPr>
            <p:cNvPr id="140" name="Rectangle 139">
              <a:extLst>
                <a:ext uri="{FF2B5EF4-FFF2-40B4-BE49-F238E27FC236}">
                  <a16:creationId xmlns:a16="http://schemas.microsoft.com/office/drawing/2014/main" id="{1A0B5ADC-F2CC-46BB-8C3E-17EBFF91BB0C}"/>
                </a:ext>
              </a:extLst>
            </p:cNvPr>
            <p:cNvSpPr/>
            <p:nvPr/>
          </p:nvSpPr>
          <p:spPr bwMode="auto">
            <a:xfrm>
              <a:off x="8251051" y="4930919"/>
              <a:ext cx="1562611" cy="952709"/>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310A8B0B-B5A0-41F6-8BF6-D9EE52AA85A2}"/>
                </a:ext>
              </a:extLst>
            </p:cNvPr>
            <p:cNvSpPr/>
            <p:nvPr/>
          </p:nvSpPr>
          <p:spPr bwMode="auto">
            <a:xfrm>
              <a:off x="8485259" y="4545777"/>
              <a:ext cx="1237158" cy="680012"/>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371">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High Performance Computing</a:t>
              </a:r>
            </a:p>
          </p:txBody>
        </p:sp>
        <p:grpSp>
          <p:nvGrpSpPr>
            <p:cNvPr id="46" name="Group 45">
              <a:extLst>
                <a:ext uri="{FF2B5EF4-FFF2-40B4-BE49-F238E27FC236}">
                  <a16:creationId xmlns:a16="http://schemas.microsoft.com/office/drawing/2014/main" id="{5CDE32C4-026E-4E62-8E5A-0A84C30A83E5}"/>
                </a:ext>
              </a:extLst>
            </p:cNvPr>
            <p:cNvGrpSpPr/>
            <p:nvPr/>
          </p:nvGrpSpPr>
          <p:grpSpPr>
            <a:xfrm>
              <a:off x="8131877" y="4751535"/>
              <a:ext cx="439248" cy="439248"/>
              <a:chOff x="10597494" y="3613307"/>
              <a:chExt cx="365962" cy="365962"/>
            </a:xfrm>
          </p:grpSpPr>
          <p:sp>
            <p:nvSpPr>
              <p:cNvPr id="142" name="Oval 141">
                <a:extLst>
                  <a:ext uri="{FF2B5EF4-FFF2-40B4-BE49-F238E27FC236}">
                    <a16:creationId xmlns:a16="http://schemas.microsoft.com/office/drawing/2014/main" id="{AB96351C-E266-4535-80E7-7F999A99E57B}"/>
                  </a:ext>
                </a:extLst>
              </p:cNvPr>
              <p:cNvSpPr/>
              <p:nvPr/>
            </p:nvSpPr>
            <p:spPr bwMode="auto">
              <a:xfrm>
                <a:off x="10597494" y="3613307"/>
                <a:ext cx="365962" cy="365962"/>
              </a:xfrm>
              <a:prstGeom prst="ellipse">
                <a:avLst/>
              </a:prstGeom>
              <a:solidFill>
                <a:schemeClr val="bg1">
                  <a:lumMod val="95000"/>
                </a:schemeClr>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6" name="LightningBolt_E945">
                <a:extLst>
                  <a:ext uri="{FF2B5EF4-FFF2-40B4-BE49-F238E27FC236}">
                    <a16:creationId xmlns:a16="http://schemas.microsoft.com/office/drawing/2014/main" id="{CE3DB5B6-6A67-44DF-847D-497C5A479C76}"/>
                  </a:ext>
                </a:extLst>
              </p:cNvPr>
              <p:cNvSpPr>
                <a:spLocks noChangeAspect="1"/>
              </p:cNvSpPr>
              <p:nvPr/>
            </p:nvSpPr>
            <p:spPr bwMode="auto">
              <a:xfrm>
                <a:off x="10703682" y="3689125"/>
                <a:ext cx="153587" cy="21432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lin ang="5400000" scaled="1"/>
                  </a:gradFill>
                  <a:latin typeface="Segoe UI Semilight"/>
                </a:endParaRPr>
              </a:p>
            </p:txBody>
          </p:sp>
        </p:grpSp>
        <p:grpSp>
          <p:nvGrpSpPr>
            <p:cNvPr id="54" name="Group 53">
              <a:extLst>
                <a:ext uri="{FF2B5EF4-FFF2-40B4-BE49-F238E27FC236}">
                  <a16:creationId xmlns:a16="http://schemas.microsoft.com/office/drawing/2014/main" id="{7ACF25C7-D4FD-4A0E-8DAD-0B235EE3ECB4}"/>
                </a:ext>
              </a:extLst>
            </p:cNvPr>
            <p:cNvGrpSpPr/>
            <p:nvPr/>
          </p:nvGrpSpPr>
          <p:grpSpPr>
            <a:xfrm>
              <a:off x="9991475" y="4699941"/>
              <a:ext cx="1763124" cy="1183687"/>
              <a:chOff x="10191825" y="4376569"/>
              <a:chExt cx="1798478" cy="1207422"/>
            </a:xfrm>
          </p:grpSpPr>
          <p:grpSp>
            <p:nvGrpSpPr>
              <p:cNvPr id="61" name="Group 60">
                <a:extLst>
                  <a:ext uri="{FF2B5EF4-FFF2-40B4-BE49-F238E27FC236}">
                    <a16:creationId xmlns:a16="http://schemas.microsoft.com/office/drawing/2014/main" id="{000903FB-CFD8-45F0-A2C4-61FFCE347BB1}"/>
                  </a:ext>
                </a:extLst>
              </p:cNvPr>
              <p:cNvGrpSpPr/>
              <p:nvPr/>
            </p:nvGrpSpPr>
            <p:grpSpPr>
              <a:xfrm>
                <a:off x="10820931" y="4945353"/>
                <a:ext cx="679584" cy="520830"/>
                <a:chOff x="5869960" y="5545901"/>
                <a:chExt cx="679584" cy="520830"/>
              </a:xfrm>
            </p:grpSpPr>
            <p:sp>
              <p:nvSpPr>
                <p:cNvPr id="111" name="monitor">
                  <a:extLst>
                    <a:ext uri="{FF2B5EF4-FFF2-40B4-BE49-F238E27FC236}">
                      <a16:creationId xmlns:a16="http://schemas.microsoft.com/office/drawing/2014/main" id="{1379313F-4AAD-491A-9F67-5FFB7FBC24BB}"/>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2" name="TextBox 91">
                  <a:extLst>
                    <a:ext uri="{FF2B5EF4-FFF2-40B4-BE49-F238E27FC236}">
                      <a16:creationId xmlns:a16="http://schemas.microsoft.com/office/drawing/2014/main" id="{516B2FAA-2B8E-47CE-B17B-432CBCDF48A8}"/>
                    </a:ext>
                  </a:extLst>
                </p:cNvPr>
                <p:cNvSpPr txBox="1"/>
                <p:nvPr/>
              </p:nvSpPr>
              <p:spPr>
                <a:xfrm>
                  <a:off x="6060810" y="5784177"/>
                  <a:ext cx="454636" cy="166024"/>
                </a:xfrm>
                <a:prstGeom prst="rect">
                  <a:avLst/>
                </a:prstGeom>
                <a:noFill/>
              </p:spPr>
              <p:txBody>
                <a:bodyPr wrap="none" lIns="0" tIns="0" rIns="0" bIns="0" rtlCol="0">
                  <a:spAutoFit/>
                </a:bodyPr>
                <a:lstStyle/>
                <a:p>
                  <a:pPr defTabSz="914192">
                    <a:lnSpc>
                      <a:spcPct val="90000"/>
                    </a:lnSpc>
                    <a:spcAft>
                      <a:spcPts val="588"/>
                    </a:spcAft>
                    <a:defRPr/>
                  </a:pPr>
                  <a:r>
                    <a:rPr lang="en-US" sz="1175" b="1">
                      <a:gradFill>
                        <a:gsLst>
                          <a:gs pos="2917">
                            <a:srgbClr val="353535"/>
                          </a:gs>
                          <a:gs pos="30000">
                            <a:srgbClr val="353535"/>
                          </a:gs>
                        </a:gsLst>
                        <a:lin ang="5400000" scaled="0"/>
                      </a:gradFill>
                      <a:latin typeface="Segoe Pro Display" panose="020B0502040504020203" pitchFamily="34" charset="0"/>
                    </a:rPr>
                    <a:t>HANA</a:t>
                  </a:r>
                </a:p>
              </p:txBody>
            </p:sp>
            <p:pic>
              <p:nvPicPr>
                <p:cNvPr id="91" name="Picture 90">
                  <a:extLst>
                    <a:ext uri="{FF2B5EF4-FFF2-40B4-BE49-F238E27FC236}">
                      <a16:creationId xmlns:a16="http://schemas.microsoft.com/office/drawing/2014/main" id="{9221AE02-5304-4C08-8EA3-6097D1B68732}"/>
                    </a:ext>
                  </a:extLst>
                </p:cNvPr>
                <p:cNvPicPr>
                  <a:picLocks noChangeAspect="1"/>
                </p:cNvPicPr>
                <p:nvPr/>
              </p:nvPicPr>
              <p:blipFill>
                <a:blip r:embed="rId3">
                  <a:duotone>
                    <a:prstClr val="black"/>
                    <a:schemeClr val="accent5">
                      <a:tint val="45000"/>
                      <a:satMod val="400000"/>
                    </a:schemeClr>
                  </a:duotone>
                  <a:lum bright="-40000" contrast="-20000"/>
                </a:blip>
                <a:stretch>
                  <a:fillRect/>
                </a:stretch>
              </p:blipFill>
              <p:spPr>
                <a:xfrm>
                  <a:off x="5882976" y="5557562"/>
                  <a:ext cx="454324" cy="224640"/>
                </a:xfrm>
                <a:prstGeom prst="rect">
                  <a:avLst/>
                </a:prstGeom>
              </p:spPr>
            </p:pic>
          </p:grpSp>
          <p:sp>
            <p:nvSpPr>
              <p:cNvPr id="143" name="Rectangle 142">
                <a:extLst>
                  <a:ext uri="{FF2B5EF4-FFF2-40B4-BE49-F238E27FC236}">
                    <a16:creationId xmlns:a16="http://schemas.microsoft.com/office/drawing/2014/main" id="{2D9A3EA9-4BE5-466F-9555-F576EA515941}"/>
                  </a:ext>
                </a:extLst>
              </p:cNvPr>
              <p:cNvSpPr/>
              <p:nvPr/>
            </p:nvSpPr>
            <p:spPr bwMode="auto">
              <a:xfrm>
                <a:off x="10331144" y="4606261"/>
                <a:ext cx="165915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CE1A12F1-4D4F-4DFA-8B7D-AFD35EBB6602}"/>
                  </a:ext>
                </a:extLst>
              </p:cNvPr>
              <p:cNvSpPr/>
              <p:nvPr/>
            </p:nvSpPr>
            <p:spPr bwMode="auto">
              <a:xfrm>
                <a:off x="10539833" y="4376569"/>
                <a:ext cx="1330683" cy="516817"/>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0" rIns="0" bIns="0"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371">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urpose-built SAP HANA</a:t>
                </a:r>
              </a:p>
            </p:txBody>
          </p:sp>
          <p:grpSp>
            <p:nvGrpSpPr>
              <p:cNvPr id="50" name="Group 49">
                <a:extLst>
                  <a:ext uri="{FF2B5EF4-FFF2-40B4-BE49-F238E27FC236}">
                    <a16:creationId xmlns:a16="http://schemas.microsoft.com/office/drawing/2014/main" id="{157EABF0-E004-472D-8921-AA8DB6D2FDAE}"/>
                  </a:ext>
                </a:extLst>
              </p:cNvPr>
              <p:cNvGrpSpPr/>
              <p:nvPr/>
            </p:nvGrpSpPr>
            <p:grpSpPr>
              <a:xfrm>
                <a:off x="10191825" y="4423280"/>
                <a:ext cx="448056" cy="448056"/>
                <a:chOff x="5303955" y="5210715"/>
                <a:chExt cx="365962" cy="365962"/>
              </a:xfrm>
            </p:grpSpPr>
            <p:sp>
              <p:nvSpPr>
                <p:cNvPr id="145" name="Oval 144">
                  <a:extLst>
                    <a:ext uri="{FF2B5EF4-FFF2-40B4-BE49-F238E27FC236}">
                      <a16:creationId xmlns:a16="http://schemas.microsoft.com/office/drawing/2014/main" id="{135E046B-A8BB-469F-B208-E845631AFB58}"/>
                    </a:ext>
                  </a:extLst>
                </p:cNvPr>
                <p:cNvSpPr/>
                <p:nvPr/>
              </p:nvSpPr>
              <p:spPr bwMode="auto">
                <a:xfrm>
                  <a:off x="5303955" y="5210715"/>
                  <a:ext cx="365962" cy="365962"/>
                </a:xfrm>
                <a:prstGeom prst="ellipse">
                  <a:avLst/>
                </a:prstGeom>
                <a:solidFill>
                  <a:schemeClr val="bg1">
                    <a:lumMod val="95000"/>
                  </a:schemeClr>
                </a:solid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7" name="Browser_4">
                  <a:extLst>
                    <a:ext uri="{FF2B5EF4-FFF2-40B4-BE49-F238E27FC236}">
                      <a16:creationId xmlns:a16="http://schemas.microsoft.com/office/drawing/2014/main" id="{45F40AE8-3482-47E9-8EFF-3971BDE1290C}"/>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grpSp>
        </p:grpSp>
        <p:grpSp>
          <p:nvGrpSpPr>
            <p:cNvPr id="120" name="Group 119">
              <a:extLst>
                <a:ext uri="{FF2B5EF4-FFF2-40B4-BE49-F238E27FC236}">
                  <a16:creationId xmlns:a16="http://schemas.microsoft.com/office/drawing/2014/main" id="{724B8B61-385E-4EE4-B4BF-512FD2FBD428}"/>
                </a:ext>
              </a:extLst>
            </p:cNvPr>
            <p:cNvGrpSpPr/>
            <p:nvPr/>
          </p:nvGrpSpPr>
          <p:grpSpPr>
            <a:xfrm>
              <a:off x="5106525" y="5914121"/>
              <a:ext cx="666225" cy="510592"/>
              <a:chOff x="7745277" y="4501551"/>
              <a:chExt cx="931982" cy="714265"/>
            </a:xfrm>
          </p:grpSpPr>
          <p:sp>
            <p:nvSpPr>
              <p:cNvPr id="123" name="monitor">
                <a:extLst>
                  <a:ext uri="{FF2B5EF4-FFF2-40B4-BE49-F238E27FC236}">
                    <a16:creationId xmlns:a16="http://schemas.microsoft.com/office/drawing/2014/main" id="{D57B8330-7F3B-419F-94AE-1626B4310006}"/>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24" name="TextBox 123">
                <a:extLst>
                  <a:ext uri="{FF2B5EF4-FFF2-40B4-BE49-F238E27FC236}">
                    <a16:creationId xmlns:a16="http://schemas.microsoft.com/office/drawing/2014/main" id="{A1660B41-3728-415F-AE3D-F81284ED95BE}"/>
                  </a:ext>
                </a:extLst>
              </p:cNvPr>
              <p:cNvSpPr txBox="1"/>
              <p:nvPr/>
            </p:nvSpPr>
            <p:spPr>
              <a:xfrm>
                <a:off x="7865888" y="4645916"/>
                <a:ext cx="690769" cy="303669"/>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Cv3</a:t>
                </a:r>
              </a:p>
            </p:txBody>
          </p:sp>
        </p:grpSp>
        <p:grpSp>
          <p:nvGrpSpPr>
            <p:cNvPr id="125" name="Group 124">
              <a:extLst>
                <a:ext uri="{FF2B5EF4-FFF2-40B4-BE49-F238E27FC236}">
                  <a16:creationId xmlns:a16="http://schemas.microsoft.com/office/drawing/2014/main" id="{02BBFFCB-1988-4DE9-BB9C-A9C12D0A6705}"/>
                </a:ext>
              </a:extLst>
            </p:cNvPr>
            <p:cNvGrpSpPr/>
            <p:nvPr/>
          </p:nvGrpSpPr>
          <p:grpSpPr>
            <a:xfrm>
              <a:off x="7055882" y="5899621"/>
              <a:ext cx="666225" cy="510592"/>
              <a:chOff x="7745277" y="4501551"/>
              <a:chExt cx="931982" cy="714265"/>
            </a:xfrm>
          </p:grpSpPr>
          <p:sp>
            <p:nvSpPr>
              <p:cNvPr id="128" name="monitor">
                <a:extLst>
                  <a:ext uri="{FF2B5EF4-FFF2-40B4-BE49-F238E27FC236}">
                    <a16:creationId xmlns:a16="http://schemas.microsoft.com/office/drawing/2014/main" id="{340E48D0-A503-4546-A776-9B0073B3AD4D}"/>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58" name="TextBox 157">
                <a:extLst>
                  <a:ext uri="{FF2B5EF4-FFF2-40B4-BE49-F238E27FC236}">
                    <a16:creationId xmlns:a16="http://schemas.microsoft.com/office/drawing/2014/main" id="{C657BA14-C068-4F45-AD61-29E07F4ED879}"/>
                  </a:ext>
                </a:extLst>
              </p:cNvPr>
              <p:cNvSpPr txBox="1"/>
              <p:nvPr/>
            </p:nvSpPr>
            <p:spPr>
              <a:xfrm>
                <a:off x="7852428" y="4645916"/>
                <a:ext cx="717682" cy="303669"/>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Dv2</a:t>
                </a:r>
              </a:p>
            </p:txBody>
          </p:sp>
        </p:grpSp>
        <p:grpSp>
          <p:nvGrpSpPr>
            <p:cNvPr id="160" name="Group 159">
              <a:extLst>
                <a:ext uri="{FF2B5EF4-FFF2-40B4-BE49-F238E27FC236}">
                  <a16:creationId xmlns:a16="http://schemas.microsoft.com/office/drawing/2014/main" id="{67E55462-AFCA-4D0D-B14A-385507B92037}"/>
                </a:ext>
              </a:extLst>
            </p:cNvPr>
            <p:cNvGrpSpPr/>
            <p:nvPr/>
          </p:nvGrpSpPr>
          <p:grpSpPr>
            <a:xfrm>
              <a:off x="6119953" y="5892048"/>
              <a:ext cx="666225" cy="510592"/>
              <a:chOff x="7745277" y="4501551"/>
              <a:chExt cx="931982" cy="714265"/>
            </a:xfrm>
          </p:grpSpPr>
          <p:sp>
            <p:nvSpPr>
              <p:cNvPr id="161" name="monitor">
                <a:extLst>
                  <a:ext uri="{FF2B5EF4-FFF2-40B4-BE49-F238E27FC236}">
                    <a16:creationId xmlns:a16="http://schemas.microsoft.com/office/drawing/2014/main" id="{5B41F83C-38ED-49C6-BC3D-18A13891C70B}"/>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56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62" name="TextBox 161">
                <a:extLst>
                  <a:ext uri="{FF2B5EF4-FFF2-40B4-BE49-F238E27FC236}">
                    <a16:creationId xmlns:a16="http://schemas.microsoft.com/office/drawing/2014/main" id="{CB263E0C-17A1-4A13-ACE2-1F4E8F700B3D}"/>
                  </a:ext>
                </a:extLst>
              </p:cNvPr>
              <p:cNvSpPr txBox="1"/>
              <p:nvPr/>
            </p:nvSpPr>
            <p:spPr>
              <a:xfrm>
                <a:off x="7863639" y="4645916"/>
                <a:ext cx="695255" cy="303669"/>
              </a:xfrm>
              <a:prstGeom prst="rect">
                <a:avLst/>
              </a:prstGeom>
              <a:noFill/>
            </p:spPr>
            <p:txBody>
              <a:bodyPr wrap="none" lIns="0" tIns="0" rIns="0" bIns="0" rtlCol="0">
                <a:spAutoFit/>
              </a:bodyPr>
              <a:lstStyle/>
              <a:p>
                <a:pPr algn="ctr" defTabSz="914192">
                  <a:lnSpc>
                    <a:spcPct val="90000"/>
                  </a:lnSpc>
                  <a:spcAft>
                    <a:spcPts val="588"/>
                  </a:spcAft>
                  <a:defRPr/>
                </a:pPr>
                <a:r>
                  <a:rPr lang="en-US" sz="1567" b="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Vv2</a:t>
                </a:r>
              </a:p>
            </p:txBody>
          </p:sp>
        </p:grpSp>
      </p:grpSp>
    </p:spTree>
    <p:extLst>
      <p:ext uri="{BB962C8B-B14F-4D97-AF65-F5344CB8AC3E}">
        <p14:creationId xmlns:p14="http://schemas.microsoft.com/office/powerpoint/2010/main" val="3887879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6048E-6 -1.87926E-6 L 0.07161 -1.87926E-6 " pathEditMode="relative" rAng="0" ptsTypes="AA">
                                      <p:cBhvr>
                                        <p:cTn id="9" dur="750" spd="-100000" fill="hold"/>
                                        <p:tgtEl>
                                          <p:spTgt spid="2"/>
                                        </p:tgtEl>
                                        <p:attrNameLst>
                                          <p:attrName>ppt_x</p:attrName>
                                          <p:attrName>ppt_y</p:attrName>
                                        </p:attrNameLst>
                                      </p:cBhvr>
                                      <p:rCtr x="35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7D922-1C43-4EB4-8483-0E13F93CE44A}"/>
              </a:ext>
            </a:extLst>
          </p:cNvPr>
          <p:cNvSpPr>
            <a:spLocks noGrp="1"/>
          </p:cNvSpPr>
          <p:nvPr>
            <p:ph type="title" idx="4294967295"/>
          </p:nvPr>
        </p:nvSpPr>
        <p:spPr>
          <a:xfrm>
            <a:off x="0" y="365125"/>
            <a:ext cx="10515600" cy="792163"/>
          </a:xfrm>
        </p:spPr>
        <p:txBody>
          <a:bodyPr/>
          <a:lstStyle/>
          <a:p>
            <a:r>
              <a:rPr lang="en-US"/>
              <a:t>Blob Storage | </a:t>
            </a:r>
            <a:r>
              <a:rPr lang="en-US" b="1"/>
              <a:t>Overview</a:t>
            </a:r>
          </a:p>
        </p:txBody>
      </p:sp>
      <p:sp>
        <p:nvSpPr>
          <p:cNvPr id="3" name="Text Placeholder 2">
            <a:extLst>
              <a:ext uri="{FF2B5EF4-FFF2-40B4-BE49-F238E27FC236}">
                <a16:creationId xmlns:a16="http://schemas.microsoft.com/office/drawing/2014/main" id="{C2E207EA-4016-4CD0-9388-50627972F531}"/>
              </a:ext>
            </a:extLst>
          </p:cNvPr>
          <p:cNvSpPr>
            <a:spLocks noGrp="1"/>
          </p:cNvSpPr>
          <p:nvPr>
            <p:ph type="body" sz="quarter" idx="4294967295"/>
          </p:nvPr>
        </p:nvSpPr>
        <p:spPr>
          <a:xfrm>
            <a:off x="5722938" y="1146175"/>
            <a:ext cx="6469062" cy="2449513"/>
          </a:xfrm>
        </p:spPr>
        <p:txBody>
          <a:bodyPr/>
          <a:lstStyle/>
          <a:p>
            <a:r>
              <a:rPr lang="en-US"/>
              <a:t>Foundational service for Azure</a:t>
            </a:r>
          </a:p>
          <a:p>
            <a:r>
              <a:rPr lang="en-US"/>
              <a:t>Azure’s Object Storage platform</a:t>
            </a:r>
          </a:p>
          <a:p>
            <a:r>
              <a:rPr lang="en-US"/>
              <a:t>Store and serve EB of (un)structured data</a:t>
            </a:r>
          </a:p>
          <a:p>
            <a:r>
              <a:rPr lang="en-US"/>
              <a:t>Broad integration across Azure services</a:t>
            </a:r>
          </a:p>
          <a:p>
            <a:endParaRPr lang="en-US"/>
          </a:p>
        </p:txBody>
      </p:sp>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50EF5271-5D56-4554-A72B-2460C2FB20E9}"/>
                  </a:ext>
                </a:extLst>
              </p:cNvPr>
              <p:cNvGraphicFramePr/>
              <p:nvPr/>
            </p:nvGraphicFramePr>
            <p:xfrm>
              <a:off x="-96989" y="1210703"/>
              <a:ext cx="5894224" cy="5654105"/>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4" name="Chart 3">
                <a:extLst>
                  <a:ext uri="{FF2B5EF4-FFF2-40B4-BE49-F238E27FC236}">
                    <a16:creationId xmlns:a16="http://schemas.microsoft.com/office/drawing/2014/main" id="{50EF5271-5D56-4554-A72B-2460C2FB20E9}"/>
                  </a:ext>
                </a:extLst>
              </p:cNvPr>
              <p:cNvPicPr>
                <a:picLocks noGrp="1" noRot="1" noChangeAspect="1" noMove="1" noResize="1" noEditPoints="1" noAdjustHandles="1" noChangeArrowheads="1" noChangeShapeType="1"/>
              </p:cNvPicPr>
              <p:nvPr/>
            </p:nvPicPr>
            <p:blipFill>
              <a:blip r:embed="rId4"/>
              <a:stretch>
                <a:fillRect/>
              </a:stretch>
            </p:blipFill>
            <p:spPr>
              <a:xfrm>
                <a:off x="-96989" y="1210703"/>
                <a:ext cx="5894224" cy="5654105"/>
              </a:xfrm>
              <a:prstGeom prst="rect">
                <a:avLst/>
              </a:prstGeom>
            </p:spPr>
          </p:pic>
        </mc:Fallback>
      </mc:AlternateContent>
      <p:sp>
        <p:nvSpPr>
          <p:cNvPr id="5" name="Oval 4">
            <a:extLst>
              <a:ext uri="{FF2B5EF4-FFF2-40B4-BE49-F238E27FC236}">
                <a16:creationId xmlns:a16="http://schemas.microsoft.com/office/drawing/2014/main" id="{82E94BA2-48F4-4475-A0FB-330AFB4AE7FE}"/>
              </a:ext>
            </a:extLst>
          </p:cNvPr>
          <p:cNvSpPr/>
          <p:nvPr/>
        </p:nvSpPr>
        <p:spPr bwMode="auto">
          <a:xfrm>
            <a:off x="1958511" y="3135485"/>
            <a:ext cx="1783224" cy="178734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567">
                <a:solidFill>
                  <a:srgbClr val="2F2F2F"/>
                </a:solidFill>
                <a:latin typeface="Segoe UI Semibold" panose="020B0702040204020203" pitchFamily="34" charset="0"/>
                <a:ea typeface="Segoe UI" pitchFamily="34" charset="0"/>
                <a:cs typeface="Segoe UI Semibold" panose="020B0702040204020203" pitchFamily="34" charset="0"/>
              </a:rPr>
              <a:t>Blob Storage</a:t>
            </a:r>
          </a:p>
        </p:txBody>
      </p:sp>
      <p:sp>
        <p:nvSpPr>
          <p:cNvPr id="7" name="Rounded Rectangle 8">
            <a:extLst>
              <a:ext uri="{FF2B5EF4-FFF2-40B4-BE49-F238E27FC236}">
                <a16:creationId xmlns:a16="http://schemas.microsoft.com/office/drawing/2014/main" id="{0E0311A4-812E-4FE6-B347-B08D6C647F5F}"/>
              </a:ext>
            </a:extLst>
          </p:cNvPr>
          <p:cNvSpPr/>
          <p:nvPr/>
        </p:nvSpPr>
        <p:spPr bwMode="auto">
          <a:xfrm>
            <a:off x="5880738" y="3313818"/>
            <a:ext cx="5894224" cy="563333"/>
          </a:xfrm>
          <a:prstGeom prst="roundRect">
            <a:avLst/>
          </a:prstGeom>
          <a:solidFill>
            <a:srgbClr val="0078D4"/>
          </a:solidFill>
          <a:ln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53778" rIns="134445" bIns="53778"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765" dirty="0">
                <a:solidFill>
                  <a:srgbClr val="FFFFFF"/>
                </a:solidFill>
                <a:latin typeface="Segoe UI"/>
                <a:ea typeface="Segoe UI" pitchFamily="34" charset="0"/>
                <a:cs typeface="Segoe UI" pitchFamily="34" charset="0"/>
              </a:rPr>
              <a:t>Durable &amp; Available</a:t>
            </a:r>
          </a:p>
        </p:txBody>
      </p:sp>
      <p:sp>
        <p:nvSpPr>
          <p:cNvPr id="17" name="Rounded Rectangle 8">
            <a:extLst>
              <a:ext uri="{FF2B5EF4-FFF2-40B4-BE49-F238E27FC236}">
                <a16:creationId xmlns:a16="http://schemas.microsoft.com/office/drawing/2014/main" id="{A7DE70AE-2D11-4162-946F-811468309BE2}"/>
              </a:ext>
            </a:extLst>
          </p:cNvPr>
          <p:cNvSpPr/>
          <p:nvPr/>
        </p:nvSpPr>
        <p:spPr bwMode="auto">
          <a:xfrm>
            <a:off x="5880738" y="3951840"/>
            <a:ext cx="5894224" cy="563333"/>
          </a:xfrm>
          <a:prstGeom prst="roundRect">
            <a:avLst/>
          </a:prstGeom>
          <a:solidFill>
            <a:srgbClr val="0078D4"/>
          </a:solidFill>
          <a:ln cap="flat">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53778" rIns="134445" bIns="53778"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765">
                <a:solidFill>
                  <a:srgbClr val="FFFFFF"/>
                </a:solidFill>
                <a:latin typeface="Segoe UI"/>
                <a:ea typeface="Segoe UI" pitchFamily="34" charset="0"/>
                <a:cs typeface="Segoe UI" pitchFamily="34" charset="0"/>
              </a:rPr>
              <a:t>Secure &amp; Compliant</a:t>
            </a:r>
          </a:p>
        </p:txBody>
      </p:sp>
      <p:sp>
        <p:nvSpPr>
          <p:cNvPr id="19" name="Rounded Rectangle 8">
            <a:extLst>
              <a:ext uri="{FF2B5EF4-FFF2-40B4-BE49-F238E27FC236}">
                <a16:creationId xmlns:a16="http://schemas.microsoft.com/office/drawing/2014/main" id="{2B91849D-D96F-4C70-8965-7A7D9A91FA5B}"/>
              </a:ext>
            </a:extLst>
          </p:cNvPr>
          <p:cNvSpPr/>
          <p:nvPr/>
        </p:nvSpPr>
        <p:spPr bwMode="auto">
          <a:xfrm>
            <a:off x="5880738" y="4589865"/>
            <a:ext cx="5894224" cy="563333"/>
          </a:xfrm>
          <a:prstGeom prst="roundRect">
            <a:avLst/>
          </a:prstGeom>
          <a:solidFill>
            <a:srgbClr val="0078D4"/>
          </a:solidFill>
          <a:ln cap="flat">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53778" rIns="134445" bIns="53778"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765">
                <a:solidFill>
                  <a:srgbClr val="FFFFFF"/>
                </a:solidFill>
                <a:latin typeface="Segoe UI"/>
                <a:ea typeface="Segoe UI" pitchFamily="34" charset="0"/>
                <a:cs typeface="Segoe UI" pitchFamily="34" charset="0"/>
              </a:rPr>
              <a:t>Scalable &amp; Performant</a:t>
            </a:r>
          </a:p>
        </p:txBody>
      </p:sp>
      <p:sp>
        <p:nvSpPr>
          <p:cNvPr id="21" name="Rounded Rectangle 8">
            <a:extLst>
              <a:ext uri="{FF2B5EF4-FFF2-40B4-BE49-F238E27FC236}">
                <a16:creationId xmlns:a16="http://schemas.microsoft.com/office/drawing/2014/main" id="{26D8FCA9-F742-41C5-B9CC-D76A66A0970E}"/>
              </a:ext>
            </a:extLst>
          </p:cNvPr>
          <p:cNvSpPr/>
          <p:nvPr/>
        </p:nvSpPr>
        <p:spPr bwMode="auto">
          <a:xfrm>
            <a:off x="5880738" y="5227887"/>
            <a:ext cx="5894224" cy="563333"/>
          </a:xfrm>
          <a:prstGeom prst="roundRect">
            <a:avLst/>
          </a:prstGeom>
          <a:solidFill>
            <a:srgbClr val="0078D4"/>
          </a:solidFill>
          <a:ln cap="flat">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53778" rIns="134445" bIns="53778"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765">
                <a:solidFill>
                  <a:srgbClr val="FFFFFF"/>
                </a:solidFill>
                <a:latin typeface="Segoe UI"/>
                <a:ea typeface="Segoe UI" pitchFamily="34" charset="0"/>
                <a:cs typeface="Segoe UI" pitchFamily="34" charset="0"/>
              </a:rPr>
              <a:t>Open &amp; Interoperable</a:t>
            </a:r>
          </a:p>
        </p:txBody>
      </p:sp>
      <p:sp>
        <p:nvSpPr>
          <p:cNvPr id="23" name="Rounded Rectangle 8">
            <a:extLst>
              <a:ext uri="{FF2B5EF4-FFF2-40B4-BE49-F238E27FC236}">
                <a16:creationId xmlns:a16="http://schemas.microsoft.com/office/drawing/2014/main" id="{1139CE5B-3576-4681-85EC-8B2CB5619B57}"/>
              </a:ext>
            </a:extLst>
          </p:cNvPr>
          <p:cNvSpPr/>
          <p:nvPr/>
        </p:nvSpPr>
        <p:spPr bwMode="auto">
          <a:xfrm>
            <a:off x="5880738" y="5865910"/>
            <a:ext cx="5894224" cy="563333"/>
          </a:xfrm>
          <a:prstGeom prst="roundRect">
            <a:avLst/>
          </a:prstGeom>
          <a:solidFill>
            <a:srgbClr val="0078D4"/>
          </a:solidFill>
          <a:ln cap="flat">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53778" rIns="134445" bIns="53778"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765">
                <a:solidFill>
                  <a:srgbClr val="FFFFFF"/>
                </a:solidFill>
                <a:latin typeface="Segoe UI"/>
                <a:ea typeface="Segoe UI" pitchFamily="34" charset="0"/>
                <a:cs typeface="Segoe UI" pitchFamily="34" charset="0"/>
              </a:rPr>
              <a:t>Manageable &amp; Cost Efficient</a:t>
            </a:r>
          </a:p>
        </p:txBody>
      </p:sp>
    </p:spTree>
    <p:extLst>
      <p:ext uri="{BB962C8B-B14F-4D97-AF65-F5344CB8AC3E}">
        <p14:creationId xmlns:p14="http://schemas.microsoft.com/office/powerpoint/2010/main" val="154832538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Archive_F03F">
            <a:extLst>
              <a:ext uri="{FF2B5EF4-FFF2-40B4-BE49-F238E27FC236}">
                <a16:creationId xmlns:a16="http://schemas.microsoft.com/office/drawing/2014/main" id="{FC9A53B8-1806-472B-9643-3B3BD165E061}"/>
              </a:ext>
            </a:extLst>
          </p:cNvPr>
          <p:cNvSpPr>
            <a:spLocks noChangeAspect="1" noEditPoints="1"/>
          </p:cNvSpPr>
          <p:nvPr/>
        </p:nvSpPr>
        <p:spPr bwMode="auto">
          <a:xfrm>
            <a:off x="9999082" y="1510961"/>
            <a:ext cx="520429" cy="451311"/>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8754" tIns="39375" rIns="78754" bIns="39375" numCol="1" anchor="t" anchorCtr="0" compatLnSpc="1">
            <a:prstTxWarp prst="textNoShape">
              <a:avLst/>
            </a:prstTxWarp>
          </a:bodyPr>
          <a:lstStyle/>
          <a:p>
            <a:pPr defTabSz="803218">
              <a:defRPr/>
            </a:pPr>
            <a:endParaRPr lang="en-US" sz="1519">
              <a:solidFill>
                <a:srgbClr val="0078D4"/>
              </a:solidFill>
              <a:latin typeface="Segoe UI Semilight"/>
            </a:endParaRPr>
          </a:p>
        </p:txBody>
      </p:sp>
      <p:sp>
        <p:nvSpPr>
          <p:cNvPr id="10" name="Rectangle 9">
            <a:extLst>
              <a:ext uri="{FF2B5EF4-FFF2-40B4-BE49-F238E27FC236}">
                <a16:creationId xmlns:a16="http://schemas.microsoft.com/office/drawing/2014/main" id="{D984CDFB-1F4B-4689-B523-F173350376E1}"/>
              </a:ext>
            </a:extLst>
          </p:cNvPr>
          <p:cNvSpPr/>
          <p:nvPr/>
        </p:nvSpPr>
        <p:spPr bwMode="auto">
          <a:xfrm>
            <a:off x="3223113" y="2086262"/>
            <a:ext cx="2047308" cy="5248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7486" tIns="125987" rIns="157486" bIns="125987" numCol="1" spcCol="0" rtlCol="0" fromWordArt="0" anchor="t" anchorCtr="0" forceAA="0" compatLnSpc="1">
            <a:prstTxWarp prst="textNoShape">
              <a:avLst/>
            </a:prstTxWarp>
            <a:noAutofit/>
          </a:bodyPr>
          <a:lstStyle/>
          <a:p>
            <a:pPr algn="ctr" defTabSz="802522" fontAlgn="base">
              <a:lnSpc>
                <a:spcPct val="90000"/>
              </a:lnSpc>
              <a:spcBef>
                <a:spcPct val="0"/>
              </a:spcBef>
              <a:spcAft>
                <a:spcPct val="0"/>
              </a:spcAft>
              <a:defRPr/>
            </a:pPr>
            <a:r>
              <a:rPr lang="en-US" sz="1721" kern="0">
                <a:solidFill>
                  <a:srgbClr val="0078D4"/>
                </a:solidFill>
                <a:latin typeface="Segoe UI Semilight"/>
                <a:cs typeface="Segoe UI" panose="020B0502040204020203" pitchFamily="34" charset="0"/>
              </a:rPr>
              <a:t>Hot </a:t>
            </a:r>
          </a:p>
        </p:txBody>
      </p:sp>
      <p:sp>
        <p:nvSpPr>
          <p:cNvPr id="11" name="Rectangle 10">
            <a:extLst>
              <a:ext uri="{FF2B5EF4-FFF2-40B4-BE49-F238E27FC236}">
                <a16:creationId xmlns:a16="http://schemas.microsoft.com/office/drawing/2014/main" id="{9A9C3065-5B86-4E5C-8E34-A9D08BE27E3A}"/>
              </a:ext>
            </a:extLst>
          </p:cNvPr>
          <p:cNvSpPr/>
          <p:nvPr/>
        </p:nvSpPr>
        <p:spPr bwMode="auto">
          <a:xfrm>
            <a:off x="5113070" y="2086262"/>
            <a:ext cx="2047308" cy="5248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7486" tIns="125987" rIns="157486" bIns="125987" numCol="1" spcCol="0" rtlCol="0" fromWordArt="0" anchor="t" anchorCtr="0" forceAA="0" compatLnSpc="1">
            <a:prstTxWarp prst="textNoShape">
              <a:avLst/>
            </a:prstTxWarp>
            <a:noAutofit/>
          </a:bodyPr>
          <a:lstStyle/>
          <a:p>
            <a:pPr algn="ctr" defTabSz="802522" fontAlgn="base">
              <a:lnSpc>
                <a:spcPct val="90000"/>
              </a:lnSpc>
              <a:spcBef>
                <a:spcPct val="0"/>
              </a:spcBef>
              <a:spcAft>
                <a:spcPct val="0"/>
              </a:spcAft>
              <a:defRPr/>
            </a:pPr>
            <a:r>
              <a:rPr lang="en-US" sz="1721" kern="0">
                <a:solidFill>
                  <a:srgbClr val="0078D4"/>
                </a:solidFill>
                <a:latin typeface="Segoe UI Semilight"/>
                <a:cs typeface="Segoe UI" panose="020B0502040204020203" pitchFamily="34" charset="0"/>
              </a:rPr>
              <a:t>Cool</a:t>
            </a:r>
          </a:p>
        </p:txBody>
      </p:sp>
      <p:sp>
        <p:nvSpPr>
          <p:cNvPr id="13" name="Rectangle 12">
            <a:extLst>
              <a:ext uri="{FF2B5EF4-FFF2-40B4-BE49-F238E27FC236}">
                <a16:creationId xmlns:a16="http://schemas.microsoft.com/office/drawing/2014/main" id="{05B2F70A-98AB-45C6-A791-5D2D71A4FDD2}"/>
              </a:ext>
            </a:extLst>
          </p:cNvPr>
          <p:cNvSpPr/>
          <p:nvPr/>
        </p:nvSpPr>
        <p:spPr bwMode="auto">
          <a:xfrm>
            <a:off x="9238713" y="2086262"/>
            <a:ext cx="2047308" cy="5248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7486" tIns="125987" rIns="157486" bIns="125987" numCol="1" spcCol="0" rtlCol="0" fromWordArt="0" anchor="t" anchorCtr="0" forceAA="0" compatLnSpc="1">
            <a:prstTxWarp prst="textNoShape">
              <a:avLst/>
            </a:prstTxWarp>
            <a:noAutofit/>
          </a:bodyPr>
          <a:lstStyle/>
          <a:p>
            <a:pPr algn="ctr" defTabSz="802522" fontAlgn="base">
              <a:lnSpc>
                <a:spcPct val="90000"/>
              </a:lnSpc>
              <a:spcBef>
                <a:spcPct val="0"/>
              </a:spcBef>
              <a:spcAft>
                <a:spcPct val="0"/>
              </a:spcAft>
              <a:defRPr/>
            </a:pPr>
            <a:r>
              <a:rPr lang="fr-FR" sz="1721" kern="0">
                <a:solidFill>
                  <a:srgbClr val="0078D4"/>
                </a:solidFill>
                <a:latin typeface="Segoe UI Semilight"/>
                <a:cs typeface="Segoe UI" panose="020B0502040204020203" pitchFamily="34" charset="0"/>
              </a:rPr>
              <a:t>Archive</a:t>
            </a:r>
            <a:endParaRPr lang="en-US" sz="1721" kern="0">
              <a:solidFill>
                <a:srgbClr val="0078D4"/>
              </a:solidFill>
              <a:latin typeface="Segoe UI Semilight"/>
              <a:cs typeface="Segoe UI" panose="020B0502040204020203" pitchFamily="34" charset="0"/>
            </a:endParaRPr>
          </a:p>
        </p:txBody>
      </p:sp>
      <p:sp>
        <p:nvSpPr>
          <p:cNvPr id="31" name="Temperature_mild">
            <a:extLst>
              <a:ext uri="{FF2B5EF4-FFF2-40B4-BE49-F238E27FC236}">
                <a16:creationId xmlns:a16="http://schemas.microsoft.com/office/drawing/2014/main" id="{B3901AA0-CD27-45C2-8E19-DE76D5636398}"/>
              </a:ext>
            </a:extLst>
          </p:cNvPr>
          <p:cNvSpPr>
            <a:spLocks noChangeAspect="1" noEditPoints="1"/>
          </p:cNvSpPr>
          <p:nvPr/>
        </p:nvSpPr>
        <p:spPr bwMode="auto">
          <a:xfrm>
            <a:off x="6035207" y="1454548"/>
            <a:ext cx="203041" cy="507723"/>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93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931"/>
                </a:moveTo>
                <a:cubicBezTo>
                  <a:pt x="748" y="2716"/>
                  <a:pt x="748" y="2716"/>
                  <a:pt x="748" y="2716"/>
                </a:cubicBezTo>
              </a:path>
            </a:pathLst>
          </a:custGeom>
          <a:noFill/>
          <a:ln w="19050" cap="flat">
            <a:solidFill>
              <a:schemeClr val="accent2">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8754" tIns="39375" rIns="78754" bIns="39375" numCol="1" anchor="t" anchorCtr="0" compatLnSpc="1">
            <a:prstTxWarp prst="textNoShape">
              <a:avLst/>
            </a:prstTxWarp>
          </a:bodyPr>
          <a:lstStyle/>
          <a:p>
            <a:pPr defTabSz="803218">
              <a:defRPr/>
            </a:pPr>
            <a:endParaRPr lang="en-US" sz="1519">
              <a:solidFill>
                <a:srgbClr val="0078D4"/>
              </a:solidFill>
              <a:latin typeface="Segoe UI Semilight"/>
            </a:endParaRPr>
          </a:p>
        </p:txBody>
      </p:sp>
      <p:sp>
        <p:nvSpPr>
          <p:cNvPr id="32" name="Temperature_hot">
            <a:extLst>
              <a:ext uri="{FF2B5EF4-FFF2-40B4-BE49-F238E27FC236}">
                <a16:creationId xmlns:a16="http://schemas.microsoft.com/office/drawing/2014/main" id="{A4A1F239-66D3-431C-9F78-E94BC335584D}"/>
              </a:ext>
            </a:extLst>
          </p:cNvPr>
          <p:cNvSpPr>
            <a:spLocks noChangeAspect="1" noEditPoints="1"/>
          </p:cNvSpPr>
          <p:nvPr/>
        </p:nvSpPr>
        <p:spPr bwMode="auto">
          <a:xfrm>
            <a:off x="4148427" y="1454548"/>
            <a:ext cx="203041" cy="507723"/>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49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491"/>
                </a:moveTo>
                <a:cubicBezTo>
                  <a:pt x="748" y="2716"/>
                  <a:pt x="748" y="2716"/>
                  <a:pt x="748" y="271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8754" tIns="39375" rIns="78754" bIns="39375" numCol="1" anchor="t" anchorCtr="0" compatLnSpc="1">
            <a:prstTxWarp prst="textNoShape">
              <a:avLst/>
            </a:prstTxWarp>
          </a:bodyPr>
          <a:lstStyle/>
          <a:p>
            <a:pPr defTabSz="803218">
              <a:defRPr/>
            </a:pPr>
            <a:endParaRPr lang="en-US" sz="1519">
              <a:solidFill>
                <a:srgbClr val="0078D4"/>
              </a:solidFill>
              <a:latin typeface="Segoe UI Semilight"/>
            </a:endParaRPr>
          </a:p>
        </p:txBody>
      </p:sp>
      <p:sp>
        <p:nvSpPr>
          <p:cNvPr id="57" name="Freeform: Shape 56">
            <a:extLst>
              <a:ext uri="{FF2B5EF4-FFF2-40B4-BE49-F238E27FC236}">
                <a16:creationId xmlns:a16="http://schemas.microsoft.com/office/drawing/2014/main" id="{20E1EFB6-862D-43D9-8036-0EEA2291A85C}"/>
              </a:ext>
            </a:extLst>
          </p:cNvPr>
          <p:cNvSpPr/>
          <p:nvPr/>
        </p:nvSpPr>
        <p:spPr bwMode="auto">
          <a:xfrm>
            <a:off x="3917708" y="2073421"/>
            <a:ext cx="66448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0078D4"/>
              </a:solidFill>
              <a:latin typeface="Segoe UI Semilight"/>
            </a:endParaRPr>
          </a:p>
        </p:txBody>
      </p:sp>
      <p:sp>
        <p:nvSpPr>
          <p:cNvPr id="66" name="Freeform: Shape 65">
            <a:extLst>
              <a:ext uri="{FF2B5EF4-FFF2-40B4-BE49-F238E27FC236}">
                <a16:creationId xmlns:a16="http://schemas.microsoft.com/office/drawing/2014/main" id="{75FC7D3E-7986-4DAA-8DEC-C0C0411956C1}"/>
              </a:ext>
            </a:extLst>
          </p:cNvPr>
          <p:cNvSpPr/>
          <p:nvPr/>
        </p:nvSpPr>
        <p:spPr bwMode="auto">
          <a:xfrm>
            <a:off x="5804489" y="2073421"/>
            <a:ext cx="66448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0078D4"/>
              </a:solidFill>
              <a:latin typeface="Segoe UI Semilight"/>
            </a:endParaRPr>
          </a:p>
        </p:txBody>
      </p:sp>
      <p:sp>
        <p:nvSpPr>
          <p:cNvPr id="67" name="Freeform: Shape 66">
            <a:extLst>
              <a:ext uri="{FF2B5EF4-FFF2-40B4-BE49-F238E27FC236}">
                <a16:creationId xmlns:a16="http://schemas.microsoft.com/office/drawing/2014/main" id="{DB3FB828-CAD7-4C39-A926-509E0729CA2F}"/>
              </a:ext>
            </a:extLst>
          </p:cNvPr>
          <p:cNvSpPr/>
          <p:nvPr/>
        </p:nvSpPr>
        <p:spPr bwMode="auto">
          <a:xfrm>
            <a:off x="9930129" y="2073421"/>
            <a:ext cx="66448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0078D4"/>
              </a:solidFill>
              <a:latin typeface="Segoe UI Semilight"/>
            </a:endParaRPr>
          </a:p>
        </p:txBody>
      </p:sp>
      <p:grpSp>
        <p:nvGrpSpPr>
          <p:cNvPr id="43" name="Group 42">
            <a:extLst>
              <a:ext uri="{FF2B5EF4-FFF2-40B4-BE49-F238E27FC236}">
                <a16:creationId xmlns:a16="http://schemas.microsoft.com/office/drawing/2014/main" id="{86E78866-9F11-4C88-8C35-EE7C84B5EB6D}"/>
              </a:ext>
            </a:extLst>
          </p:cNvPr>
          <p:cNvGrpSpPr/>
          <p:nvPr/>
        </p:nvGrpSpPr>
        <p:grpSpPr>
          <a:xfrm>
            <a:off x="3241393" y="2586941"/>
            <a:ext cx="2010751" cy="2477704"/>
            <a:chOff x="1870021" y="2993582"/>
            <a:chExt cx="2334655" cy="2876828"/>
          </a:xfrm>
        </p:grpSpPr>
        <p:sp>
          <p:nvSpPr>
            <p:cNvPr id="63" name="TextBox 62">
              <a:extLst>
                <a:ext uri="{FF2B5EF4-FFF2-40B4-BE49-F238E27FC236}">
                  <a16:creationId xmlns:a16="http://schemas.microsoft.com/office/drawing/2014/main" id="{69CB5C16-6D19-4336-889F-ED56F8B88834}"/>
                </a:ext>
              </a:extLst>
            </p:cNvPr>
            <p:cNvSpPr txBox="1"/>
            <p:nvPr/>
          </p:nvSpPr>
          <p:spPr>
            <a:xfrm>
              <a:off x="1870021" y="2993582"/>
              <a:ext cx="2334655" cy="793860"/>
            </a:xfrm>
            <a:prstGeom prst="rect">
              <a:avLst/>
            </a:prstGeom>
            <a:noFill/>
          </p:spPr>
          <p:txBody>
            <a:bodyPr wrap="square" lIns="157486" tIns="125987" rIns="157486" bIns="125987" rtlCol="0">
              <a:spAutoFit/>
            </a:bodyPr>
            <a:lstStyle/>
            <a:p>
              <a:pPr algn="ctr" defTabSz="802676"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Frequently </a:t>
              </a:r>
              <a:br>
                <a:rPr lang="en-US" sz="1519" kern="0">
                  <a:solidFill>
                    <a:srgbClr val="0078D4"/>
                  </a:solidFill>
                  <a:latin typeface="Segoe UI Semilight"/>
                  <a:cs typeface="Segoe UI" panose="020B0502040204020203" pitchFamily="34" charset="0"/>
                </a:rPr>
              </a:br>
              <a:r>
                <a:rPr lang="en-US" sz="1519" kern="0">
                  <a:solidFill>
                    <a:srgbClr val="0078D4"/>
                  </a:solidFill>
                  <a:latin typeface="Segoe UI Semilight"/>
                  <a:cs typeface="Segoe UI" panose="020B0502040204020203" pitchFamily="34" charset="0"/>
                </a:rPr>
                <a:t>accessed data</a:t>
              </a:r>
            </a:p>
          </p:txBody>
        </p:sp>
        <p:grpSp>
          <p:nvGrpSpPr>
            <p:cNvPr id="33" name="Group 32">
              <a:extLst>
                <a:ext uri="{FF2B5EF4-FFF2-40B4-BE49-F238E27FC236}">
                  <a16:creationId xmlns:a16="http://schemas.microsoft.com/office/drawing/2014/main" id="{AC240561-A570-4538-A99F-CE8B200053AD}"/>
                </a:ext>
              </a:extLst>
            </p:cNvPr>
            <p:cNvGrpSpPr/>
            <p:nvPr/>
          </p:nvGrpSpPr>
          <p:grpSpPr>
            <a:xfrm>
              <a:off x="2024265" y="3919960"/>
              <a:ext cx="2026165" cy="1950450"/>
              <a:chOff x="2024265" y="3919960"/>
              <a:chExt cx="2026165" cy="1950450"/>
            </a:xfrm>
          </p:grpSpPr>
          <p:sp>
            <p:nvSpPr>
              <p:cNvPr id="9" name="TextBox 8">
                <a:extLst>
                  <a:ext uri="{FF2B5EF4-FFF2-40B4-BE49-F238E27FC236}">
                    <a16:creationId xmlns:a16="http://schemas.microsoft.com/office/drawing/2014/main" id="{7DADF7A6-F036-472A-B562-09AD5A8FB3A6}"/>
                  </a:ext>
                </a:extLst>
              </p:cNvPr>
              <p:cNvSpPr txBox="1"/>
              <p:nvPr/>
            </p:nvSpPr>
            <p:spPr>
              <a:xfrm>
                <a:off x="2024266" y="391996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20.40 </a:t>
                </a:r>
              </a:p>
            </p:txBody>
          </p:sp>
          <p:sp>
            <p:nvSpPr>
              <p:cNvPr id="77" name="TextBox 76">
                <a:extLst>
                  <a:ext uri="{FF2B5EF4-FFF2-40B4-BE49-F238E27FC236}">
                    <a16:creationId xmlns:a16="http://schemas.microsoft.com/office/drawing/2014/main" id="{2D9BE86A-3909-4BAF-B155-C775703AF7CB}"/>
                  </a:ext>
                </a:extLst>
              </p:cNvPr>
              <p:cNvSpPr txBox="1"/>
              <p:nvPr/>
            </p:nvSpPr>
            <p:spPr>
              <a:xfrm>
                <a:off x="2024266" y="4623401"/>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0.006 </a:t>
                </a:r>
              </a:p>
            </p:txBody>
          </p:sp>
          <p:sp>
            <p:nvSpPr>
              <p:cNvPr id="74" name="TextBox 73">
                <a:extLst>
                  <a:ext uri="{FF2B5EF4-FFF2-40B4-BE49-F238E27FC236}">
                    <a16:creationId xmlns:a16="http://schemas.microsoft.com/office/drawing/2014/main" id="{09F210A7-E051-4AE1-A075-F755717D4C25}"/>
                  </a:ext>
                </a:extLst>
              </p:cNvPr>
              <p:cNvSpPr txBox="1"/>
              <p:nvPr/>
            </p:nvSpPr>
            <p:spPr>
              <a:xfrm>
                <a:off x="2024265" y="5325688"/>
                <a:ext cx="2026164" cy="544722"/>
              </a:xfrm>
              <a:prstGeom prst="rect">
                <a:avLst/>
              </a:prstGeom>
              <a:noFill/>
            </p:spPr>
            <p:txBody>
              <a:bodyPr wrap="square" lIns="0" tIns="125987" rIns="0" bIns="125987" rtlCol="0">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Immediate (HDD)</a:t>
                </a:r>
              </a:p>
            </p:txBody>
          </p:sp>
        </p:grpSp>
      </p:grpSp>
      <p:grpSp>
        <p:nvGrpSpPr>
          <p:cNvPr id="45" name="Group 44">
            <a:extLst>
              <a:ext uri="{FF2B5EF4-FFF2-40B4-BE49-F238E27FC236}">
                <a16:creationId xmlns:a16="http://schemas.microsoft.com/office/drawing/2014/main" id="{C11FE4BD-1405-4AD9-86B6-862F0BE066DB}"/>
              </a:ext>
            </a:extLst>
          </p:cNvPr>
          <p:cNvGrpSpPr/>
          <p:nvPr/>
        </p:nvGrpSpPr>
        <p:grpSpPr>
          <a:xfrm>
            <a:off x="5131350" y="2586941"/>
            <a:ext cx="2010751" cy="2477702"/>
            <a:chOff x="4210631" y="2993582"/>
            <a:chExt cx="2334655" cy="2876826"/>
          </a:xfrm>
        </p:grpSpPr>
        <p:sp>
          <p:nvSpPr>
            <p:cNvPr id="64" name="TextBox 63">
              <a:extLst>
                <a:ext uri="{FF2B5EF4-FFF2-40B4-BE49-F238E27FC236}">
                  <a16:creationId xmlns:a16="http://schemas.microsoft.com/office/drawing/2014/main" id="{7E9F380D-E4DA-415D-91F3-C18CBA7F3495}"/>
                </a:ext>
              </a:extLst>
            </p:cNvPr>
            <p:cNvSpPr txBox="1"/>
            <p:nvPr/>
          </p:nvSpPr>
          <p:spPr>
            <a:xfrm>
              <a:off x="4210631" y="2993582"/>
              <a:ext cx="2334655" cy="793860"/>
            </a:xfrm>
            <a:prstGeom prst="rect">
              <a:avLst/>
            </a:prstGeom>
            <a:noFill/>
          </p:spPr>
          <p:txBody>
            <a:bodyPr wrap="square" lIns="157486" tIns="125987" rIns="157486" bIns="125987" rtlCol="0">
              <a:spAutoFit/>
            </a:bodyPr>
            <a:lstStyle/>
            <a:p>
              <a:pPr algn="ctr" defTabSz="802676"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Less frequently accessed data</a:t>
              </a:r>
            </a:p>
          </p:txBody>
        </p:sp>
        <p:grpSp>
          <p:nvGrpSpPr>
            <p:cNvPr id="35" name="Group 34">
              <a:extLst>
                <a:ext uri="{FF2B5EF4-FFF2-40B4-BE49-F238E27FC236}">
                  <a16:creationId xmlns:a16="http://schemas.microsoft.com/office/drawing/2014/main" id="{866AA083-F2ED-4A92-86D3-69C6EBB43C22}"/>
                </a:ext>
              </a:extLst>
            </p:cNvPr>
            <p:cNvGrpSpPr/>
            <p:nvPr/>
          </p:nvGrpSpPr>
          <p:grpSpPr>
            <a:xfrm>
              <a:off x="4364875" y="3919960"/>
              <a:ext cx="2026165" cy="1950448"/>
              <a:chOff x="4364875" y="3919960"/>
              <a:chExt cx="2026165" cy="1950448"/>
            </a:xfrm>
          </p:grpSpPr>
          <p:sp>
            <p:nvSpPr>
              <p:cNvPr id="75" name="TextBox 74">
                <a:extLst>
                  <a:ext uri="{FF2B5EF4-FFF2-40B4-BE49-F238E27FC236}">
                    <a16:creationId xmlns:a16="http://schemas.microsoft.com/office/drawing/2014/main" id="{7784D94E-77B6-4965-B6F8-515BBD2284BA}"/>
                  </a:ext>
                </a:extLst>
              </p:cNvPr>
              <p:cNvSpPr txBox="1"/>
              <p:nvPr/>
            </p:nvSpPr>
            <p:spPr>
              <a:xfrm>
                <a:off x="4364876" y="391996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10.24</a:t>
                </a:r>
              </a:p>
            </p:txBody>
          </p:sp>
          <p:sp>
            <p:nvSpPr>
              <p:cNvPr id="80" name="TextBox 79">
                <a:extLst>
                  <a:ext uri="{FF2B5EF4-FFF2-40B4-BE49-F238E27FC236}">
                    <a16:creationId xmlns:a16="http://schemas.microsoft.com/office/drawing/2014/main" id="{839E9729-4211-400B-9F9A-6159B37DA116}"/>
                  </a:ext>
                </a:extLst>
              </p:cNvPr>
              <p:cNvSpPr txBox="1"/>
              <p:nvPr/>
            </p:nvSpPr>
            <p:spPr>
              <a:xfrm>
                <a:off x="4364876" y="462340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0.01 </a:t>
                </a:r>
              </a:p>
            </p:txBody>
          </p:sp>
          <p:sp>
            <p:nvSpPr>
              <p:cNvPr id="73" name="TextBox 72">
                <a:extLst>
                  <a:ext uri="{FF2B5EF4-FFF2-40B4-BE49-F238E27FC236}">
                    <a16:creationId xmlns:a16="http://schemas.microsoft.com/office/drawing/2014/main" id="{7CB0BA6D-1F3F-4A9F-95C7-C730DB6E96A9}"/>
                  </a:ext>
                </a:extLst>
              </p:cNvPr>
              <p:cNvSpPr txBox="1"/>
              <p:nvPr/>
            </p:nvSpPr>
            <p:spPr>
              <a:xfrm>
                <a:off x="4364875" y="5325686"/>
                <a:ext cx="2026164" cy="544722"/>
              </a:xfrm>
              <a:prstGeom prst="rect">
                <a:avLst/>
              </a:prstGeom>
              <a:noFill/>
            </p:spPr>
            <p:txBody>
              <a:bodyPr wrap="square" lIns="0" tIns="125987" rIns="0" bIns="125987" rtlCol="0">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Immediate (HDD)</a:t>
                </a:r>
              </a:p>
            </p:txBody>
          </p:sp>
        </p:grpSp>
      </p:grpSp>
      <p:grpSp>
        <p:nvGrpSpPr>
          <p:cNvPr id="48" name="Group 47">
            <a:extLst>
              <a:ext uri="{FF2B5EF4-FFF2-40B4-BE49-F238E27FC236}">
                <a16:creationId xmlns:a16="http://schemas.microsoft.com/office/drawing/2014/main" id="{9B193814-F2ED-4773-B509-C64F68304963}"/>
              </a:ext>
            </a:extLst>
          </p:cNvPr>
          <p:cNvGrpSpPr/>
          <p:nvPr/>
        </p:nvGrpSpPr>
        <p:grpSpPr>
          <a:xfrm>
            <a:off x="9256994" y="2586941"/>
            <a:ext cx="2010751" cy="2477704"/>
            <a:chOff x="6547554" y="2993582"/>
            <a:chExt cx="2334655" cy="2876828"/>
          </a:xfrm>
        </p:grpSpPr>
        <p:sp>
          <p:nvSpPr>
            <p:cNvPr id="65" name="TextBox 64">
              <a:extLst>
                <a:ext uri="{FF2B5EF4-FFF2-40B4-BE49-F238E27FC236}">
                  <a16:creationId xmlns:a16="http://schemas.microsoft.com/office/drawing/2014/main" id="{BDE67211-DE7F-4BAE-91EA-F3B929FD4F2A}"/>
                </a:ext>
              </a:extLst>
            </p:cNvPr>
            <p:cNvSpPr txBox="1"/>
            <p:nvPr/>
          </p:nvSpPr>
          <p:spPr>
            <a:xfrm>
              <a:off x="6547554" y="2993582"/>
              <a:ext cx="2334655" cy="793860"/>
            </a:xfrm>
            <a:prstGeom prst="rect">
              <a:avLst/>
            </a:prstGeom>
            <a:noFill/>
          </p:spPr>
          <p:txBody>
            <a:bodyPr wrap="square" lIns="157486" tIns="125987" rIns="157486" bIns="125987" rtlCol="0">
              <a:spAutoFit/>
            </a:bodyPr>
            <a:lstStyle/>
            <a:p>
              <a:pPr algn="ctr" defTabSz="802676"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Rarely </a:t>
              </a:r>
              <a:br>
                <a:rPr lang="en-US" sz="1519" kern="0">
                  <a:solidFill>
                    <a:srgbClr val="0078D4"/>
                  </a:solidFill>
                  <a:latin typeface="Segoe UI Semilight"/>
                  <a:cs typeface="Segoe UI" panose="020B0502040204020203" pitchFamily="34" charset="0"/>
                </a:rPr>
              </a:br>
              <a:r>
                <a:rPr lang="en-US" sz="1519" kern="0">
                  <a:solidFill>
                    <a:srgbClr val="0078D4"/>
                  </a:solidFill>
                  <a:latin typeface="Segoe UI Semilight"/>
                  <a:cs typeface="Segoe UI" panose="020B0502040204020203" pitchFamily="34" charset="0"/>
                </a:rPr>
                <a:t>accessed data</a:t>
              </a:r>
            </a:p>
          </p:txBody>
        </p:sp>
        <p:grpSp>
          <p:nvGrpSpPr>
            <p:cNvPr id="41" name="Group 40">
              <a:extLst>
                <a:ext uri="{FF2B5EF4-FFF2-40B4-BE49-F238E27FC236}">
                  <a16:creationId xmlns:a16="http://schemas.microsoft.com/office/drawing/2014/main" id="{F778B789-5E1C-4C06-BFC0-70603B2097DE}"/>
                </a:ext>
              </a:extLst>
            </p:cNvPr>
            <p:cNvGrpSpPr/>
            <p:nvPr/>
          </p:nvGrpSpPr>
          <p:grpSpPr>
            <a:xfrm>
              <a:off x="6701798" y="3919960"/>
              <a:ext cx="2026165" cy="1950450"/>
              <a:chOff x="6701798" y="3919960"/>
              <a:chExt cx="2026165" cy="1950450"/>
            </a:xfrm>
          </p:grpSpPr>
          <p:sp>
            <p:nvSpPr>
              <p:cNvPr id="76" name="TextBox 75">
                <a:extLst>
                  <a:ext uri="{FF2B5EF4-FFF2-40B4-BE49-F238E27FC236}">
                    <a16:creationId xmlns:a16="http://schemas.microsoft.com/office/drawing/2014/main" id="{BA4DAE84-6927-4D64-92A4-11AB049A77B1}"/>
                  </a:ext>
                </a:extLst>
              </p:cNvPr>
              <p:cNvSpPr txBox="1"/>
              <p:nvPr/>
            </p:nvSpPr>
            <p:spPr>
              <a:xfrm>
                <a:off x="6701798" y="391996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1.84 </a:t>
                </a:r>
              </a:p>
            </p:txBody>
          </p:sp>
          <p:sp>
            <p:nvSpPr>
              <p:cNvPr id="81" name="TextBox 80">
                <a:extLst>
                  <a:ext uri="{FF2B5EF4-FFF2-40B4-BE49-F238E27FC236}">
                    <a16:creationId xmlns:a16="http://schemas.microsoft.com/office/drawing/2014/main" id="{CDD59419-11C0-4C9A-BF1F-DDAA5EEE0E33}"/>
                  </a:ext>
                </a:extLst>
              </p:cNvPr>
              <p:cNvSpPr txBox="1"/>
              <p:nvPr/>
            </p:nvSpPr>
            <p:spPr>
              <a:xfrm>
                <a:off x="6701798" y="4623401"/>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7.80 </a:t>
                </a:r>
              </a:p>
            </p:txBody>
          </p:sp>
          <p:sp>
            <p:nvSpPr>
              <p:cNvPr id="78" name="TextBox 77">
                <a:extLst>
                  <a:ext uri="{FF2B5EF4-FFF2-40B4-BE49-F238E27FC236}">
                    <a16:creationId xmlns:a16="http://schemas.microsoft.com/office/drawing/2014/main" id="{ABDAC38A-EBA0-43AF-82E8-CA12AC74B14B}"/>
                  </a:ext>
                </a:extLst>
              </p:cNvPr>
              <p:cNvSpPr txBox="1"/>
              <p:nvPr/>
            </p:nvSpPr>
            <p:spPr>
              <a:xfrm>
                <a:off x="6701798" y="5325688"/>
                <a:ext cx="2026164" cy="544722"/>
              </a:xfrm>
              <a:prstGeom prst="rect">
                <a:avLst/>
              </a:prstGeom>
              <a:noFill/>
            </p:spPr>
            <p:txBody>
              <a:bodyPr wrap="square" lIns="0" tIns="125987" rIns="0" bIns="125987" rtlCol="0">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Hours</a:t>
                </a:r>
              </a:p>
            </p:txBody>
          </p:sp>
        </p:grpSp>
      </p:grpSp>
      <p:sp>
        <p:nvSpPr>
          <p:cNvPr id="8" name="Freeform: Shape 7">
            <a:extLst>
              <a:ext uri="{FF2B5EF4-FFF2-40B4-BE49-F238E27FC236}">
                <a16:creationId xmlns:a16="http://schemas.microsoft.com/office/drawing/2014/main" id="{BCCBDF4A-5458-4437-A6A2-CA29259A7E64}"/>
              </a:ext>
            </a:extLst>
          </p:cNvPr>
          <p:cNvSpPr/>
          <p:nvPr/>
        </p:nvSpPr>
        <p:spPr bwMode="auto">
          <a:xfrm flipV="1">
            <a:off x="896426" y="3312832"/>
            <a:ext cx="9887834" cy="4482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0078D4"/>
              </a:solidFill>
              <a:latin typeface="Segoe UI Semilight"/>
            </a:endParaRPr>
          </a:p>
        </p:txBody>
      </p:sp>
      <p:sp>
        <p:nvSpPr>
          <p:cNvPr id="86" name="Freeform: Shape 85">
            <a:extLst>
              <a:ext uri="{FF2B5EF4-FFF2-40B4-BE49-F238E27FC236}">
                <a16:creationId xmlns:a16="http://schemas.microsoft.com/office/drawing/2014/main" id="{09273B26-E20E-49F0-863D-AE720109BAFE}"/>
              </a:ext>
            </a:extLst>
          </p:cNvPr>
          <p:cNvSpPr/>
          <p:nvPr/>
        </p:nvSpPr>
        <p:spPr bwMode="auto">
          <a:xfrm>
            <a:off x="896426" y="3893083"/>
            <a:ext cx="9887835" cy="4482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0078D4"/>
              </a:solidFill>
              <a:latin typeface="Segoe UI Semilight"/>
            </a:endParaRPr>
          </a:p>
        </p:txBody>
      </p:sp>
      <p:sp>
        <p:nvSpPr>
          <p:cNvPr id="87" name="Freeform: Shape 86">
            <a:extLst>
              <a:ext uri="{FF2B5EF4-FFF2-40B4-BE49-F238E27FC236}">
                <a16:creationId xmlns:a16="http://schemas.microsoft.com/office/drawing/2014/main" id="{80A8D0E4-2B8E-47C3-B1C5-F5B2721049FC}"/>
              </a:ext>
            </a:extLst>
          </p:cNvPr>
          <p:cNvSpPr/>
          <p:nvPr/>
        </p:nvSpPr>
        <p:spPr bwMode="auto">
          <a:xfrm>
            <a:off x="896426" y="4473458"/>
            <a:ext cx="9887836" cy="4482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0078D4"/>
              </a:solidFill>
              <a:latin typeface="Segoe UI Semilight"/>
            </a:endParaRPr>
          </a:p>
        </p:txBody>
      </p:sp>
      <p:sp>
        <p:nvSpPr>
          <p:cNvPr id="88" name="Freeform: Shape 87">
            <a:extLst>
              <a:ext uri="{FF2B5EF4-FFF2-40B4-BE49-F238E27FC236}">
                <a16:creationId xmlns:a16="http://schemas.microsoft.com/office/drawing/2014/main" id="{55DE9E23-EA41-4A24-BDA7-D864063F1E35}"/>
              </a:ext>
            </a:extLst>
          </p:cNvPr>
          <p:cNvSpPr/>
          <p:nvPr/>
        </p:nvSpPr>
        <p:spPr bwMode="auto">
          <a:xfrm>
            <a:off x="896426" y="5081714"/>
            <a:ext cx="9887836" cy="54755"/>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0078D4"/>
              </a:solidFill>
              <a:latin typeface="Segoe UI Semilight"/>
            </a:endParaRPr>
          </a:p>
        </p:txBody>
      </p:sp>
      <p:grpSp>
        <p:nvGrpSpPr>
          <p:cNvPr id="49" name="Group 48">
            <a:extLst>
              <a:ext uri="{FF2B5EF4-FFF2-40B4-BE49-F238E27FC236}">
                <a16:creationId xmlns:a16="http://schemas.microsoft.com/office/drawing/2014/main" id="{E2E6F500-A905-44B7-87B6-F1E101FA2D2F}"/>
              </a:ext>
            </a:extLst>
          </p:cNvPr>
          <p:cNvGrpSpPr/>
          <p:nvPr/>
        </p:nvGrpSpPr>
        <p:grpSpPr>
          <a:xfrm>
            <a:off x="482973" y="3436467"/>
            <a:ext cx="1418818" cy="2393726"/>
            <a:chOff x="452581" y="3979955"/>
            <a:chExt cx="1647372" cy="2779323"/>
          </a:xfrm>
        </p:grpSpPr>
        <p:sp>
          <p:nvSpPr>
            <p:cNvPr id="12" name="Rectangle 11">
              <a:extLst>
                <a:ext uri="{FF2B5EF4-FFF2-40B4-BE49-F238E27FC236}">
                  <a16:creationId xmlns:a16="http://schemas.microsoft.com/office/drawing/2014/main" id="{F22B29C1-7D7B-42A6-B762-2E8107244757}"/>
                </a:ext>
              </a:extLst>
            </p:cNvPr>
            <p:cNvSpPr/>
            <p:nvPr/>
          </p:nvSpPr>
          <p:spPr>
            <a:xfrm>
              <a:off x="843430" y="3979955"/>
              <a:ext cx="1115089" cy="446184"/>
            </a:xfrm>
            <a:prstGeom prst="rect">
              <a:avLst/>
            </a:prstGeom>
          </p:spPr>
          <p:txBody>
            <a:bodyPr wrap="none">
              <a:spAutoFit/>
            </a:bodyPr>
            <a:lstStyle/>
            <a:p>
              <a:pPr defTabSz="803218">
                <a:lnSpc>
                  <a:spcPct val="90000"/>
                </a:lnSpc>
                <a:spcBef>
                  <a:spcPts val="517"/>
                </a:spcBef>
                <a:spcAft>
                  <a:spcPts val="517"/>
                </a:spcAft>
                <a:defRPr/>
              </a:pPr>
              <a:r>
                <a:rPr lang="en-US" sz="1033" dirty="0">
                  <a:latin typeface="Segoe UI Semibold" panose="020B0702040204020203" pitchFamily="34" charset="0"/>
                  <a:cs typeface="Segoe UI Semibold" panose="020B0702040204020203" pitchFamily="34" charset="0"/>
                </a:rPr>
                <a:t>PER TB </a:t>
              </a:r>
              <a:br>
                <a:rPr lang="en-US" sz="1033" dirty="0">
                  <a:latin typeface="Segoe UI Semibold" panose="020B0702040204020203" pitchFamily="34" charset="0"/>
                  <a:cs typeface="Segoe UI Semibold" panose="020B0702040204020203" pitchFamily="34" charset="0"/>
                </a:rPr>
              </a:br>
              <a:r>
                <a:rPr lang="en-US" sz="1033" dirty="0">
                  <a:latin typeface="Segoe UI Semibold" panose="020B0702040204020203" pitchFamily="34" charset="0"/>
                  <a:cs typeface="Segoe UI Semibold" panose="020B0702040204020203" pitchFamily="34" charset="0"/>
                </a:rPr>
                <a:t>PER MONTH</a:t>
              </a:r>
            </a:p>
          </p:txBody>
        </p:sp>
        <p:sp>
          <p:nvSpPr>
            <p:cNvPr id="14" name="Rectangle 13">
              <a:extLst>
                <a:ext uri="{FF2B5EF4-FFF2-40B4-BE49-F238E27FC236}">
                  <a16:creationId xmlns:a16="http://schemas.microsoft.com/office/drawing/2014/main" id="{1626014B-1506-4F40-AB9E-73320E6489F9}"/>
                </a:ext>
              </a:extLst>
            </p:cNvPr>
            <p:cNvSpPr/>
            <p:nvPr/>
          </p:nvSpPr>
          <p:spPr>
            <a:xfrm>
              <a:off x="843430" y="4679934"/>
              <a:ext cx="1256523" cy="446184"/>
            </a:xfrm>
            <a:prstGeom prst="rect">
              <a:avLst/>
            </a:prstGeom>
          </p:spPr>
          <p:txBody>
            <a:bodyPr wrap="none">
              <a:spAutoFit/>
            </a:bodyPr>
            <a:lstStyle/>
            <a:p>
              <a:pPr defTabSz="803218">
                <a:lnSpc>
                  <a:spcPct val="90000"/>
                </a:lnSpc>
                <a:spcBef>
                  <a:spcPts val="517"/>
                </a:spcBef>
                <a:spcAft>
                  <a:spcPts val="517"/>
                </a:spcAft>
                <a:defRPr/>
              </a:pPr>
              <a:r>
                <a:rPr lang="en-US" sz="1033" dirty="0">
                  <a:latin typeface="Segoe UI Semibold" panose="020B0702040204020203" pitchFamily="34" charset="0"/>
                  <a:cs typeface="Segoe UI Semibold" panose="020B0702040204020203" pitchFamily="34" charset="0"/>
                </a:rPr>
                <a:t>PER 10K READ </a:t>
              </a:r>
              <a:br>
                <a:rPr lang="en-US" sz="1033" dirty="0">
                  <a:latin typeface="Segoe UI Semibold" panose="020B0702040204020203" pitchFamily="34" charset="0"/>
                  <a:cs typeface="Segoe UI Semibold" panose="020B0702040204020203" pitchFamily="34" charset="0"/>
                </a:rPr>
              </a:br>
              <a:r>
                <a:rPr lang="en-US" sz="1033" dirty="0">
                  <a:latin typeface="Segoe UI Semibold" panose="020B0702040204020203" pitchFamily="34" charset="0"/>
                  <a:cs typeface="Segoe UI Semibold" panose="020B0702040204020203" pitchFamily="34" charset="0"/>
                </a:rPr>
                <a:t>OPERATIONS</a:t>
              </a:r>
            </a:p>
          </p:txBody>
        </p:sp>
        <p:sp>
          <p:nvSpPr>
            <p:cNvPr id="90" name="Rectangle 89">
              <a:extLst>
                <a:ext uri="{FF2B5EF4-FFF2-40B4-BE49-F238E27FC236}">
                  <a16:creationId xmlns:a16="http://schemas.microsoft.com/office/drawing/2014/main" id="{77FBBF06-FB76-4B05-BAC6-D71F36145F13}"/>
                </a:ext>
              </a:extLst>
            </p:cNvPr>
            <p:cNvSpPr/>
            <p:nvPr/>
          </p:nvSpPr>
          <p:spPr>
            <a:xfrm>
              <a:off x="843430" y="5379911"/>
              <a:ext cx="1031347" cy="446184"/>
            </a:xfrm>
            <a:prstGeom prst="rect">
              <a:avLst/>
            </a:prstGeom>
          </p:spPr>
          <p:txBody>
            <a:bodyPr wrap="none">
              <a:spAutoFit/>
            </a:bodyPr>
            <a:lstStyle/>
            <a:p>
              <a:pPr defTabSz="803218">
                <a:lnSpc>
                  <a:spcPct val="90000"/>
                </a:lnSpc>
                <a:spcBef>
                  <a:spcPts val="517"/>
                </a:spcBef>
                <a:spcAft>
                  <a:spcPts val="517"/>
                </a:spcAft>
                <a:defRPr/>
              </a:pPr>
              <a:r>
                <a:rPr lang="en-US" sz="1033">
                  <a:latin typeface="Segoe UI Semibold" panose="020B0702040204020203" pitchFamily="34" charset="0"/>
                  <a:cs typeface="Segoe UI Semibold" panose="020B0702040204020203" pitchFamily="34" charset="0"/>
                </a:rPr>
                <a:t>RETRIEVAL </a:t>
              </a:r>
              <a:br>
                <a:rPr lang="en-US" sz="1033">
                  <a:latin typeface="Segoe UI Semibold" panose="020B0702040204020203" pitchFamily="34" charset="0"/>
                  <a:cs typeface="Segoe UI Semibold" panose="020B0702040204020203" pitchFamily="34" charset="0"/>
                </a:rPr>
              </a:br>
              <a:r>
                <a:rPr lang="en-US" sz="1033">
                  <a:latin typeface="Segoe UI Semibold" panose="020B0702040204020203" pitchFamily="34" charset="0"/>
                  <a:cs typeface="Segoe UI Semibold" panose="020B0702040204020203" pitchFamily="34" charset="0"/>
                </a:rPr>
                <a:t>TIMES</a:t>
              </a:r>
            </a:p>
          </p:txBody>
        </p:sp>
        <p:sp>
          <p:nvSpPr>
            <p:cNvPr id="139" name="arrow_15_bidi">
              <a:extLst>
                <a:ext uri="{FF2B5EF4-FFF2-40B4-BE49-F238E27FC236}">
                  <a16:creationId xmlns:a16="http://schemas.microsoft.com/office/drawing/2014/main" id="{76C08FF9-B512-4456-A2ED-6876350140B1}"/>
                </a:ext>
              </a:extLst>
            </p:cNvPr>
            <p:cNvSpPr>
              <a:spLocks noChangeAspect="1" noEditPoints="1"/>
            </p:cNvSpPr>
            <p:nvPr/>
          </p:nvSpPr>
          <p:spPr bwMode="auto">
            <a:xfrm rot="16200000" flipH="1">
              <a:off x="451861" y="4034498"/>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4"/>
              </a:solidFill>
              <a:prstDash val="solid"/>
              <a:miter lim="800000"/>
              <a:headEnd/>
              <a:tailEnd/>
            </a:ln>
          </p:spPr>
          <p:txBody>
            <a:bodyPr vert="horz" wrap="square" lIns="78754" tIns="39375" rIns="78754" bIns="39375" numCol="1" anchor="t" anchorCtr="0" compatLnSpc="1">
              <a:prstTxWarp prst="textNoShape">
                <a:avLst/>
              </a:prstTxWarp>
            </a:bodyPr>
            <a:lstStyle/>
            <a:p>
              <a:pPr defTabSz="803218">
                <a:defRPr/>
              </a:pPr>
              <a:endParaRPr lang="en-US" sz="774">
                <a:solidFill>
                  <a:schemeClr val="bg1"/>
                </a:solidFill>
                <a:latin typeface="Segoe UI Semilight"/>
              </a:endParaRPr>
            </a:p>
          </p:txBody>
        </p:sp>
        <p:sp>
          <p:nvSpPr>
            <p:cNvPr id="140" name="arrow_15_bidi">
              <a:extLst>
                <a:ext uri="{FF2B5EF4-FFF2-40B4-BE49-F238E27FC236}">
                  <a16:creationId xmlns:a16="http://schemas.microsoft.com/office/drawing/2014/main" id="{865B3256-2C4D-492C-9785-34DB0CE491D0}"/>
                </a:ext>
              </a:extLst>
            </p:cNvPr>
            <p:cNvSpPr>
              <a:spLocks noChangeAspect="1" noEditPoints="1"/>
            </p:cNvSpPr>
            <p:nvPr/>
          </p:nvSpPr>
          <p:spPr bwMode="auto">
            <a:xfrm rot="5400000" flipH="1">
              <a:off x="451861" y="4734476"/>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4"/>
              </a:solidFill>
              <a:prstDash val="solid"/>
              <a:miter lim="800000"/>
              <a:headEnd/>
              <a:tailEnd/>
            </a:ln>
          </p:spPr>
          <p:txBody>
            <a:bodyPr vert="horz" wrap="square" lIns="78754" tIns="39375" rIns="78754" bIns="39375" numCol="1" anchor="t" anchorCtr="0" compatLnSpc="1">
              <a:prstTxWarp prst="textNoShape">
                <a:avLst/>
              </a:prstTxWarp>
            </a:bodyPr>
            <a:lstStyle/>
            <a:p>
              <a:pPr defTabSz="803218">
                <a:defRPr/>
              </a:pPr>
              <a:endParaRPr lang="en-US" sz="774">
                <a:solidFill>
                  <a:schemeClr val="bg1"/>
                </a:solidFill>
                <a:latin typeface="Segoe UI Semilight"/>
              </a:endParaRPr>
            </a:p>
          </p:txBody>
        </p:sp>
        <p:sp>
          <p:nvSpPr>
            <p:cNvPr id="141" name="arrow_15_bidi">
              <a:extLst>
                <a:ext uri="{FF2B5EF4-FFF2-40B4-BE49-F238E27FC236}">
                  <a16:creationId xmlns:a16="http://schemas.microsoft.com/office/drawing/2014/main" id="{FE88A6FF-44C3-4352-8DCC-0601995C8320}"/>
                </a:ext>
              </a:extLst>
            </p:cNvPr>
            <p:cNvSpPr>
              <a:spLocks noChangeAspect="1" noEditPoints="1"/>
            </p:cNvSpPr>
            <p:nvPr/>
          </p:nvSpPr>
          <p:spPr bwMode="auto">
            <a:xfrm rot="5400000" flipH="1">
              <a:off x="451861" y="5434454"/>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4"/>
              </a:solidFill>
              <a:prstDash val="solid"/>
              <a:miter lim="800000"/>
              <a:headEnd/>
              <a:tailEnd/>
            </a:ln>
          </p:spPr>
          <p:txBody>
            <a:bodyPr vert="horz" wrap="square" lIns="78754" tIns="39375" rIns="78754" bIns="39375" numCol="1" anchor="t" anchorCtr="0" compatLnSpc="1">
              <a:prstTxWarp prst="textNoShape">
                <a:avLst/>
              </a:prstTxWarp>
            </a:bodyPr>
            <a:lstStyle/>
            <a:p>
              <a:pPr defTabSz="803218">
                <a:defRPr/>
              </a:pPr>
              <a:endParaRPr lang="en-US" sz="774">
                <a:solidFill>
                  <a:schemeClr val="bg1"/>
                </a:solidFill>
                <a:latin typeface="Segoe UI Semilight"/>
              </a:endParaRPr>
            </a:p>
          </p:txBody>
        </p:sp>
        <p:sp>
          <p:nvSpPr>
            <p:cNvPr id="59" name="Rectangle 58">
              <a:extLst>
                <a:ext uri="{FF2B5EF4-FFF2-40B4-BE49-F238E27FC236}">
                  <a16:creationId xmlns:a16="http://schemas.microsoft.com/office/drawing/2014/main" id="{674ABB39-B72C-495F-A3B1-84F7DC0B4A23}"/>
                </a:ext>
              </a:extLst>
            </p:cNvPr>
            <p:cNvSpPr/>
            <p:nvPr/>
          </p:nvSpPr>
          <p:spPr>
            <a:xfrm>
              <a:off x="843430" y="6164217"/>
              <a:ext cx="979240" cy="595061"/>
            </a:xfrm>
            <a:prstGeom prst="rect">
              <a:avLst/>
            </a:prstGeom>
          </p:spPr>
          <p:txBody>
            <a:bodyPr wrap="none">
              <a:spAutoFit/>
            </a:bodyPr>
            <a:lstStyle/>
            <a:p>
              <a:pPr defTabSz="803218">
                <a:lnSpc>
                  <a:spcPct val="90000"/>
                </a:lnSpc>
                <a:spcBef>
                  <a:spcPts val="517"/>
                </a:spcBef>
                <a:spcAft>
                  <a:spcPts val="517"/>
                </a:spcAft>
                <a:defRPr/>
              </a:pPr>
              <a:r>
                <a:rPr lang="en-US" sz="1033">
                  <a:latin typeface="Segoe UI Semibold" panose="020B0702040204020203" pitchFamily="34" charset="0"/>
                  <a:cs typeface="Segoe UI Semibold" panose="020B0702040204020203" pitchFamily="34" charset="0"/>
                </a:rPr>
                <a:t>USE CASE</a:t>
              </a:r>
            </a:p>
            <a:p>
              <a:pPr defTabSz="803218">
                <a:lnSpc>
                  <a:spcPct val="90000"/>
                </a:lnSpc>
                <a:spcBef>
                  <a:spcPts val="517"/>
                </a:spcBef>
                <a:spcAft>
                  <a:spcPts val="517"/>
                </a:spcAft>
                <a:defRPr/>
              </a:pPr>
              <a:r>
                <a:rPr lang="en-US" sz="1033">
                  <a:latin typeface="Segoe UI Semibold" panose="020B0702040204020203" pitchFamily="34" charset="0"/>
                  <a:cs typeface="Segoe UI Semibold" panose="020B0702040204020203" pitchFamily="34" charset="0"/>
                </a:rPr>
                <a:t>EXAMPLES</a:t>
              </a:r>
            </a:p>
          </p:txBody>
        </p:sp>
      </p:grpSp>
      <p:sp>
        <p:nvSpPr>
          <p:cNvPr id="54" name="TextBox 53">
            <a:extLst>
              <a:ext uri="{FF2B5EF4-FFF2-40B4-BE49-F238E27FC236}">
                <a16:creationId xmlns:a16="http://schemas.microsoft.com/office/drawing/2014/main" id="{B89E27DB-B402-47C8-912C-EC633E8A0F53}"/>
              </a:ext>
            </a:extLst>
          </p:cNvPr>
          <p:cNvSpPr txBox="1"/>
          <p:nvPr/>
        </p:nvSpPr>
        <p:spPr>
          <a:xfrm>
            <a:off x="5162028" y="5107853"/>
            <a:ext cx="2010751" cy="683722"/>
          </a:xfrm>
          <a:prstGeom prst="rect">
            <a:avLst/>
          </a:prstGeom>
          <a:noFill/>
        </p:spPr>
        <p:txBody>
          <a:bodyPr wrap="square" lIns="157487" tIns="125987" rIns="157487" bIns="125987" rtlCol="0">
            <a:spAutoFit/>
          </a:bodyPr>
          <a:lstStyle/>
          <a:p>
            <a:pPr algn="ctr" defTabSz="802761"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Repository for server backups</a:t>
            </a:r>
          </a:p>
        </p:txBody>
      </p:sp>
      <p:sp>
        <p:nvSpPr>
          <p:cNvPr id="56" name="TextBox 55">
            <a:extLst>
              <a:ext uri="{FF2B5EF4-FFF2-40B4-BE49-F238E27FC236}">
                <a16:creationId xmlns:a16="http://schemas.microsoft.com/office/drawing/2014/main" id="{5981B0D5-7C87-47FF-A730-47B11CEB1EEE}"/>
              </a:ext>
            </a:extLst>
          </p:cNvPr>
          <p:cNvSpPr txBox="1"/>
          <p:nvPr/>
        </p:nvSpPr>
        <p:spPr>
          <a:xfrm>
            <a:off x="9223026" y="5107853"/>
            <a:ext cx="2010751" cy="683722"/>
          </a:xfrm>
          <a:prstGeom prst="rect">
            <a:avLst/>
          </a:prstGeom>
          <a:noFill/>
        </p:spPr>
        <p:txBody>
          <a:bodyPr wrap="square" lIns="157487" tIns="125987" rIns="157487" bIns="125987" rtlCol="0">
            <a:spAutoFit/>
          </a:bodyPr>
          <a:lstStyle/>
          <a:p>
            <a:pPr algn="ctr" defTabSz="802761"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Medical records archiving</a:t>
            </a:r>
          </a:p>
        </p:txBody>
      </p:sp>
      <p:sp>
        <p:nvSpPr>
          <p:cNvPr id="58" name="TextBox 57">
            <a:extLst>
              <a:ext uri="{FF2B5EF4-FFF2-40B4-BE49-F238E27FC236}">
                <a16:creationId xmlns:a16="http://schemas.microsoft.com/office/drawing/2014/main" id="{8B344C3E-33D4-4801-8C5C-C69342836FAF}"/>
              </a:ext>
            </a:extLst>
          </p:cNvPr>
          <p:cNvSpPr txBox="1"/>
          <p:nvPr/>
        </p:nvSpPr>
        <p:spPr>
          <a:xfrm>
            <a:off x="3202235" y="5116054"/>
            <a:ext cx="2010751" cy="898366"/>
          </a:xfrm>
          <a:prstGeom prst="rect">
            <a:avLst/>
          </a:prstGeom>
          <a:noFill/>
        </p:spPr>
        <p:txBody>
          <a:bodyPr wrap="square" lIns="157487" tIns="125987" rIns="157487" bIns="125987" rtlCol="0">
            <a:spAutoFit/>
          </a:bodyPr>
          <a:lstStyle/>
          <a:p>
            <a:pPr algn="ctr" defTabSz="802761"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Cloud native application data storage</a:t>
            </a:r>
          </a:p>
        </p:txBody>
      </p:sp>
      <p:sp>
        <p:nvSpPr>
          <p:cNvPr id="47" name="Rectangle 46">
            <a:extLst>
              <a:ext uri="{FF2B5EF4-FFF2-40B4-BE49-F238E27FC236}">
                <a16:creationId xmlns:a16="http://schemas.microsoft.com/office/drawing/2014/main" id="{0D2B432E-6E06-40A0-ACC8-10500D901A2C}"/>
              </a:ext>
            </a:extLst>
          </p:cNvPr>
          <p:cNvSpPr/>
          <p:nvPr/>
        </p:nvSpPr>
        <p:spPr bwMode="auto">
          <a:xfrm>
            <a:off x="1390493" y="2086262"/>
            <a:ext cx="2087839" cy="5248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7486" tIns="125987" rIns="157486" bIns="125987" numCol="1" spcCol="0" rtlCol="0" fromWordArt="0" anchor="t" anchorCtr="0" forceAA="0" compatLnSpc="1">
            <a:prstTxWarp prst="textNoShape">
              <a:avLst/>
            </a:prstTxWarp>
            <a:noAutofit/>
          </a:bodyPr>
          <a:lstStyle/>
          <a:p>
            <a:pPr algn="ctr" defTabSz="802522" fontAlgn="base">
              <a:lnSpc>
                <a:spcPct val="90000"/>
              </a:lnSpc>
              <a:spcBef>
                <a:spcPct val="0"/>
              </a:spcBef>
              <a:spcAft>
                <a:spcPct val="0"/>
              </a:spcAft>
              <a:defRPr/>
            </a:pPr>
            <a:r>
              <a:rPr lang="en-US" sz="1721" kern="0" dirty="0">
                <a:solidFill>
                  <a:srgbClr val="0078D4"/>
                </a:solidFill>
                <a:latin typeface="Segoe UI Semilight"/>
                <a:cs typeface="Segoe UI" panose="020B0502040204020203" pitchFamily="34" charset="0"/>
              </a:rPr>
              <a:t>Premium</a:t>
            </a:r>
          </a:p>
        </p:txBody>
      </p:sp>
      <p:sp>
        <p:nvSpPr>
          <p:cNvPr id="52" name="Freeform: Shape 51">
            <a:extLst>
              <a:ext uri="{FF2B5EF4-FFF2-40B4-BE49-F238E27FC236}">
                <a16:creationId xmlns:a16="http://schemas.microsoft.com/office/drawing/2014/main" id="{808AFC7A-7CAE-40FF-B178-77FEC263641E}"/>
              </a:ext>
            </a:extLst>
          </p:cNvPr>
          <p:cNvSpPr/>
          <p:nvPr/>
        </p:nvSpPr>
        <p:spPr bwMode="auto">
          <a:xfrm>
            <a:off x="2125616" y="2073421"/>
            <a:ext cx="66448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0078D4"/>
              </a:solidFill>
              <a:latin typeface="Segoe UI Semilight"/>
            </a:endParaRPr>
          </a:p>
        </p:txBody>
      </p:sp>
      <p:grpSp>
        <p:nvGrpSpPr>
          <p:cNvPr id="53" name="Group 52">
            <a:extLst>
              <a:ext uri="{FF2B5EF4-FFF2-40B4-BE49-F238E27FC236}">
                <a16:creationId xmlns:a16="http://schemas.microsoft.com/office/drawing/2014/main" id="{BE8B7D97-64ED-492E-9D04-EEB20C4A642B}"/>
              </a:ext>
            </a:extLst>
          </p:cNvPr>
          <p:cNvGrpSpPr/>
          <p:nvPr/>
        </p:nvGrpSpPr>
        <p:grpSpPr>
          <a:xfrm>
            <a:off x="1449301" y="2586941"/>
            <a:ext cx="2010751" cy="2477704"/>
            <a:chOff x="1870021" y="2993582"/>
            <a:chExt cx="2334655" cy="2876828"/>
          </a:xfrm>
        </p:grpSpPr>
        <p:sp>
          <p:nvSpPr>
            <p:cNvPr id="55" name="TextBox 54">
              <a:extLst>
                <a:ext uri="{FF2B5EF4-FFF2-40B4-BE49-F238E27FC236}">
                  <a16:creationId xmlns:a16="http://schemas.microsoft.com/office/drawing/2014/main" id="{9F1C3EFE-5BB4-49A9-9C51-1731A293012C}"/>
                </a:ext>
              </a:extLst>
            </p:cNvPr>
            <p:cNvSpPr txBox="1"/>
            <p:nvPr/>
          </p:nvSpPr>
          <p:spPr>
            <a:xfrm>
              <a:off x="1870021" y="2993582"/>
              <a:ext cx="2334655" cy="793860"/>
            </a:xfrm>
            <a:prstGeom prst="rect">
              <a:avLst/>
            </a:prstGeom>
            <a:noFill/>
          </p:spPr>
          <p:txBody>
            <a:bodyPr wrap="square" lIns="157486" tIns="125987" rIns="157486" bIns="125987" rtlCol="0">
              <a:spAutoFit/>
            </a:bodyPr>
            <a:lstStyle/>
            <a:p>
              <a:pPr algn="ctr" defTabSz="802676" fontAlgn="base">
                <a:lnSpc>
                  <a:spcPct val="90000"/>
                </a:lnSpc>
                <a:spcBef>
                  <a:spcPct val="0"/>
                </a:spcBef>
                <a:spcAft>
                  <a:spcPct val="0"/>
                </a:spcAft>
                <a:defRPr/>
              </a:pPr>
              <a:r>
                <a:rPr lang="en-US" sz="1519" kern="0" dirty="0">
                  <a:solidFill>
                    <a:srgbClr val="0078D4"/>
                  </a:solidFill>
                  <a:latin typeface="Segoe UI Semilight"/>
                  <a:cs typeface="Segoe UI" panose="020B0502040204020203" pitchFamily="34" charset="0"/>
                </a:rPr>
                <a:t>Low and consistent latency data</a:t>
              </a:r>
            </a:p>
          </p:txBody>
        </p:sp>
        <p:grpSp>
          <p:nvGrpSpPr>
            <p:cNvPr id="60" name="Group 59">
              <a:extLst>
                <a:ext uri="{FF2B5EF4-FFF2-40B4-BE49-F238E27FC236}">
                  <a16:creationId xmlns:a16="http://schemas.microsoft.com/office/drawing/2014/main" id="{F4408000-3C3B-4A3E-93B1-BB8F2ED7466B}"/>
                </a:ext>
              </a:extLst>
            </p:cNvPr>
            <p:cNvGrpSpPr/>
            <p:nvPr/>
          </p:nvGrpSpPr>
          <p:grpSpPr>
            <a:xfrm>
              <a:off x="2024265" y="3919960"/>
              <a:ext cx="2026165" cy="1950450"/>
              <a:chOff x="2024265" y="3919960"/>
              <a:chExt cx="2026165" cy="1950450"/>
            </a:xfrm>
          </p:grpSpPr>
          <p:sp>
            <p:nvSpPr>
              <p:cNvPr id="61" name="TextBox 60">
                <a:extLst>
                  <a:ext uri="{FF2B5EF4-FFF2-40B4-BE49-F238E27FC236}">
                    <a16:creationId xmlns:a16="http://schemas.microsoft.com/office/drawing/2014/main" id="{2D1906A5-27D3-4C1A-8B49-FDEE5D4A0AA7}"/>
                  </a:ext>
                </a:extLst>
              </p:cNvPr>
              <p:cNvSpPr txBox="1"/>
              <p:nvPr/>
            </p:nvSpPr>
            <p:spPr>
              <a:xfrm>
                <a:off x="2024266" y="391996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150.00 </a:t>
                </a:r>
              </a:p>
            </p:txBody>
          </p:sp>
          <p:sp>
            <p:nvSpPr>
              <p:cNvPr id="62" name="TextBox 61">
                <a:extLst>
                  <a:ext uri="{FF2B5EF4-FFF2-40B4-BE49-F238E27FC236}">
                    <a16:creationId xmlns:a16="http://schemas.microsoft.com/office/drawing/2014/main" id="{3F06DDCD-DC1B-46D2-9BB1-257164D5BF10}"/>
                  </a:ext>
                </a:extLst>
              </p:cNvPr>
              <p:cNvSpPr txBox="1"/>
              <p:nvPr/>
            </p:nvSpPr>
            <p:spPr>
              <a:xfrm>
                <a:off x="2024266" y="4623401"/>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0.0014 </a:t>
                </a:r>
              </a:p>
            </p:txBody>
          </p:sp>
          <p:sp>
            <p:nvSpPr>
              <p:cNvPr id="68" name="TextBox 67">
                <a:extLst>
                  <a:ext uri="{FF2B5EF4-FFF2-40B4-BE49-F238E27FC236}">
                    <a16:creationId xmlns:a16="http://schemas.microsoft.com/office/drawing/2014/main" id="{47C5B105-F5DB-46FF-9A77-FF8E99AC8A77}"/>
                  </a:ext>
                </a:extLst>
              </p:cNvPr>
              <p:cNvSpPr txBox="1"/>
              <p:nvPr/>
            </p:nvSpPr>
            <p:spPr>
              <a:xfrm>
                <a:off x="2024265" y="5325688"/>
                <a:ext cx="2026164" cy="544722"/>
              </a:xfrm>
              <a:prstGeom prst="rect">
                <a:avLst/>
              </a:prstGeom>
              <a:noFill/>
            </p:spPr>
            <p:txBody>
              <a:bodyPr wrap="square" lIns="0" tIns="125987" rIns="0" bIns="125987" rtlCol="0">
                <a:spAutoFit/>
              </a:bodyPr>
              <a:lstStyle/>
              <a:p>
                <a:pPr algn="ctr" defTabSz="803218" fontAlgn="base">
                  <a:lnSpc>
                    <a:spcPct val="90000"/>
                  </a:lnSpc>
                  <a:spcAft>
                    <a:spcPts val="259"/>
                  </a:spcAft>
                  <a:defRPr/>
                </a:pPr>
                <a:r>
                  <a:rPr lang="en-US" sz="1519">
                    <a:solidFill>
                      <a:srgbClr val="0078D4"/>
                    </a:solidFill>
                    <a:latin typeface="Segoe UI" panose="020B0502040204020203" pitchFamily="34" charset="0"/>
                    <a:cs typeface="Segoe UI" panose="020B0502040204020203" pitchFamily="34" charset="0"/>
                  </a:rPr>
                  <a:t>Immediate (SSD)</a:t>
                </a:r>
              </a:p>
            </p:txBody>
          </p:sp>
        </p:grpSp>
      </p:grpSp>
      <p:sp>
        <p:nvSpPr>
          <p:cNvPr id="69" name="TextBox 68">
            <a:extLst>
              <a:ext uri="{FF2B5EF4-FFF2-40B4-BE49-F238E27FC236}">
                <a16:creationId xmlns:a16="http://schemas.microsoft.com/office/drawing/2014/main" id="{3DF13097-8A7D-4907-8A6D-CFFE86B13D9B}"/>
              </a:ext>
            </a:extLst>
          </p:cNvPr>
          <p:cNvSpPr txBox="1"/>
          <p:nvPr/>
        </p:nvSpPr>
        <p:spPr>
          <a:xfrm>
            <a:off x="1772987" y="5116054"/>
            <a:ext cx="2010751" cy="898366"/>
          </a:xfrm>
          <a:prstGeom prst="rect">
            <a:avLst/>
          </a:prstGeom>
          <a:noFill/>
        </p:spPr>
        <p:txBody>
          <a:bodyPr wrap="square" lIns="157487" tIns="125987" rIns="157487" bIns="125987" rtlCol="0">
            <a:spAutoFit/>
          </a:bodyPr>
          <a:lstStyle/>
          <a:p>
            <a:pPr defTabSz="787097"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Interactive</a:t>
            </a:r>
          </a:p>
          <a:p>
            <a:pPr defTabSz="787097"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Transactions</a:t>
            </a:r>
          </a:p>
          <a:p>
            <a:pPr defTabSz="787097"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Telemetry</a:t>
            </a:r>
          </a:p>
        </p:txBody>
      </p:sp>
      <p:pic>
        <p:nvPicPr>
          <p:cNvPr id="70" name="Graphic 69" descr="Fire">
            <a:extLst>
              <a:ext uri="{FF2B5EF4-FFF2-40B4-BE49-F238E27FC236}">
                <a16:creationId xmlns:a16="http://schemas.microsoft.com/office/drawing/2014/main" id="{2BB850BE-DE95-4061-9EEF-D1403F388C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00778" y="1454549"/>
            <a:ext cx="507796" cy="507796"/>
          </a:xfrm>
          <a:prstGeom prst="rect">
            <a:avLst/>
          </a:prstGeom>
        </p:spPr>
      </p:pic>
      <p:sp>
        <p:nvSpPr>
          <p:cNvPr id="4" name="Title 3">
            <a:extLst>
              <a:ext uri="{FF2B5EF4-FFF2-40B4-BE49-F238E27FC236}">
                <a16:creationId xmlns:a16="http://schemas.microsoft.com/office/drawing/2014/main" id="{EBE256EB-AC41-4C16-AC43-1DAE483A409F}"/>
              </a:ext>
            </a:extLst>
          </p:cNvPr>
          <p:cNvSpPr>
            <a:spLocks noGrp="1"/>
          </p:cNvSpPr>
          <p:nvPr>
            <p:ph type="title"/>
          </p:nvPr>
        </p:nvSpPr>
        <p:spPr/>
        <p:txBody>
          <a:bodyPr/>
          <a:lstStyle/>
          <a:p>
            <a:r>
              <a:rPr lang="en-US" sz="3529"/>
              <a:t>Azure</a:t>
            </a:r>
            <a:r>
              <a:rPr lang="en-US"/>
              <a:t> Blob Tiers</a:t>
            </a:r>
          </a:p>
        </p:txBody>
      </p:sp>
      <p:sp>
        <p:nvSpPr>
          <p:cNvPr id="71" name="Rectangle 70">
            <a:extLst>
              <a:ext uri="{FF2B5EF4-FFF2-40B4-BE49-F238E27FC236}">
                <a16:creationId xmlns:a16="http://schemas.microsoft.com/office/drawing/2014/main" id="{6547449E-60F9-4D63-BE8A-552C94A0C71F}"/>
              </a:ext>
            </a:extLst>
          </p:cNvPr>
          <p:cNvSpPr/>
          <p:nvPr/>
        </p:nvSpPr>
        <p:spPr bwMode="auto">
          <a:xfrm>
            <a:off x="9502530" y="3378634"/>
            <a:ext cx="1422365" cy="485380"/>
          </a:xfrm>
          <a:prstGeom prst="rect">
            <a:avLst/>
          </a:prstGeom>
          <a:noFill/>
          <a:ln w="28575" cap="flat" cmpd="sng" algn="ctr">
            <a:solidFill>
              <a:srgbClr val="0078D4"/>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solidFill>
                <a:srgbClr val="0078D4"/>
              </a:solidFill>
            </a:endParaRPr>
          </a:p>
        </p:txBody>
      </p:sp>
      <p:sp>
        <p:nvSpPr>
          <p:cNvPr id="72" name="Rectangle 71">
            <a:extLst>
              <a:ext uri="{FF2B5EF4-FFF2-40B4-BE49-F238E27FC236}">
                <a16:creationId xmlns:a16="http://schemas.microsoft.com/office/drawing/2014/main" id="{2E656DE6-67AD-45F5-86FD-60969EB5264F}"/>
              </a:ext>
            </a:extLst>
          </p:cNvPr>
          <p:cNvSpPr/>
          <p:nvPr/>
        </p:nvSpPr>
        <p:spPr bwMode="auto">
          <a:xfrm>
            <a:off x="1805939" y="3944539"/>
            <a:ext cx="1422365" cy="485380"/>
          </a:xfrm>
          <a:prstGeom prst="rect">
            <a:avLst/>
          </a:prstGeom>
          <a:noFill/>
          <a:ln w="28575" cap="flat" cmpd="sng" algn="ctr">
            <a:solidFill>
              <a:srgbClr val="0078D4"/>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solidFill>
                <a:srgbClr val="0078D4"/>
              </a:solidFill>
            </a:endParaRPr>
          </a:p>
        </p:txBody>
      </p:sp>
      <p:pic>
        <p:nvPicPr>
          <p:cNvPr id="6" name="Picture 5" descr="A blue and white logo&#10;&#10;Description automatically generated">
            <a:extLst>
              <a:ext uri="{FF2B5EF4-FFF2-40B4-BE49-F238E27FC236}">
                <a16:creationId xmlns:a16="http://schemas.microsoft.com/office/drawing/2014/main" id="{5719CC15-35A5-8990-BDE1-CA9B3BC7250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98553" y="1454548"/>
            <a:ext cx="215854" cy="503658"/>
          </a:xfrm>
          <a:prstGeom prst="rect">
            <a:avLst/>
          </a:prstGeom>
        </p:spPr>
      </p:pic>
      <p:sp>
        <p:nvSpPr>
          <p:cNvPr id="7" name="Freeform: Shape 65">
            <a:extLst>
              <a:ext uri="{FF2B5EF4-FFF2-40B4-BE49-F238E27FC236}">
                <a16:creationId xmlns:a16="http://schemas.microsoft.com/office/drawing/2014/main" id="{823238FC-31CF-F76A-9022-FDC3E3A85718}"/>
              </a:ext>
            </a:extLst>
          </p:cNvPr>
          <p:cNvSpPr/>
          <p:nvPr/>
        </p:nvSpPr>
        <p:spPr bwMode="auto">
          <a:xfrm>
            <a:off x="7864294" y="2073421"/>
            <a:ext cx="66448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0078D4"/>
              </a:solidFill>
              <a:latin typeface="Segoe UI Semilight"/>
            </a:endParaRPr>
          </a:p>
        </p:txBody>
      </p:sp>
      <p:sp>
        <p:nvSpPr>
          <p:cNvPr id="15" name="Rectangle 14">
            <a:extLst>
              <a:ext uri="{FF2B5EF4-FFF2-40B4-BE49-F238E27FC236}">
                <a16:creationId xmlns:a16="http://schemas.microsoft.com/office/drawing/2014/main" id="{65C0D492-C1FD-5F81-1E3D-857C88BA9F91}"/>
              </a:ext>
            </a:extLst>
          </p:cNvPr>
          <p:cNvSpPr/>
          <p:nvPr/>
        </p:nvSpPr>
        <p:spPr bwMode="auto">
          <a:xfrm>
            <a:off x="7138550" y="2086262"/>
            <a:ext cx="2047308" cy="5248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7486" tIns="125987" rIns="157486" bIns="125987" numCol="1" spcCol="0" rtlCol="0" fromWordArt="0" anchor="t" anchorCtr="0" forceAA="0" compatLnSpc="1">
            <a:prstTxWarp prst="textNoShape">
              <a:avLst/>
            </a:prstTxWarp>
            <a:noAutofit/>
          </a:bodyPr>
          <a:lstStyle/>
          <a:p>
            <a:pPr algn="ctr" defTabSz="802522" fontAlgn="base">
              <a:lnSpc>
                <a:spcPct val="90000"/>
              </a:lnSpc>
              <a:spcBef>
                <a:spcPct val="0"/>
              </a:spcBef>
              <a:spcAft>
                <a:spcPct val="0"/>
              </a:spcAft>
              <a:defRPr/>
            </a:pPr>
            <a:r>
              <a:rPr lang="en-US" sz="1721" kern="0">
                <a:solidFill>
                  <a:srgbClr val="0078D4"/>
                </a:solidFill>
                <a:latin typeface="Segoe UI Semilight"/>
                <a:cs typeface="Segoe UI" panose="020B0502040204020203" pitchFamily="34" charset="0"/>
              </a:rPr>
              <a:t>Cold</a:t>
            </a:r>
          </a:p>
        </p:txBody>
      </p:sp>
      <p:grpSp>
        <p:nvGrpSpPr>
          <p:cNvPr id="17" name="Group 16">
            <a:extLst>
              <a:ext uri="{FF2B5EF4-FFF2-40B4-BE49-F238E27FC236}">
                <a16:creationId xmlns:a16="http://schemas.microsoft.com/office/drawing/2014/main" id="{BFC41A13-2B66-2C86-A9A8-9479171C2AE4}"/>
              </a:ext>
            </a:extLst>
          </p:cNvPr>
          <p:cNvGrpSpPr/>
          <p:nvPr/>
        </p:nvGrpSpPr>
        <p:grpSpPr>
          <a:xfrm>
            <a:off x="7221852" y="2497966"/>
            <a:ext cx="2010751" cy="2563473"/>
            <a:chOff x="4249253" y="2867835"/>
            <a:chExt cx="2334655" cy="2976413"/>
          </a:xfrm>
        </p:grpSpPr>
        <p:sp>
          <p:nvSpPr>
            <p:cNvPr id="18" name="TextBox 17">
              <a:extLst>
                <a:ext uri="{FF2B5EF4-FFF2-40B4-BE49-F238E27FC236}">
                  <a16:creationId xmlns:a16="http://schemas.microsoft.com/office/drawing/2014/main" id="{B53FBA8E-63E6-AA3D-D7E0-401278220A02}"/>
                </a:ext>
              </a:extLst>
            </p:cNvPr>
            <p:cNvSpPr txBox="1"/>
            <p:nvPr/>
          </p:nvSpPr>
          <p:spPr>
            <a:xfrm>
              <a:off x="4249253" y="2867835"/>
              <a:ext cx="2334655" cy="1028486"/>
            </a:xfrm>
            <a:prstGeom prst="rect">
              <a:avLst/>
            </a:prstGeom>
            <a:noFill/>
          </p:spPr>
          <p:txBody>
            <a:bodyPr wrap="square" lIns="157486" tIns="125987" rIns="157486" bIns="125987" rtlCol="0">
              <a:spAutoFit/>
            </a:bodyPr>
            <a:lstStyle>
              <a:defPPr>
                <a:defRPr lang="en-US"/>
              </a:defPPr>
              <a:lvl1pPr algn="ctr" defTabSz="818806" fontAlgn="base">
                <a:lnSpc>
                  <a:spcPct val="90000"/>
                </a:lnSpc>
                <a:spcBef>
                  <a:spcPct val="0"/>
                </a:spcBef>
                <a:spcAft>
                  <a:spcPct val="0"/>
                </a:spcAft>
                <a:defRPr sz="1550"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defRPr>
              </a:lvl1pPr>
            </a:lstStyle>
            <a:p>
              <a:r>
                <a:rPr lang="en-US" sz="1519">
                  <a:solidFill>
                    <a:srgbClr val="0078D4"/>
                  </a:solidFill>
                </a:rPr>
                <a:t>infrequently accessed with long term retention</a:t>
              </a:r>
            </a:p>
          </p:txBody>
        </p:sp>
        <p:grpSp>
          <p:nvGrpSpPr>
            <p:cNvPr id="19" name="Group 18">
              <a:extLst>
                <a:ext uri="{FF2B5EF4-FFF2-40B4-BE49-F238E27FC236}">
                  <a16:creationId xmlns:a16="http://schemas.microsoft.com/office/drawing/2014/main" id="{3EAD28B6-CC54-48A9-AAAC-8B6722773D1A}"/>
                </a:ext>
              </a:extLst>
            </p:cNvPr>
            <p:cNvGrpSpPr/>
            <p:nvPr/>
          </p:nvGrpSpPr>
          <p:grpSpPr>
            <a:xfrm>
              <a:off x="4364876" y="3919960"/>
              <a:ext cx="2129389" cy="1924288"/>
              <a:chOff x="4364876" y="3919960"/>
              <a:chExt cx="2129389" cy="1924288"/>
            </a:xfrm>
          </p:grpSpPr>
          <p:sp>
            <p:nvSpPr>
              <p:cNvPr id="20" name="TextBox 19">
                <a:extLst>
                  <a:ext uri="{FF2B5EF4-FFF2-40B4-BE49-F238E27FC236}">
                    <a16:creationId xmlns:a16="http://schemas.microsoft.com/office/drawing/2014/main" id="{7F1277CD-3906-4C64-BB4D-EA8A38795640}"/>
                  </a:ext>
                </a:extLst>
              </p:cNvPr>
              <p:cNvSpPr txBox="1"/>
              <p:nvPr/>
            </p:nvSpPr>
            <p:spPr>
              <a:xfrm>
                <a:off x="4364876" y="3919960"/>
                <a:ext cx="2026164" cy="544722"/>
              </a:xfrm>
              <a:prstGeom prst="rect">
                <a:avLst/>
              </a:prstGeom>
              <a:noFill/>
            </p:spPr>
            <p:txBody>
              <a:bodyPr wrap="square" lIns="157486" tIns="125987" rIns="157486" bIns="125987" rtlCol="0">
                <a:spAutoFit/>
              </a:bodyPr>
              <a:lstStyle>
                <a:defPPr>
                  <a:defRPr lang="en-US"/>
                </a:defPPr>
                <a:lvl1pPr algn="ctr" defTabSz="818806" fontAlgn="base">
                  <a:lnSpc>
                    <a:spcPct val="90000"/>
                  </a:lnSpc>
                  <a:spcBef>
                    <a:spcPct val="0"/>
                  </a:spcBef>
                  <a:spcAft>
                    <a:spcPct val="0"/>
                  </a:spcAft>
                  <a:defRPr sz="1550"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defRPr>
                </a:lvl1pPr>
              </a:lstStyle>
              <a:p>
                <a:r>
                  <a:rPr lang="en-US" sz="1519">
                    <a:solidFill>
                      <a:srgbClr val="0078D4"/>
                    </a:solidFill>
                  </a:rPr>
                  <a:t>$4.61</a:t>
                </a:r>
              </a:p>
            </p:txBody>
          </p:sp>
          <p:sp>
            <p:nvSpPr>
              <p:cNvPr id="21" name="TextBox 20">
                <a:extLst>
                  <a:ext uri="{FF2B5EF4-FFF2-40B4-BE49-F238E27FC236}">
                    <a16:creationId xmlns:a16="http://schemas.microsoft.com/office/drawing/2014/main" id="{6238CFEA-A6F3-470C-C427-93754D0FCFFC}"/>
                  </a:ext>
                </a:extLst>
              </p:cNvPr>
              <p:cNvSpPr txBox="1"/>
              <p:nvPr/>
            </p:nvSpPr>
            <p:spPr>
              <a:xfrm>
                <a:off x="4364876" y="4623400"/>
                <a:ext cx="2026164" cy="544722"/>
              </a:xfrm>
              <a:prstGeom prst="rect">
                <a:avLst/>
              </a:prstGeom>
              <a:noFill/>
            </p:spPr>
            <p:txBody>
              <a:bodyPr wrap="square" lIns="157486" tIns="125987" rIns="157486" bIns="125987" rtlCol="0">
                <a:spAutoFit/>
              </a:bodyPr>
              <a:lstStyle>
                <a:defPPr>
                  <a:defRPr lang="en-US"/>
                </a:defPPr>
                <a:lvl1pPr algn="ctr" defTabSz="818806" fontAlgn="base">
                  <a:lnSpc>
                    <a:spcPct val="90000"/>
                  </a:lnSpc>
                  <a:spcBef>
                    <a:spcPct val="0"/>
                  </a:spcBef>
                  <a:spcAft>
                    <a:spcPct val="0"/>
                  </a:spcAft>
                  <a:defRPr sz="1550"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defRPr>
                </a:lvl1pPr>
              </a:lstStyle>
              <a:p>
                <a:r>
                  <a:rPr lang="en-US" sz="1519">
                    <a:solidFill>
                      <a:srgbClr val="0078D4"/>
                    </a:solidFill>
                  </a:rPr>
                  <a:t>$0.13 </a:t>
                </a:r>
              </a:p>
            </p:txBody>
          </p:sp>
          <p:sp>
            <p:nvSpPr>
              <p:cNvPr id="22" name="TextBox 21">
                <a:extLst>
                  <a:ext uri="{FF2B5EF4-FFF2-40B4-BE49-F238E27FC236}">
                    <a16:creationId xmlns:a16="http://schemas.microsoft.com/office/drawing/2014/main" id="{087C51DE-AEAE-3295-2AB4-6F82460A0514}"/>
                  </a:ext>
                </a:extLst>
              </p:cNvPr>
              <p:cNvSpPr txBox="1"/>
              <p:nvPr/>
            </p:nvSpPr>
            <p:spPr>
              <a:xfrm>
                <a:off x="4415078" y="5299526"/>
                <a:ext cx="2079187" cy="544722"/>
              </a:xfrm>
              <a:prstGeom prst="rect">
                <a:avLst/>
              </a:prstGeom>
              <a:noFill/>
            </p:spPr>
            <p:txBody>
              <a:bodyPr wrap="square" lIns="157486" tIns="125987" rIns="157486" bIns="125987" rtlCol="0">
                <a:spAutoFit/>
              </a:bodyPr>
              <a:lstStyle>
                <a:defPPr>
                  <a:defRPr lang="en-US"/>
                </a:defPPr>
                <a:lvl1pPr algn="ctr" defTabSz="818806" fontAlgn="base">
                  <a:lnSpc>
                    <a:spcPct val="90000"/>
                  </a:lnSpc>
                  <a:spcBef>
                    <a:spcPct val="0"/>
                  </a:spcBef>
                  <a:spcAft>
                    <a:spcPct val="0"/>
                  </a:spcAft>
                  <a:defRPr sz="1550"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defRPr>
                </a:lvl1pPr>
              </a:lstStyle>
              <a:p>
                <a:r>
                  <a:rPr lang="en-US" sz="1519">
                    <a:solidFill>
                      <a:srgbClr val="0078D4"/>
                    </a:solidFill>
                  </a:rPr>
                  <a:t>Immediate (HDD)</a:t>
                </a:r>
              </a:p>
            </p:txBody>
          </p:sp>
        </p:grpSp>
      </p:grpSp>
      <p:sp>
        <p:nvSpPr>
          <p:cNvPr id="29" name="TextBox 28">
            <a:extLst>
              <a:ext uri="{FF2B5EF4-FFF2-40B4-BE49-F238E27FC236}">
                <a16:creationId xmlns:a16="http://schemas.microsoft.com/office/drawing/2014/main" id="{A0F6501E-15AB-9086-44A9-AF78479C30B0}"/>
              </a:ext>
            </a:extLst>
          </p:cNvPr>
          <p:cNvSpPr txBox="1"/>
          <p:nvPr/>
        </p:nvSpPr>
        <p:spPr>
          <a:xfrm>
            <a:off x="7229973" y="5117447"/>
            <a:ext cx="1820406" cy="885796"/>
          </a:xfrm>
          <a:prstGeom prst="rect">
            <a:avLst/>
          </a:prstGeom>
          <a:noFill/>
        </p:spPr>
        <p:txBody>
          <a:bodyPr wrap="square" lIns="157487" tIns="125987" rIns="157487" bIns="125987" rtlCol="0">
            <a:spAutoFit/>
          </a:bodyPr>
          <a:lstStyle/>
          <a:p>
            <a:pPr algn="ctr" defTabSz="802761" fontAlgn="base">
              <a:lnSpc>
                <a:spcPct val="90000"/>
              </a:lnSpc>
              <a:spcBef>
                <a:spcPct val="0"/>
              </a:spcBef>
              <a:spcAft>
                <a:spcPct val="0"/>
              </a:spcAft>
              <a:defRPr/>
            </a:pPr>
            <a:r>
              <a:rPr lang="en-US" sz="1519" kern="0">
                <a:solidFill>
                  <a:srgbClr val="0078D4"/>
                </a:solidFill>
                <a:latin typeface="Segoe UI Semilight"/>
                <a:cs typeface="Segoe UI" panose="020B0502040204020203" pitchFamily="34" charset="0"/>
              </a:rPr>
              <a:t>Data not in use but need to be available</a:t>
            </a:r>
          </a:p>
        </p:txBody>
      </p:sp>
      <p:sp>
        <p:nvSpPr>
          <p:cNvPr id="2" name="Rectangle 1">
            <a:extLst>
              <a:ext uri="{FF2B5EF4-FFF2-40B4-BE49-F238E27FC236}">
                <a16:creationId xmlns:a16="http://schemas.microsoft.com/office/drawing/2014/main" id="{BF8F6E0F-F90A-00D7-8C04-8AD986409CAA}"/>
              </a:ext>
            </a:extLst>
          </p:cNvPr>
          <p:cNvSpPr/>
          <p:nvPr/>
        </p:nvSpPr>
        <p:spPr>
          <a:xfrm>
            <a:off x="8162204" y="1587500"/>
            <a:ext cx="83271" cy="209550"/>
          </a:xfrm>
          <a:prstGeom prst="rect">
            <a:avLst/>
          </a:prstGeom>
          <a:solidFill>
            <a:schemeClr val="bg1"/>
          </a:solidFill>
          <a:ln>
            <a:solidFill>
              <a:schemeClr val="bg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solidFill>
                <a:srgbClr val="0078D4"/>
              </a:solidFill>
            </a:endParaRPr>
          </a:p>
        </p:txBody>
      </p:sp>
    </p:spTree>
    <p:extLst>
      <p:ext uri="{BB962C8B-B14F-4D97-AF65-F5344CB8AC3E}">
        <p14:creationId xmlns:p14="http://schemas.microsoft.com/office/powerpoint/2010/main" val="2690410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42E3C94-9CCA-42BB-BE92-4E465166018A}"/>
              </a:ext>
            </a:extLst>
          </p:cNvPr>
          <p:cNvGrpSpPr/>
          <p:nvPr/>
        </p:nvGrpSpPr>
        <p:grpSpPr>
          <a:xfrm>
            <a:off x="962877" y="1460406"/>
            <a:ext cx="2039218" cy="4237359"/>
            <a:chOff x="1104973" y="1567129"/>
            <a:chExt cx="2321165" cy="4823227"/>
          </a:xfrm>
        </p:grpSpPr>
        <p:sp>
          <p:nvSpPr>
            <p:cNvPr id="56" name="Rectangle 55">
              <a:extLst>
                <a:ext uri="{FF2B5EF4-FFF2-40B4-BE49-F238E27FC236}">
                  <a16:creationId xmlns:a16="http://schemas.microsoft.com/office/drawing/2014/main" id="{67AB1C0D-F30A-4212-A896-22200FE963C9}"/>
                </a:ext>
              </a:extLst>
            </p:cNvPr>
            <p:cNvSpPr/>
            <p:nvPr/>
          </p:nvSpPr>
          <p:spPr bwMode="auto">
            <a:xfrm>
              <a:off x="1104973" y="3887729"/>
              <a:ext cx="2321165"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7507" tIns="126005" rIns="157507" bIns="12600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02984" fontAlgn="base">
                <a:spcBef>
                  <a:spcPct val="0"/>
                </a:spcBef>
                <a:spcAft>
                  <a:spcPct val="0"/>
                </a:spcAft>
                <a:defRPr/>
              </a:pPr>
              <a:r>
                <a:rPr lang="en-US" sz="1581">
                  <a:solidFill>
                    <a:srgbClr val="0070C0"/>
                  </a:solidFill>
                  <a:ea typeface="Segoe UI" pitchFamily="34" charset="0"/>
                  <a:cs typeface="Segoe UI Semibold" panose="020B0702040204020203" pitchFamily="34" charset="0"/>
                </a:rPr>
                <a:t>LRS</a:t>
              </a:r>
              <a:endParaRPr lang="en-US" sz="1406">
                <a:solidFill>
                  <a:srgbClr val="0070C0"/>
                </a:solidFill>
                <a:ea typeface="Segoe UI" pitchFamily="34" charset="0"/>
                <a:cs typeface="Segoe UI Semibold" panose="020B0702040204020203" pitchFamily="34" charset="0"/>
              </a:endParaRPr>
            </a:p>
            <a:p>
              <a:pPr defTabSz="802984" fontAlgn="base">
                <a:spcBef>
                  <a:spcPct val="0"/>
                </a:spcBef>
                <a:spcAft>
                  <a:spcPct val="0"/>
                </a:spcAft>
                <a:defRPr/>
              </a:pPr>
              <a:endParaRPr lang="en-US" sz="1552">
                <a:solidFill>
                  <a:srgbClr val="0070C0"/>
                </a:solidFill>
                <a:ea typeface="Segoe UI" pitchFamily="34" charset="0"/>
                <a:cs typeface="Segoe UI" pitchFamily="34" charset="0"/>
              </a:endParaRP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3 replicas, 1 region</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Protect against disk, node, rack failures</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Write is </a:t>
              </a:r>
              <a:r>
                <a:rPr lang="en-US" sz="1229" err="1">
                  <a:solidFill>
                    <a:srgbClr val="0070C0"/>
                  </a:solidFill>
                  <a:ea typeface="Segoe UI" panose="020B0502040204020203" pitchFamily="34" charset="0"/>
                  <a:cs typeface="Segoe UI" panose="020B0502040204020203" pitchFamily="34" charset="0"/>
                </a:rPr>
                <a:t>ack’d</a:t>
              </a:r>
              <a:r>
                <a:rPr lang="en-US" sz="1229">
                  <a:solidFill>
                    <a:srgbClr val="0070C0"/>
                  </a:solidFill>
                  <a:ea typeface="Segoe UI" panose="020B0502040204020203" pitchFamily="34" charset="0"/>
                  <a:cs typeface="Segoe UI" panose="020B0502040204020203" pitchFamily="34" charset="0"/>
                </a:rPr>
                <a:t> when all replicas are committed</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Superior to dual-parity RAID</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11 9s of durability	</a:t>
              </a:r>
            </a:p>
            <a:p>
              <a:pPr defTabSz="802984" fontAlgn="base">
                <a:spcBef>
                  <a:spcPct val="0"/>
                </a:spcBef>
                <a:spcAft>
                  <a:spcPct val="0"/>
                </a:spcAft>
                <a:defRPr/>
              </a:pPr>
              <a:endParaRPr lang="en-US" sz="1376">
                <a:solidFill>
                  <a:srgbClr val="0070C0"/>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1713CAF0-F77F-482E-B4E4-4C6D1B336674}"/>
                </a:ext>
              </a:extLst>
            </p:cNvPr>
            <p:cNvSpPr>
              <a:spLocks noChangeAspect="1"/>
            </p:cNvSpPr>
            <p:nvPr/>
          </p:nvSpPr>
          <p:spPr bwMode="auto">
            <a:xfrm>
              <a:off x="1448626" y="2486357"/>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57507" tIns="126005" rIns="157507" bIns="126005" numCol="1" spcCol="0" rtlCol="0" fromWordArt="0" anchor="t" anchorCtr="0" forceAA="0" compatLnSpc="1">
              <a:prstTxWarp prst="textNoShape">
                <a:avLst/>
              </a:prstTxWarp>
              <a:noAutofit/>
            </a:bodyPr>
            <a:lstStyle/>
            <a:p>
              <a:pPr algn="ctr" defTabSz="802984" fontAlgn="base">
                <a:lnSpc>
                  <a:spcPct val="90000"/>
                </a:lnSpc>
                <a:spcBef>
                  <a:spcPct val="0"/>
                </a:spcBef>
                <a:spcAft>
                  <a:spcPct val="0"/>
                </a:spcAft>
                <a:defRPr/>
              </a:pPr>
              <a:endParaRPr lang="en-US" sz="2066">
                <a:solidFill>
                  <a:srgbClr val="0070C0"/>
                </a:solidFill>
                <a:ea typeface="Segoe UI" pitchFamily="34" charset="0"/>
                <a:cs typeface="Segoe UI" pitchFamily="34" charset="0"/>
              </a:endParaRPr>
            </a:p>
          </p:txBody>
        </p:sp>
        <p:sp>
          <p:nvSpPr>
            <p:cNvPr id="63" name="Database_EFC7" title="Icon of a cylinder">
              <a:extLst>
                <a:ext uri="{FF2B5EF4-FFF2-40B4-BE49-F238E27FC236}">
                  <a16:creationId xmlns:a16="http://schemas.microsoft.com/office/drawing/2014/main" id="{87C74CD2-7F07-4B4E-8D12-40BE66208E81}"/>
                </a:ext>
              </a:extLst>
            </p:cNvPr>
            <p:cNvSpPr>
              <a:spLocks noChangeAspect="1" noEditPoints="1"/>
            </p:cNvSpPr>
            <p:nvPr/>
          </p:nvSpPr>
          <p:spPr bwMode="auto">
            <a:xfrm>
              <a:off x="1583670" y="2305165"/>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66" name="Database_EFC7" title="Icon of a cylinder">
              <a:extLst>
                <a:ext uri="{FF2B5EF4-FFF2-40B4-BE49-F238E27FC236}">
                  <a16:creationId xmlns:a16="http://schemas.microsoft.com/office/drawing/2014/main" id="{2E9EA10D-457F-4929-9B79-32DC102314B7}"/>
                </a:ext>
              </a:extLst>
            </p:cNvPr>
            <p:cNvSpPr>
              <a:spLocks noChangeAspect="1" noEditPoints="1"/>
            </p:cNvSpPr>
            <p:nvPr/>
          </p:nvSpPr>
          <p:spPr bwMode="auto">
            <a:xfrm>
              <a:off x="1736070" y="2464199"/>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70" name="Database_EFC7" title="Icon of a cylinder">
              <a:extLst>
                <a:ext uri="{FF2B5EF4-FFF2-40B4-BE49-F238E27FC236}">
                  <a16:creationId xmlns:a16="http://schemas.microsoft.com/office/drawing/2014/main" id="{227EA96B-8B17-4967-9C65-5F05440B3A42}"/>
                </a:ext>
              </a:extLst>
            </p:cNvPr>
            <p:cNvSpPr>
              <a:spLocks noChangeAspect="1" noEditPoints="1"/>
            </p:cNvSpPr>
            <p:nvPr/>
          </p:nvSpPr>
          <p:spPr bwMode="auto">
            <a:xfrm>
              <a:off x="1888470" y="2603141"/>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cxnSp>
          <p:nvCxnSpPr>
            <p:cNvPr id="71" name="Straight Arrow Connector 70">
              <a:extLst>
                <a:ext uri="{FF2B5EF4-FFF2-40B4-BE49-F238E27FC236}">
                  <a16:creationId xmlns:a16="http://schemas.microsoft.com/office/drawing/2014/main" id="{EF049A0A-A11A-4E0C-9478-BED886CBC408}"/>
                </a:ext>
              </a:extLst>
            </p:cNvPr>
            <p:cNvCxnSpPr>
              <a:cxnSpLocks/>
            </p:cNvCxnSpPr>
            <p:nvPr/>
          </p:nvCxnSpPr>
          <p:spPr>
            <a:xfrm flipV="1">
              <a:off x="2116085" y="1567129"/>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2D59E7B-00EC-4C74-AFBB-F884F12B2A37}"/>
                </a:ext>
              </a:extLst>
            </p:cNvPr>
            <p:cNvCxnSpPr>
              <a:cxnSpLocks/>
            </p:cNvCxnSpPr>
            <p:nvPr/>
          </p:nvCxnSpPr>
          <p:spPr>
            <a:xfrm flipH="1">
              <a:off x="1770254" y="1573769"/>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66336B80-81F3-4EF6-B7EE-1828FA3DF696}"/>
              </a:ext>
            </a:extLst>
          </p:cNvPr>
          <p:cNvGrpSpPr/>
          <p:nvPr/>
        </p:nvGrpSpPr>
        <p:grpSpPr>
          <a:xfrm>
            <a:off x="5818956" y="1505083"/>
            <a:ext cx="2506265" cy="4187262"/>
            <a:chOff x="4525412" y="1976311"/>
            <a:chExt cx="2852786" cy="4766202"/>
          </a:xfrm>
        </p:grpSpPr>
        <p:sp>
          <p:nvSpPr>
            <p:cNvPr id="75" name="Rectangle 74">
              <a:extLst>
                <a:ext uri="{FF2B5EF4-FFF2-40B4-BE49-F238E27FC236}">
                  <a16:creationId xmlns:a16="http://schemas.microsoft.com/office/drawing/2014/main" id="{45DF9B33-C2A9-4DE0-AB03-904C9256D946}"/>
                </a:ext>
              </a:extLst>
            </p:cNvPr>
            <p:cNvSpPr/>
            <p:nvPr/>
          </p:nvSpPr>
          <p:spPr bwMode="auto">
            <a:xfrm>
              <a:off x="4619894" y="4239886"/>
              <a:ext cx="2758304"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7507" tIns="126005" rIns="157507" bIns="12600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03218">
                <a:defRPr/>
              </a:pPr>
              <a:r>
                <a:rPr lang="en-US" sz="1406">
                  <a:solidFill>
                    <a:srgbClr val="0070C0"/>
                  </a:solidFill>
                  <a:cs typeface="Segoe UI Semibold" panose="020B0702040204020203" pitchFamily="34" charset="0"/>
                </a:rPr>
                <a:t>GRS</a:t>
              </a:r>
            </a:p>
            <a:p>
              <a:pPr defTabSz="803218">
                <a:defRPr/>
              </a:pPr>
              <a:endParaRPr lang="en-US" sz="1552">
                <a:solidFill>
                  <a:srgbClr val="0070C0"/>
                </a:solidFill>
              </a:endParaRPr>
            </a:p>
            <a:p>
              <a:pPr defTabSz="803218">
                <a:spcAft>
                  <a:spcPts val="526"/>
                </a:spcAft>
                <a:defRPr/>
              </a:pPr>
              <a:r>
                <a:rPr lang="en-US" sz="1229">
                  <a:solidFill>
                    <a:srgbClr val="0070C0"/>
                  </a:solidFill>
                  <a:cs typeface="Segoe UI" panose="020B0502040204020203" pitchFamily="34" charset="0"/>
                </a:rPr>
                <a:t>6 replicas, 2 regions (3/region)</a:t>
              </a:r>
            </a:p>
            <a:p>
              <a:pPr defTabSz="803218">
                <a:spcAft>
                  <a:spcPts val="526"/>
                </a:spcAft>
                <a:defRPr/>
              </a:pPr>
              <a:r>
                <a:rPr lang="en-US" sz="1229">
                  <a:solidFill>
                    <a:srgbClr val="0070C0"/>
                  </a:solidFill>
                  <a:cs typeface="Segoe UI" panose="020B0502040204020203" pitchFamily="34" charset="0"/>
                </a:rPr>
                <a:t>Protects against major regional disasters</a:t>
              </a:r>
            </a:p>
            <a:p>
              <a:pPr defTabSz="803218">
                <a:spcAft>
                  <a:spcPts val="526"/>
                </a:spcAft>
                <a:defRPr/>
              </a:pPr>
              <a:r>
                <a:rPr lang="en-US" sz="1229">
                  <a:solidFill>
                    <a:srgbClr val="0070C0"/>
                  </a:solidFill>
                  <a:cs typeface="Segoe UI" panose="020B0502040204020203" pitchFamily="34" charset="0"/>
                </a:rPr>
                <a:t>Asynchronous to secondary</a:t>
              </a:r>
            </a:p>
            <a:p>
              <a:pPr defTabSz="803218">
                <a:spcAft>
                  <a:spcPts val="526"/>
                </a:spcAft>
                <a:defRPr/>
              </a:pPr>
              <a:r>
                <a:rPr lang="en-US" sz="1229">
                  <a:solidFill>
                    <a:srgbClr val="0070C0"/>
                  </a:solidFill>
                  <a:cs typeface="Segoe UI" panose="020B0502040204020203" pitchFamily="34" charset="0"/>
                </a:rPr>
                <a:t>16 9s of durability</a:t>
              </a:r>
            </a:p>
            <a:p>
              <a:pPr marL="246070" indent="-246070" defTabSz="803218">
                <a:buFont typeface="Arial" panose="020B0604020202020204" pitchFamily="34" charset="0"/>
                <a:buChar char="•"/>
                <a:defRPr/>
              </a:pPr>
              <a:endParaRPr lang="en-US" sz="1229">
                <a:solidFill>
                  <a:srgbClr val="0070C0"/>
                </a:solidFill>
              </a:endParaRPr>
            </a:p>
            <a:p>
              <a:pPr defTabSz="803218">
                <a:lnSpc>
                  <a:spcPct val="90000"/>
                </a:lnSpc>
                <a:spcAft>
                  <a:spcPts val="517"/>
                </a:spcAft>
                <a:defRPr/>
              </a:pPr>
              <a:endParaRPr lang="en-US" sz="1552">
                <a:solidFill>
                  <a:srgbClr val="0070C0"/>
                </a:solidFill>
              </a:endParaRPr>
            </a:p>
            <a:p>
              <a:pPr defTabSz="803218">
                <a:lnSpc>
                  <a:spcPct val="90000"/>
                </a:lnSpc>
                <a:spcAft>
                  <a:spcPts val="517"/>
                </a:spcAft>
                <a:defRPr/>
              </a:pPr>
              <a:endParaRPr lang="en-US" sz="1552">
                <a:solidFill>
                  <a:srgbClr val="0070C0"/>
                </a:solidFill>
              </a:endParaRPr>
            </a:p>
          </p:txBody>
        </p:sp>
        <p:sp>
          <p:nvSpPr>
            <p:cNvPr id="78" name="TextBox 77">
              <a:extLst>
                <a:ext uri="{FF2B5EF4-FFF2-40B4-BE49-F238E27FC236}">
                  <a16:creationId xmlns:a16="http://schemas.microsoft.com/office/drawing/2014/main" id="{C25A013C-35AB-433D-B693-ABE379B66BAC}"/>
                </a:ext>
              </a:extLst>
            </p:cNvPr>
            <p:cNvSpPr txBox="1"/>
            <p:nvPr/>
          </p:nvSpPr>
          <p:spPr>
            <a:xfrm>
              <a:off x="5072843" y="2543829"/>
              <a:ext cx="1489696" cy="452487"/>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solidFill>
                    <a:srgbClr val="0070C0"/>
                  </a:solidFill>
                </a:rPr>
                <a:t>Typically &gt;300mi</a:t>
              </a:r>
            </a:p>
          </p:txBody>
        </p:sp>
        <p:sp>
          <p:nvSpPr>
            <p:cNvPr id="80" name="TextBox 79">
              <a:extLst>
                <a:ext uri="{FF2B5EF4-FFF2-40B4-BE49-F238E27FC236}">
                  <a16:creationId xmlns:a16="http://schemas.microsoft.com/office/drawing/2014/main" id="{55299C8C-C667-4DF1-ADCE-A77ABE3CF8CD}"/>
                </a:ext>
              </a:extLst>
            </p:cNvPr>
            <p:cNvSpPr txBox="1"/>
            <p:nvPr/>
          </p:nvSpPr>
          <p:spPr>
            <a:xfrm>
              <a:off x="5435637" y="3141578"/>
              <a:ext cx="750718" cy="452487"/>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solidFill>
                    <a:srgbClr val="0070C0"/>
                  </a:solidFill>
                </a:rPr>
                <a:t>Async</a:t>
              </a:r>
            </a:p>
          </p:txBody>
        </p:sp>
        <p:sp>
          <p:nvSpPr>
            <p:cNvPr id="81" name="TextBox 80">
              <a:extLst>
                <a:ext uri="{FF2B5EF4-FFF2-40B4-BE49-F238E27FC236}">
                  <a16:creationId xmlns:a16="http://schemas.microsoft.com/office/drawing/2014/main" id="{2601826F-31C2-40B6-B8BA-10C8169D7C2F}"/>
                </a:ext>
              </a:extLst>
            </p:cNvPr>
            <p:cNvSpPr txBox="1"/>
            <p:nvPr/>
          </p:nvSpPr>
          <p:spPr>
            <a:xfrm>
              <a:off x="4729191" y="3509843"/>
              <a:ext cx="865598" cy="455820"/>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solidFill>
                    <a:srgbClr val="0070C0"/>
                  </a:solidFill>
                </a:rPr>
                <a:t>Primary</a:t>
              </a:r>
            </a:p>
          </p:txBody>
        </p:sp>
        <p:sp>
          <p:nvSpPr>
            <p:cNvPr id="82" name="TextBox 81">
              <a:extLst>
                <a:ext uri="{FF2B5EF4-FFF2-40B4-BE49-F238E27FC236}">
                  <a16:creationId xmlns:a16="http://schemas.microsoft.com/office/drawing/2014/main" id="{972281EA-3DA2-4C96-A9E5-AD83E6629FF8}"/>
                </a:ext>
              </a:extLst>
            </p:cNvPr>
            <p:cNvSpPr txBox="1"/>
            <p:nvPr/>
          </p:nvSpPr>
          <p:spPr>
            <a:xfrm>
              <a:off x="6224154" y="3509842"/>
              <a:ext cx="1055432" cy="452487"/>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solidFill>
                    <a:srgbClr val="0070C0"/>
                  </a:solidFill>
                </a:rPr>
                <a:t>Secondary</a:t>
              </a:r>
            </a:p>
          </p:txBody>
        </p:sp>
        <p:sp>
          <p:nvSpPr>
            <p:cNvPr id="83" name="Rectangle 82">
              <a:extLst>
                <a:ext uri="{FF2B5EF4-FFF2-40B4-BE49-F238E27FC236}">
                  <a16:creationId xmlns:a16="http://schemas.microsoft.com/office/drawing/2014/main" id="{794B4FB9-E649-4FD0-908A-774676D34962}"/>
                </a:ext>
              </a:extLst>
            </p:cNvPr>
            <p:cNvSpPr>
              <a:spLocks noChangeAspect="1"/>
            </p:cNvSpPr>
            <p:nvPr/>
          </p:nvSpPr>
          <p:spPr bwMode="auto">
            <a:xfrm>
              <a:off x="4525412"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57507" tIns="126005" rIns="157507" bIns="126005" numCol="1" spcCol="0" rtlCol="0" fromWordArt="0" anchor="t" anchorCtr="0" forceAA="0" compatLnSpc="1">
              <a:prstTxWarp prst="textNoShape">
                <a:avLst/>
              </a:prstTxWarp>
              <a:noAutofit/>
            </a:bodyPr>
            <a:lstStyle/>
            <a:p>
              <a:pPr algn="ctr" defTabSz="802984" fontAlgn="base">
                <a:lnSpc>
                  <a:spcPct val="90000"/>
                </a:lnSpc>
                <a:spcBef>
                  <a:spcPct val="0"/>
                </a:spcBef>
                <a:spcAft>
                  <a:spcPct val="0"/>
                </a:spcAft>
                <a:defRPr/>
              </a:pPr>
              <a:endParaRPr lang="en-US" sz="2066">
                <a:solidFill>
                  <a:srgbClr val="0070C0"/>
                </a:solidFill>
                <a:ea typeface="Segoe UI" pitchFamily="34" charset="0"/>
                <a:cs typeface="Segoe UI" pitchFamily="34" charset="0"/>
              </a:endParaRPr>
            </a:p>
          </p:txBody>
        </p:sp>
        <p:sp>
          <p:nvSpPr>
            <p:cNvPr id="84" name="Database_EFC7" title="Icon of a cylinder">
              <a:extLst>
                <a:ext uri="{FF2B5EF4-FFF2-40B4-BE49-F238E27FC236}">
                  <a16:creationId xmlns:a16="http://schemas.microsoft.com/office/drawing/2014/main" id="{A624BE72-7B26-491F-941C-C6528C5D4D2E}"/>
                </a:ext>
              </a:extLst>
            </p:cNvPr>
            <p:cNvSpPr>
              <a:spLocks noChangeAspect="1" noEditPoints="1"/>
            </p:cNvSpPr>
            <p:nvPr/>
          </p:nvSpPr>
          <p:spPr bwMode="auto">
            <a:xfrm>
              <a:off x="4660456"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85" name="Database_EFC7" title="Icon of a cylinder">
              <a:extLst>
                <a:ext uri="{FF2B5EF4-FFF2-40B4-BE49-F238E27FC236}">
                  <a16:creationId xmlns:a16="http://schemas.microsoft.com/office/drawing/2014/main" id="{63035035-BBEB-41A6-8A5E-6CAAAE841C0E}"/>
                </a:ext>
              </a:extLst>
            </p:cNvPr>
            <p:cNvSpPr>
              <a:spLocks noChangeAspect="1" noEditPoints="1"/>
            </p:cNvSpPr>
            <p:nvPr/>
          </p:nvSpPr>
          <p:spPr bwMode="auto">
            <a:xfrm>
              <a:off x="4812856"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86" name="Database_EFC7" title="Icon of a cylinder">
              <a:extLst>
                <a:ext uri="{FF2B5EF4-FFF2-40B4-BE49-F238E27FC236}">
                  <a16:creationId xmlns:a16="http://schemas.microsoft.com/office/drawing/2014/main" id="{57218F53-EC44-462C-B76B-C9A22B60F680}"/>
                </a:ext>
              </a:extLst>
            </p:cNvPr>
            <p:cNvSpPr>
              <a:spLocks noChangeAspect="1" noEditPoints="1"/>
            </p:cNvSpPr>
            <p:nvPr/>
          </p:nvSpPr>
          <p:spPr bwMode="auto">
            <a:xfrm>
              <a:off x="4965256"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cxnSp>
          <p:nvCxnSpPr>
            <p:cNvPr id="87" name="Straight Arrow Connector 86">
              <a:extLst>
                <a:ext uri="{FF2B5EF4-FFF2-40B4-BE49-F238E27FC236}">
                  <a16:creationId xmlns:a16="http://schemas.microsoft.com/office/drawing/2014/main" id="{FC9A083C-1B7D-4AD6-BF75-B62AA331B9A5}"/>
                </a:ext>
              </a:extLst>
            </p:cNvPr>
            <p:cNvCxnSpPr>
              <a:cxnSpLocks/>
            </p:cNvCxnSpPr>
            <p:nvPr/>
          </p:nvCxnSpPr>
          <p:spPr>
            <a:xfrm flipV="1">
              <a:off x="5192871" y="1976311"/>
              <a:ext cx="0" cy="510046"/>
            </a:xfrm>
            <a:prstGeom prst="straightConnector1">
              <a:avLst/>
            </a:prstGeom>
            <a:ln w="28575">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8D7C42A3-7250-4E6D-90F1-FB6EDFDF51A4}"/>
                </a:ext>
              </a:extLst>
            </p:cNvPr>
            <p:cNvCxnSpPr>
              <a:cxnSpLocks/>
            </p:cNvCxnSpPr>
            <p:nvPr/>
          </p:nvCxnSpPr>
          <p:spPr>
            <a:xfrm flipH="1">
              <a:off x="4847040" y="1976311"/>
              <a:ext cx="0" cy="510046"/>
            </a:xfrm>
            <a:prstGeom prst="straightConnector1">
              <a:avLst/>
            </a:prstGeom>
            <a:ln w="28575">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9" name="Database_EFC7" title="Icon of a cylinder">
              <a:extLst>
                <a:ext uri="{FF2B5EF4-FFF2-40B4-BE49-F238E27FC236}">
                  <a16:creationId xmlns:a16="http://schemas.microsoft.com/office/drawing/2014/main" id="{166BB0DB-1CF5-44C0-B424-9DE4F270F2CB}"/>
                </a:ext>
              </a:extLst>
            </p:cNvPr>
            <p:cNvSpPr>
              <a:spLocks noChangeAspect="1" noEditPoints="1"/>
            </p:cNvSpPr>
            <p:nvPr/>
          </p:nvSpPr>
          <p:spPr bwMode="auto">
            <a:xfrm>
              <a:off x="6378462"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90" name="Database_EFC7" title="Icon of a cylinder">
              <a:extLst>
                <a:ext uri="{FF2B5EF4-FFF2-40B4-BE49-F238E27FC236}">
                  <a16:creationId xmlns:a16="http://schemas.microsoft.com/office/drawing/2014/main" id="{14F43D63-9CF2-47A4-9BE2-1D612A18F04F}"/>
                </a:ext>
              </a:extLst>
            </p:cNvPr>
            <p:cNvSpPr>
              <a:spLocks noChangeAspect="1" noEditPoints="1"/>
            </p:cNvSpPr>
            <p:nvPr/>
          </p:nvSpPr>
          <p:spPr bwMode="auto">
            <a:xfrm>
              <a:off x="6530862"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91" name="Database_EFC7" title="Icon of a cylinder">
              <a:extLst>
                <a:ext uri="{FF2B5EF4-FFF2-40B4-BE49-F238E27FC236}">
                  <a16:creationId xmlns:a16="http://schemas.microsoft.com/office/drawing/2014/main" id="{422D5035-E54C-4CF2-93EA-20BCE11E777E}"/>
                </a:ext>
              </a:extLst>
            </p:cNvPr>
            <p:cNvSpPr>
              <a:spLocks noChangeAspect="1" noEditPoints="1"/>
            </p:cNvSpPr>
            <p:nvPr/>
          </p:nvSpPr>
          <p:spPr bwMode="auto">
            <a:xfrm>
              <a:off x="6683262"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cxnSp>
          <p:nvCxnSpPr>
            <p:cNvPr id="92" name="Straight Arrow Connector 91">
              <a:extLst>
                <a:ext uri="{FF2B5EF4-FFF2-40B4-BE49-F238E27FC236}">
                  <a16:creationId xmlns:a16="http://schemas.microsoft.com/office/drawing/2014/main" id="{81487A44-A08F-4616-A47F-D9413F42528F}"/>
                </a:ext>
              </a:extLst>
            </p:cNvPr>
            <p:cNvCxnSpPr>
              <a:cxnSpLocks/>
            </p:cNvCxnSpPr>
            <p:nvPr/>
          </p:nvCxnSpPr>
          <p:spPr>
            <a:xfrm>
              <a:off x="5505420" y="3130734"/>
              <a:ext cx="653622" cy="0"/>
            </a:xfrm>
            <a:prstGeom prst="straightConnector1">
              <a:avLst/>
            </a:prstGeom>
            <a:ln w="28575">
              <a:solidFill>
                <a:srgbClr val="F4364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A6719386-2CBB-4542-B63C-B4B8738336E5}"/>
              </a:ext>
            </a:extLst>
          </p:cNvPr>
          <p:cNvGrpSpPr/>
          <p:nvPr/>
        </p:nvGrpSpPr>
        <p:grpSpPr>
          <a:xfrm>
            <a:off x="8353886" y="1517177"/>
            <a:ext cx="2451064" cy="4170307"/>
            <a:chOff x="8413498" y="1976311"/>
            <a:chExt cx="2789951" cy="4746902"/>
          </a:xfrm>
        </p:grpSpPr>
        <p:sp>
          <p:nvSpPr>
            <p:cNvPr id="94" name="Rectangle 93">
              <a:extLst>
                <a:ext uri="{FF2B5EF4-FFF2-40B4-BE49-F238E27FC236}">
                  <a16:creationId xmlns:a16="http://schemas.microsoft.com/office/drawing/2014/main" id="{35A8998D-0006-49B0-B6F0-6AD4BAD02C15}"/>
                </a:ext>
              </a:extLst>
            </p:cNvPr>
            <p:cNvSpPr/>
            <p:nvPr/>
          </p:nvSpPr>
          <p:spPr bwMode="auto">
            <a:xfrm>
              <a:off x="8541684" y="4220586"/>
              <a:ext cx="2645719"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7507" tIns="126005" rIns="157507" bIns="12600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02984" fontAlgn="base">
                <a:spcBef>
                  <a:spcPct val="0"/>
                </a:spcBef>
                <a:spcAft>
                  <a:spcPct val="0"/>
                </a:spcAft>
                <a:defRPr/>
              </a:pPr>
              <a:r>
                <a:rPr lang="en-US" sz="1406">
                  <a:solidFill>
                    <a:srgbClr val="0070C0"/>
                  </a:solidFill>
                  <a:ea typeface="Segoe UI" pitchFamily="34" charset="0"/>
                  <a:cs typeface="Segoe UI Semibold" panose="020B0702040204020203" pitchFamily="34" charset="0"/>
                </a:rPr>
                <a:t>RA-GRS</a:t>
              </a:r>
            </a:p>
            <a:p>
              <a:pPr defTabSz="802984" fontAlgn="base">
                <a:spcBef>
                  <a:spcPct val="0"/>
                </a:spcBef>
                <a:spcAft>
                  <a:spcPct val="0"/>
                </a:spcAft>
                <a:defRPr/>
              </a:pPr>
              <a:endParaRPr lang="en-US" sz="1721">
                <a:solidFill>
                  <a:srgbClr val="0070C0"/>
                </a:solidFill>
                <a:ea typeface="Segoe UI" pitchFamily="34" charset="0"/>
                <a:cs typeface="Segoe UI" pitchFamily="34" charset="0"/>
              </a:endParaRP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GRS + Read access to secondary</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Separate secondary endpoint</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RPO delay to secondary can be queried</a:t>
              </a:r>
            </a:p>
            <a:p>
              <a:pPr defTabSz="802984" fontAlgn="base">
                <a:spcBef>
                  <a:spcPct val="0"/>
                </a:spcBef>
                <a:spcAft>
                  <a:spcPct val="0"/>
                </a:spcAft>
                <a:defRPr/>
              </a:pPr>
              <a:endParaRPr lang="en-US" sz="1552">
                <a:solidFill>
                  <a:srgbClr val="0070C0"/>
                </a:solidFill>
                <a:ea typeface="Segoe UI" pitchFamily="34" charset="0"/>
                <a:cs typeface="Segoe UI" pitchFamily="34" charset="0"/>
              </a:endParaRPr>
            </a:p>
          </p:txBody>
        </p:sp>
        <p:sp>
          <p:nvSpPr>
            <p:cNvPr id="95" name="Rectangle 94">
              <a:extLst>
                <a:ext uri="{FF2B5EF4-FFF2-40B4-BE49-F238E27FC236}">
                  <a16:creationId xmlns:a16="http://schemas.microsoft.com/office/drawing/2014/main" id="{CB713FBA-B089-45FC-96F4-647839161AEE}"/>
                </a:ext>
              </a:extLst>
            </p:cNvPr>
            <p:cNvSpPr>
              <a:spLocks noChangeAspect="1"/>
            </p:cNvSpPr>
            <p:nvPr/>
          </p:nvSpPr>
          <p:spPr bwMode="auto">
            <a:xfrm>
              <a:off x="8413498" y="2661179"/>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57507" tIns="126005" rIns="157507" bIns="126005" numCol="1" spcCol="0" rtlCol="0" fromWordArt="0" anchor="t" anchorCtr="0" forceAA="0" compatLnSpc="1">
              <a:prstTxWarp prst="textNoShape">
                <a:avLst/>
              </a:prstTxWarp>
              <a:noAutofit/>
            </a:bodyPr>
            <a:lstStyle/>
            <a:p>
              <a:pPr algn="ctr" defTabSz="802984" fontAlgn="base">
                <a:lnSpc>
                  <a:spcPct val="90000"/>
                </a:lnSpc>
                <a:spcBef>
                  <a:spcPct val="0"/>
                </a:spcBef>
                <a:spcAft>
                  <a:spcPct val="0"/>
                </a:spcAft>
                <a:defRPr/>
              </a:pPr>
              <a:endParaRPr lang="en-US" sz="2066">
                <a:solidFill>
                  <a:srgbClr val="0070C0"/>
                </a:solidFill>
                <a:ea typeface="Segoe UI" pitchFamily="34" charset="0"/>
                <a:cs typeface="Segoe UI" pitchFamily="34" charset="0"/>
              </a:endParaRPr>
            </a:p>
          </p:txBody>
        </p:sp>
        <p:sp>
          <p:nvSpPr>
            <p:cNvPr id="96" name="TextBox 95">
              <a:extLst>
                <a:ext uri="{FF2B5EF4-FFF2-40B4-BE49-F238E27FC236}">
                  <a16:creationId xmlns:a16="http://schemas.microsoft.com/office/drawing/2014/main" id="{EB600475-3002-46FE-99AC-87A9F184324E}"/>
                </a:ext>
              </a:extLst>
            </p:cNvPr>
            <p:cNvSpPr txBox="1"/>
            <p:nvPr/>
          </p:nvSpPr>
          <p:spPr>
            <a:xfrm>
              <a:off x="8973261" y="2543828"/>
              <a:ext cx="1489695" cy="452486"/>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solidFill>
                    <a:srgbClr val="0070C0"/>
                  </a:solidFill>
                </a:rPr>
                <a:t>Typically &gt;300mi</a:t>
              </a:r>
            </a:p>
          </p:txBody>
        </p:sp>
        <p:sp>
          <p:nvSpPr>
            <p:cNvPr id="97" name="TextBox 96">
              <a:extLst>
                <a:ext uri="{FF2B5EF4-FFF2-40B4-BE49-F238E27FC236}">
                  <a16:creationId xmlns:a16="http://schemas.microsoft.com/office/drawing/2014/main" id="{D30F47B5-8B64-47C4-82D7-2745326393E7}"/>
                </a:ext>
              </a:extLst>
            </p:cNvPr>
            <p:cNvSpPr txBox="1"/>
            <p:nvPr/>
          </p:nvSpPr>
          <p:spPr>
            <a:xfrm>
              <a:off x="9336055" y="3141579"/>
              <a:ext cx="750717" cy="452486"/>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solidFill>
                    <a:srgbClr val="0070C0"/>
                  </a:solidFill>
                </a:rPr>
                <a:t>Async</a:t>
              </a:r>
            </a:p>
          </p:txBody>
        </p:sp>
        <p:sp>
          <p:nvSpPr>
            <p:cNvPr id="98" name="TextBox 97">
              <a:extLst>
                <a:ext uri="{FF2B5EF4-FFF2-40B4-BE49-F238E27FC236}">
                  <a16:creationId xmlns:a16="http://schemas.microsoft.com/office/drawing/2014/main" id="{CAE0D037-02A3-42EB-9455-9F1F41AC271D}"/>
                </a:ext>
              </a:extLst>
            </p:cNvPr>
            <p:cNvSpPr txBox="1"/>
            <p:nvPr/>
          </p:nvSpPr>
          <p:spPr>
            <a:xfrm>
              <a:off x="8541684" y="3509843"/>
              <a:ext cx="865598" cy="455820"/>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solidFill>
                    <a:srgbClr val="0070C0"/>
                  </a:solidFill>
                </a:rPr>
                <a:t>Primary</a:t>
              </a:r>
            </a:p>
          </p:txBody>
        </p:sp>
        <p:sp>
          <p:nvSpPr>
            <p:cNvPr id="99" name="TextBox 98">
              <a:extLst>
                <a:ext uri="{FF2B5EF4-FFF2-40B4-BE49-F238E27FC236}">
                  <a16:creationId xmlns:a16="http://schemas.microsoft.com/office/drawing/2014/main" id="{E5E8C526-A2C0-4BA3-8D3D-AD7DAB7724AE}"/>
                </a:ext>
              </a:extLst>
            </p:cNvPr>
            <p:cNvSpPr txBox="1"/>
            <p:nvPr/>
          </p:nvSpPr>
          <p:spPr>
            <a:xfrm>
              <a:off x="10148018" y="3509842"/>
              <a:ext cx="1055431" cy="452486"/>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solidFill>
                    <a:srgbClr val="0070C0"/>
                  </a:solidFill>
                </a:rPr>
                <a:t>Secondary</a:t>
              </a:r>
            </a:p>
          </p:txBody>
        </p:sp>
        <p:sp>
          <p:nvSpPr>
            <p:cNvPr id="100" name="Rectangle 99">
              <a:extLst>
                <a:ext uri="{FF2B5EF4-FFF2-40B4-BE49-F238E27FC236}">
                  <a16:creationId xmlns:a16="http://schemas.microsoft.com/office/drawing/2014/main" id="{B831B248-4BF1-4228-A8E1-F275090780D8}"/>
                </a:ext>
              </a:extLst>
            </p:cNvPr>
            <p:cNvSpPr>
              <a:spLocks noChangeAspect="1"/>
            </p:cNvSpPr>
            <p:nvPr/>
          </p:nvSpPr>
          <p:spPr bwMode="auto">
            <a:xfrm>
              <a:off x="8427987"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57507" tIns="126005" rIns="157507" bIns="126005" numCol="1" spcCol="0" rtlCol="0" fromWordArt="0" anchor="t" anchorCtr="0" forceAA="0" compatLnSpc="1">
              <a:prstTxWarp prst="textNoShape">
                <a:avLst/>
              </a:prstTxWarp>
              <a:noAutofit/>
            </a:bodyPr>
            <a:lstStyle/>
            <a:p>
              <a:pPr algn="ctr" defTabSz="802984" fontAlgn="base">
                <a:lnSpc>
                  <a:spcPct val="90000"/>
                </a:lnSpc>
                <a:spcBef>
                  <a:spcPct val="0"/>
                </a:spcBef>
                <a:spcAft>
                  <a:spcPct val="0"/>
                </a:spcAft>
                <a:defRPr/>
              </a:pPr>
              <a:endParaRPr lang="en-US" sz="2066">
                <a:solidFill>
                  <a:srgbClr val="0070C0"/>
                </a:solidFill>
                <a:ea typeface="Segoe UI" pitchFamily="34" charset="0"/>
                <a:cs typeface="Segoe UI" pitchFamily="34" charset="0"/>
              </a:endParaRPr>
            </a:p>
          </p:txBody>
        </p:sp>
        <p:sp>
          <p:nvSpPr>
            <p:cNvPr id="101" name="Database_EFC7" title="Icon of a cylinder">
              <a:extLst>
                <a:ext uri="{FF2B5EF4-FFF2-40B4-BE49-F238E27FC236}">
                  <a16:creationId xmlns:a16="http://schemas.microsoft.com/office/drawing/2014/main" id="{CF6E44B0-ADA0-444A-91F7-0F7E29163BAF}"/>
                </a:ext>
              </a:extLst>
            </p:cNvPr>
            <p:cNvSpPr>
              <a:spLocks noChangeAspect="1" noEditPoints="1"/>
            </p:cNvSpPr>
            <p:nvPr/>
          </p:nvSpPr>
          <p:spPr bwMode="auto">
            <a:xfrm>
              <a:off x="8563031"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102" name="Database_EFC7" title="Icon of a cylinder">
              <a:extLst>
                <a:ext uri="{FF2B5EF4-FFF2-40B4-BE49-F238E27FC236}">
                  <a16:creationId xmlns:a16="http://schemas.microsoft.com/office/drawing/2014/main" id="{F7C7C93C-9963-4E5D-9EC4-9619B9C1E940}"/>
                </a:ext>
              </a:extLst>
            </p:cNvPr>
            <p:cNvSpPr>
              <a:spLocks noChangeAspect="1" noEditPoints="1"/>
            </p:cNvSpPr>
            <p:nvPr/>
          </p:nvSpPr>
          <p:spPr bwMode="auto">
            <a:xfrm>
              <a:off x="8715431"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103" name="Database_EFC7" title="Icon of a cylinder">
              <a:extLst>
                <a:ext uri="{FF2B5EF4-FFF2-40B4-BE49-F238E27FC236}">
                  <a16:creationId xmlns:a16="http://schemas.microsoft.com/office/drawing/2014/main" id="{92508B7C-E5B2-4B36-B880-10D989BBD18C}"/>
                </a:ext>
              </a:extLst>
            </p:cNvPr>
            <p:cNvSpPr>
              <a:spLocks noChangeAspect="1" noEditPoints="1"/>
            </p:cNvSpPr>
            <p:nvPr/>
          </p:nvSpPr>
          <p:spPr bwMode="auto">
            <a:xfrm>
              <a:off x="8867831"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cxnSp>
          <p:nvCxnSpPr>
            <p:cNvPr id="104" name="Straight Arrow Connector 103">
              <a:extLst>
                <a:ext uri="{FF2B5EF4-FFF2-40B4-BE49-F238E27FC236}">
                  <a16:creationId xmlns:a16="http://schemas.microsoft.com/office/drawing/2014/main" id="{3EE60250-6C82-4C21-BE97-2EFE0AC98265}"/>
                </a:ext>
              </a:extLst>
            </p:cNvPr>
            <p:cNvCxnSpPr>
              <a:cxnSpLocks/>
            </p:cNvCxnSpPr>
            <p:nvPr/>
          </p:nvCxnSpPr>
          <p:spPr>
            <a:xfrm flipV="1">
              <a:off x="9095446" y="1976311"/>
              <a:ext cx="0" cy="510046"/>
            </a:xfrm>
            <a:prstGeom prst="straightConnector1">
              <a:avLst/>
            </a:prstGeom>
            <a:ln w="28575">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B492FA03-D4D4-42DC-9DD2-7B95DC802B16}"/>
                </a:ext>
              </a:extLst>
            </p:cNvPr>
            <p:cNvCxnSpPr>
              <a:cxnSpLocks/>
            </p:cNvCxnSpPr>
            <p:nvPr/>
          </p:nvCxnSpPr>
          <p:spPr>
            <a:xfrm flipH="1">
              <a:off x="8749615" y="1976311"/>
              <a:ext cx="0" cy="510046"/>
            </a:xfrm>
            <a:prstGeom prst="straightConnector1">
              <a:avLst/>
            </a:prstGeom>
            <a:ln w="28575">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6" name="Database_EFC7" title="Icon of a cylinder">
              <a:extLst>
                <a:ext uri="{FF2B5EF4-FFF2-40B4-BE49-F238E27FC236}">
                  <a16:creationId xmlns:a16="http://schemas.microsoft.com/office/drawing/2014/main" id="{BD3A3075-45DA-4339-9BAD-713E6A75C539}"/>
                </a:ext>
              </a:extLst>
            </p:cNvPr>
            <p:cNvSpPr>
              <a:spLocks noChangeAspect="1" noEditPoints="1"/>
            </p:cNvSpPr>
            <p:nvPr/>
          </p:nvSpPr>
          <p:spPr bwMode="auto">
            <a:xfrm>
              <a:off x="10282388"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107" name="Database_EFC7" title="Icon of a cylinder">
              <a:extLst>
                <a:ext uri="{FF2B5EF4-FFF2-40B4-BE49-F238E27FC236}">
                  <a16:creationId xmlns:a16="http://schemas.microsoft.com/office/drawing/2014/main" id="{828896E5-DF17-47C9-BA02-F8EFEDD40A49}"/>
                </a:ext>
              </a:extLst>
            </p:cNvPr>
            <p:cNvSpPr>
              <a:spLocks noChangeAspect="1" noEditPoints="1"/>
            </p:cNvSpPr>
            <p:nvPr/>
          </p:nvSpPr>
          <p:spPr bwMode="auto">
            <a:xfrm>
              <a:off x="10434788"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108" name="Database_EFC7" title="Icon of a cylinder">
              <a:extLst>
                <a:ext uri="{FF2B5EF4-FFF2-40B4-BE49-F238E27FC236}">
                  <a16:creationId xmlns:a16="http://schemas.microsoft.com/office/drawing/2014/main" id="{9C888DB7-9613-48C2-AB8C-185AFBBAB679}"/>
                </a:ext>
              </a:extLst>
            </p:cNvPr>
            <p:cNvSpPr>
              <a:spLocks noChangeAspect="1" noEditPoints="1"/>
            </p:cNvSpPr>
            <p:nvPr/>
          </p:nvSpPr>
          <p:spPr bwMode="auto">
            <a:xfrm>
              <a:off x="10587188"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cxnSp>
          <p:nvCxnSpPr>
            <p:cNvPr id="109" name="Straight Arrow Connector 108">
              <a:extLst>
                <a:ext uri="{FF2B5EF4-FFF2-40B4-BE49-F238E27FC236}">
                  <a16:creationId xmlns:a16="http://schemas.microsoft.com/office/drawing/2014/main" id="{6278A635-FCF9-49C1-91AA-E6DB6CDAC763}"/>
                </a:ext>
              </a:extLst>
            </p:cNvPr>
            <p:cNvCxnSpPr>
              <a:cxnSpLocks/>
            </p:cNvCxnSpPr>
            <p:nvPr/>
          </p:nvCxnSpPr>
          <p:spPr>
            <a:xfrm flipV="1">
              <a:off x="10587188" y="1976311"/>
              <a:ext cx="0" cy="510046"/>
            </a:xfrm>
            <a:prstGeom prst="straightConnector1">
              <a:avLst/>
            </a:prstGeom>
            <a:ln w="28575">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80272A20-00B5-4E36-9658-57A7325D8313}"/>
                </a:ext>
              </a:extLst>
            </p:cNvPr>
            <p:cNvCxnSpPr>
              <a:cxnSpLocks/>
            </p:cNvCxnSpPr>
            <p:nvPr/>
          </p:nvCxnSpPr>
          <p:spPr>
            <a:xfrm>
              <a:off x="9336055" y="3130734"/>
              <a:ext cx="653622" cy="0"/>
            </a:xfrm>
            <a:prstGeom prst="straightConnector1">
              <a:avLst/>
            </a:prstGeom>
            <a:ln w="28575">
              <a:solidFill>
                <a:schemeClr val="accent5"/>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13" name="Rectangle 112">
            <a:extLst>
              <a:ext uri="{FF2B5EF4-FFF2-40B4-BE49-F238E27FC236}">
                <a16:creationId xmlns:a16="http://schemas.microsoft.com/office/drawing/2014/main" id="{B641657D-9592-41E2-BD04-1847742DE4BF}"/>
              </a:ext>
            </a:extLst>
          </p:cNvPr>
          <p:cNvSpPr/>
          <p:nvPr/>
        </p:nvSpPr>
        <p:spPr bwMode="auto">
          <a:xfrm>
            <a:off x="2708203" y="2230025"/>
            <a:ext cx="807260" cy="801054"/>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0666" tIns="128533" rIns="160666" bIns="128533" numCol="1" spcCol="0" rtlCol="0" fromWordArt="0" anchor="b" anchorCtr="0" forceAA="0" compatLnSpc="1">
            <a:prstTxWarp prst="textNoShape">
              <a:avLst/>
            </a:prstTxWarp>
            <a:noAutofit/>
          </a:bodyPr>
          <a:lstStyle/>
          <a:p>
            <a:pPr algn="ctr" defTabSz="819122" fontAlgn="base">
              <a:lnSpc>
                <a:spcPct val="90000"/>
              </a:lnSpc>
              <a:spcBef>
                <a:spcPct val="0"/>
              </a:spcBef>
              <a:spcAft>
                <a:spcPct val="0"/>
              </a:spcAft>
              <a:defRPr/>
            </a:pPr>
            <a:r>
              <a:rPr lang="en-US" sz="1229">
                <a:solidFill>
                  <a:srgbClr val="0070C0"/>
                </a:solidFill>
                <a:ea typeface="Segoe UI" pitchFamily="34" charset="0"/>
                <a:cs typeface="Segoe UI" pitchFamily="34" charset="0"/>
              </a:rPr>
              <a:t>Zone 1</a:t>
            </a:r>
          </a:p>
        </p:txBody>
      </p:sp>
      <p:grpSp>
        <p:nvGrpSpPr>
          <p:cNvPr id="5" name="Group 4">
            <a:extLst>
              <a:ext uri="{FF2B5EF4-FFF2-40B4-BE49-F238E27FC236}">
                <a16:creationId xmlns:a16="http://schemas.microsoft.com/office/drawing/2014/main" id="{F20E1B21-FF0D-4A8C-8825-B8AA753DA981}"/>
              </a:ext>
            </a:extLst>
          </p:cNvPr>
          <p:cNvGrpSpPr/>
          <p:nvPr/>
        </p:nvGrpSpPr>
        <p:grpSpPr>
          <a:xfrm>
            <a:off x="2925391" y="1507079"/>
            <a:ext cx="2908883" cy="4195740"/>
            <a:chOff x="2487527" y="1241657"/>
            <a:chExt cx="3310601" cy="4775174"/>
          </a:xfrm>
        </p:grpSpPr>
        <p:sp>
          <p:nvSpPr>
            <p:cNvPr id="111" name="Rectangle 110">
              <a:extLst>
                <a:ext uri="{FF2B5EF4-FFF2-40B4-BE49-F238E27FC236}">
                  <a16:creationId xmlns:a16="http://schemas.microsoft.com/office/drawing/2014/main" id="{451AE0C8-7252-42A5-8AA8-13E5A1751E82}"/>
                </a:ext>
              </a:extLst>
            </p:cNvPr>
            <p:cNvSpPr/>
            <p:nvPr/>
          </p:nvSpPr>
          <p:spPr bwMode="auto">
            <a:xfrm>
              <a:off x="2487527" y="3514559"/>
              <a:ext cx="3310601" cy="25022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7507" tIns="126005" rIns="157507" bIns="12600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02984" fontAlgn="base">
                <a:spcBef>
                  <a:spcPct val="0"/>
                </a:spcBef>
                <a:spcAft>
                  <a:spcPct val="0"/>
                </a:spcAft>
                <a:defRPr/>
              </a:pPr>
              <a:r>
                <a:rPr lang="en-US" sz="1406">
                  <a:solidFill>
                    <a:srgbClr val="0070C0"/>
                  </a:solidFill>
                  <a:ea typeface="Segoe UI" pitchFamily="34" charset="0"/>
                  <a:cs typeface="Segoe UI Semibold" panose="020B0702040204020203" pitchFamily="34" charset="0"/>
                </a:rPr>
                <a:t>ZRS </a:t>
              </a:r>
            </a:p>
            <a:p>
              <a:pPr defTabSz="802984" fontAlgn="base">
                <a:spcBef>
                  <a:spcPct val="0"/>
                </a:spcBef>
                <a:spcAft>
                  <a:spcPct val="0"/>
                </a:spcAft>
                <a:defRPr/>
              </a:pPr>
              <a:endParaRPr lang="en-US" sz="1552">
                <a:solidFill>
                  <a:srgbClr val="0070C0"/>
                </a:solidFill>
                <a:ea typeface="Segoe UI" pitchFamily="34" charset="0"/>
                <a:cs typeface="Segoe UI" pitchFamily="34" charset="0"/>
              </a:endParaRP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3 replicas </a:t>
              </a:r>
              <a:r>
                <a:rPr lang="en-US" sz="1229" b="1">
                  <a:solidFill>
                    <a:srgbClr val="0070C0"/>
                  </a:solidFill>
                  <a:ea typeface="Segoe UI" panose="020B0502040204020203" pitchFamily="34" charset="0"/>
                  <a:cs typeface="Segoe UI" panose="020B0502040204020203" pitchFamily="34" charset="0"/>
                </a:rPr>
                <a:t>across 3 Zones</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Protect against disk, node, rack and </a:t>
              </a:r>
              <a:r>
                <a:rPr lang="en-US" sz="1229" b="1">
                  <a:solidFill>
                    <a:srgbClr val="0070C0"/>
                  </a:solidFill>
                  <a:ea typeface="Segoe UI" panose="020B0502040204020203" pitchFamily="34" charset="0"/>
                  <a:cs typeface="Segoe UI" panose="020B0502040204020203" pitchFamily="34" charset="0"/>
                </a:rPr>
                <a:t>zone</a:t>
              </a:r>
              <a:r>
                <a:rPr lang="en-US" sz="1229">
                  <a:solidFill>
                    <a:srgbClr val="0070C0"/>
                  </a:solidFill>
                  <a:ea typeface="Segoe UI" panose="020B0502040204020203" pitchFamily="34" charset="0"/>
                  <a:cs typeface="Segoe UI" panose="020B0502040204020203" pitchFamily="34" charset="0"/>
                </a:rPr>
                <a:t> failures</a:t>
              </a:r>
            </a:p>
            <a:p>
              <a:pPr defTabSz="802984" fontAlgn="base">
                <a:spcBef>
                  <a:spcPct val="0"/>
                </a:spcBef>
                <a:spcAft>
                  <a:spcPts val="526"/>
                </a:spcAft>
                <a:defRPr/>
              </a:pPr>
              <a:r>
                <a:rPr lang="en-US" sz="1229" b="1">
                  <a:solidFill>
                    <a:srgbClr val="0070C0"/>
                  </a:solidFill>
                  <a:ea typeface="Segoe UI" panose="020B0502040204020203" pitchFamily="34" charset="0"/>
                  <a:cs typeface="Segoe UI" panose="020B0502040204020203" pitchFamily="34" charset="0"/>
                </a:rPr>
                <a:t>Synchronous writes </a:t>
              </a:r>
              <a:r>
                <a:rPr lang="en-US" sz="1229">
                  <a:solidFill>
                    <a:srgbClr val="0070C0"/>
                  </a:solidFill>
                  <a:ea typeface="Segoe UI" panose="020B0502040204020203" pitchFamily="34" charset="0"/>
                  <a:cs typeface="Segoe UI" panose="020B0502040204020203" pitchFamily="34" charset="0"/>
                </a:rPr>
                <a:t>to all 3 zones</a:t>
              </a:r>
              <a:endParaRPr lang="en-US" sz="1376">
                <a:solidFill>
                  <a:srgbClr val="0070C0"/>
                </a:solidFill>
                <a:ea typeface="Segoe UI" pitchFamily="34" charset="0"/>
                <a:cs typeface="Segoe UI" pitchFamily="34" charset="0"/>
              </a:endParaRPr>
            </a:p>
            <a:p>
              <a:pPr defTabSz="802984" fontAlgn="base">
                <a:spcBef>
                  <a:spcPct val="0"/>
                </a:spcBef>
                <a:spcAft>
                  <a:spcPts val="526"/>
                </a:spcAft>
                <a:defRPr/>
              </a:pPr>
              <a:r>
                <a:rPr lang="en-US" sz="1376">
                  <a:solidFill>
                    <a:srgbClr val="0070C0"/>
                  </a:solidFill>
                  <a:ea typeface="Segoe UI" pitchFamily="34" charset="0"/>
                  <a:cs typeface="Segoe UI" pitchFamily="34" charset="0"/>
                </a:rPr>
                <a:t>12 9s of durability</a:t>
              </a:r>
            </a:p>
            <a:p>
              <a:pPr defTabSz="802984" fontAlgn="base">
                <a:spcBef>
                  <a:spcPct val="0"/>
                </a:spcBef>
                <a:spcAft>
                  <a:spcPts val="526"/>
                </a:spcAft>
                <a:defRPr/>
              </a:pPr>
              <a:r>
                <a:rPr lang="en-US" sz="1376">
                  <a:solidFill>
                    <a:srgbClr val="0070C0"/>
                  </a:solidFill>
                  <a:ea typeface="Segoe UI" pitchFamily="34" charset="0"/>
                  <a:cs typeface="Segoe UI" pitchFamily="34" charset="0"/>
                </a:rPr>
                <a:t>Available in 8 regions</a:t>
              </a:r>
              <a:endParaRPr lang="en-US" sz="1229">
                <a:solidFill>
                  <a:srgbClr val="0070C0"/>
                </a:solidFill>
                <a:ea typeface="Segoe UI" panose="020B0502040204020203" pitchFamily="34" charset="0"/>
                <a:cs typeface="Segoe UI" panose="020B0502040204020203" pitchFamily="34" charset="0"/>
              </a:endParaRPr>
            </a:p>
          </p:txBody>
        </p:sp>
        <p:grpSp>
          <p:nvGrpSpPr>
            <p:cNvPr id="4" name="Group 3">
              <a:extLst>
                <a:ext uri="{FF2B5EF4-FFF2-40B4-BE49-F238E27FC236}">
                  <a16:creationId xmlns:a16="http://schemas.microsoft.com/office/drawing/2014/main" id="{05FF31EB-64E1-4AB0-ADED-8C4A9EC066FC}"/>
                </a:ext>
              </a:extLst>
            </p:cNvPr>
            <p:cNvGrpSpPr/>
            <p:nvPr/>
          </p:nvGrpSpPr>
          <p:grpSpPr>
            <a:xfrm>
              <a:off x="2487902" y="1241657"/>
              <a:ext cx="2850955" cy="1723104"/>
              <a:chOff x="2487902" y="1241657"/>
              <a:chExt cx="2850955" cy="1723104"/>
            </a:xfrm>
          </p:grpSpPr>
          <p:sp>
            <p:nvSpPr>
              <p:cNvPr id="112" name="Database_EFC7" title="Icon of a cylinder">
                <a:extLst>
                  <a:ext uri="{FF2B5EF4-FFF2-40B4-BE49-F238E27FC236}">
                    <a16:creationId xmlns:a16="http://schemas.microsoft.com/office/drawing/2014/main" id="{440C3D18-1D86-4558-BBF9-B744BC70DCA3}"/>
                  </a:ext>
                </a:extLst>
              </p:cNvPr>
              <p:cNvSpPr>
                <a:spLocks noChangeAspect="1" noEditPoints="1"/>
              </p:cNvSpPr>
              <p:nvPr/>
            </p:nvSpPr>
            <p:spPr bwMode="auto">
              <a:xfrm>
                <a:off x="2487902" y="2048209"/>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cxnSp>
            <p:nvCxnSpPr>
              <p:cNvPr id="114" name="Straight Arrow Connector 113">
                <a:extLst>
                  <a:ext uri="{FF2B5EF4-FFF2-40B4-BE49-F238E27FC236}">
                    <a16:creationId xmlns:a16="http://schemas.microsoft.com/office/drawing/2014/main" id="{3FD09085-13AB-4635-81DC-30B5C32B5774}"/>
                  </a:ext>
                </a:extLst>
              </p:cNvPr>
              <p:cNvCxnSpPr>
                <a:cxnSpLocks/>
              </p:cNvCxnSpPr>
              <p:nvPr/>
            </p:nvCxnSpPr>
            <p:spPr>
              <a:xfrm flipH="1">
                <a:off x="2664322" y="1250205"/>
                <a:ext cx="1123691" cy="726312"/>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15" name="Database_EFC7" title="Icon of a cylinder">
                <a:extLst>
                  <a:ext uri="{FF2B5EF4-FFF2-40B4-BE49-F238E27FC236}">
                    <a16:creationId xmlns:a16="http://schemas.microsoft.com/office/drawing/2014/main" id="{0C7F7380-BC98-442A-B3AC-E9AE22256964}"/>
                  </a:ext>
                </a:extLst>
              </p:cNvPr>
              <p:cNvSpPr>
                <a:spLocks noChangeAspect="1" noEditPoints="1"/>
              </p:cNvSpPr>
              <p:nvPr/>
            </p:nvSpPr>
            <p:spPr bwMode="auto">
              <a:xfrm>
                <a:off x="3632909" y="2065304"/>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116" name="Rectangle 115">
                <a:extLst>
                  <a:ext uri="{FF2B5EF4-FFF2-40B4-BE49-F238E27FC236}">
                    <a16:creationId xmlns:a16="http://schemas.microsoft.com/office/drawing/2014/main" id="{A36D7C57-08CE-4FAF-BE25-44D5F42974A3}"/>
                  </a:ext>
                </a:extLst>
              </p:cNvPr>
              <p:cNvSpPr/>
              <p:nvPr/>
            </p:nvSpPr>
            <p:spPr bwMode="auto">
              <a:xfrm>
                <a:off x="3297621" y="2046847"/>
                <a:ext cx="918743" cy="91168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0666" tIns="128533" rIns="160666" bIns="128533" numCol="1" spcCol="0" rtlCol="0" fromWordArt="0" anchor="b" anchorCtr="0" forceAA="0" compatLnSpc="1">
                <a:prstTxWarp prst="textNoShape">
                  <a:avLst/>
                </a:prstTxWarp>
                <a:noAutofit/>
              </a:bodyPr>
              <a:lstStyle/>
              <a:p>
                <a:pPr algn="ctr" defTabSz="819122" fontAlgn="base">
                  <a:lnSpc>
                    <a:spcPct val="90000"/>
                  </a:lnSpc>
                  <a:spcBef>
                    <a:spcPct val="0"/>
                  </a:spcBef>
                  <a:spcAft>
                    <a:spcPct val="0"/>
                  </a:spcAft>
                  <a:defRPr/>
                </a:pPr>
                <a:r>
                  <a:rPr lang="en-US" sz="1229">
                    <a:solidFill>
                      <a:srgbClr val="0070C0"/>
                    </a:solidFill>
                    <a:ea typeface="Segoe UI" pitchFamily="34" charset="0"/>
                    <a:cs typeface="Segoe UI" pitchFamily="34" charset="0"/>
                  </a:rPr>
                  <a:t>Zone 2</a:t>
                </a:r>
              </a:p>
            </p:txBody>
          </p:sp>
          <p:sp>
            <p:nvSpPr>
              <p:cNvPr id="117" name="Database_EFC7" title="Icon of a cylinder">
                <a:extLst>
                  <a:ext uri="{FF2B5EF4-FFF2-40B4-BE49-F238E27FC236}">
                    <a16:creationId xmlns:a16="http://schemas.microsoft.com/office/drawing/2014/main" id="{0ACDEC35-3324-4AD0-B8BF-2F2C64E3EA3E}"/>
                  </a:ext>
                </a:extLst>
              </p:cNvPr>
              <p:cNvSpPr>
                <a:spLocks noChangeAspect="1" noEditPoints="1"/>
              </p:cNvSpPr>
              <p:nvPr/>
            </p:nvSpPr>
            <p:spPr bwMode="auto">
              <a:xfrm>
                <a:off x="4707900" y="2025027"/>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118" name="Rectangle 117">
                <a:extLst>
                  <a:ext uri="{FF2B5EF4-FFF2-40B4-BE49-F238E27FC236}">
                    <a16:creationId xmlns:a16="http://schemas.microsoft.com/office/drawing/2014/main" id="{4365DD1E-0445-4225-8E8F-8E0C418BEDB7}"/>
                  </a:ext>
                </a:extLst>
              </p:cNvPr>
              <p:cNvSpPr/>
              <p:nvPr/>
            </p:nvSpPr>
            <p:spPr bwMode="auto">
              <a:xfrm>
                <a:off x="4420114" y="2053081"/>
                <a:ext cx="918743" cy="91168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0666" tIns="128533" rIns="160666" bIns="128533" numCol="1" spcCol="0" rtlCol="0" fromWordArt="0" anchor="b" anchorCtr="0" forceAA="0" compatLnSpc="1">
                <a:prstTxWarp prst="textNoShape">
                  <a:avLst/>
                </a:prstTxWarp>
                <a:noAutofit/>
              </a:bodyPr>
              <a:lstStyle/>
              <a:p>
                <a:pPr algn="ctr" defTabSz="819122" fontAlgn="base">
                  <a:lnSpc>
                    <a:spcPct val="90000"/>
                  </a:lnSpc>
                  <a:spcBef>
                    <a:spcPct val="0"/>
                  </a:spcBef>
                  <a:spcAft>
                    <a:spcPct val="0"/>
                  </a:spcAft>
                  <a:defRPr/>
                </a:pPr>
                <a:r>
                  <a:rPr lang="en-US" sz="1229">
                    <a:solidFill>
                      <a:srgbClr val="0070C0"/>
                    </a:solidFill>
                    <a:ea typeface="Segoe UI" pitchFamily="34" charset="0"/>
                    <a:cs typeface="Segoe UI" pitchFamily="34" charset="0"/>
                  </a:rPr>
                  <a:t>Zone 3</a:t>
                </a:r>
              </a:p>
            </p:txBody>
          </p:sp>
          <p:cxnSp>
            <p:nvCxnSpPr>
              <p:cNvPr id="119" name="Straight Arrow Connector 118">
                <a:extLst>
                  <a:ext uri="{FF2B5EF4-FFF2-40B4-BE49-F238E27FC236}">
                    <a16:creationId xmlns:a16="http://schemas.microsoft.com/office/drawing/2014/main" id="{6BD869BD-71FE-4935-AE1D-52E3A56EBA59}"/>
                  </a:ext>
                </a:extLst>
              </p:cNvPr>
              <p:cNvCxnSpPr>
                <a:cxnSpLocks/>
              </p:cNvCxnSpPr>
              <p:nvPr/>
            </p:nvCxnSpPr>
            <p:spPr>
              <a:xfrm>
                <a:off x="3853819" y="1250205"/>
                <a:ext cx="1138792" cy="743407"/>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C7997448-730C-4254-8424-9F35188BA0CA}"/>
                  </a:ext>
                </a:extLst>
              </p:cNvPr>
              <p:cNvCxnSpPr>
                <a:cxnSpLocks/>
              </p:cNvCxnSpPr>
              <p:nvPr/>
            </p:nvCxnSpPr>
            <p:spPr>
              <a:xfrm>
                <a:off x="3809329" y="1241657"/>
                <a:ext cx="0" cy="751956"/>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grpSp>
      <p:grpSp>
        <p:nvGrpSpPr>
          <p:cNvPr id="59" name="Group 58">
            <a:extLst>
              <a:ext uri="{FF2B5EF4-FFF2-40B4-BE49-F238E27FC236}">
                <a16:creationId xmlns:a16="http://schemas.microsoft.com/office/drawing/2014/main" id="{EBCAEC20-A063-48D5-82F5-2CA08762CE4B}"/>
              </a:ext>
            </a:extLst>
          </p:cNvPr>
          <p:cNvGrpSpPr/>
          <p:nvPr/>
        </p:nvGrpSpPr>
        <p:grpSpPr>
          <a:xfrm>
            <a:off x="962548" y="1464242"/>
            <a:ext cx="2039218" cy="4236174"/>
            <a:chOff x="1105916" y="1573773"/>
            <a:chExt cx="2321165" cy="4821878"/>
          </a:xfrm>
        </p:grpSpPr>
        <p:sp>
          <p:nvSpPr>
            <p:cNvPr id="60" name="Rectangle 59">
              <a:extLst>
                <a:ext uri="{FF2B5EF4-FFF2-40B4-BE49-F238E27FC236}">
                  <a16:creationId xmlns:a16="http://schemas.microsoft.com/office/drawing/2014/main" id="{BE623883-D651-46A2-875F-1C02F75CDDE5}"/>
                </a:ext>
              </a:extLst>
            </p:cNvPr>
            <p:cNvSpPr/>
            <p:nvPr/>
          </p:nvSpPr>
          <p:spPr bwMode="auto">
            <a:xfrm>
              <a:off x="1105916" y="3893024"/>
              <a:ext cx="2321165"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7507" tIns="126005" rIns="157507" bIns="12600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02984" fontAlgn="base">
                <a:spcBef>
                  <a:spcPct val="0"/>
                </a:spcBef>
                <a:spcAft>
                  <a:spcPct val="0"/>
                </a:spcAft>
                <a:defRPr/>
              </a:pPr>
              <a:r>
                <a:rPr lang="en-US" sz="1581">
                  <a:solidFill>
                    <a:srgbClr val="0070C0"/>
                  </a:solidFill>
                  <a:ea typeface="Segoe UI" pitchFamily="34" charset="0"/>
                  <a:cs typeface="Segoe UI Semibold" panose="020B0702040204020203" pitchFamily="34" charset="0"/>
                </a:rPr>
                <a:t>LRS</a:t>
              </a:r>
              <a:endParaRPr lang="en-US" sz="1406">
                <a:solidFill>
                  <a:srgbClr val="0070C0"/>
                </a:solidFill>
                <a:ea typeface="Segoe UI" pitchFamily="34" charset="0"/>
                <a:cs typeface="Segoe UI Semibold" panose="020B0702040204020203" pitchFamily="34" charset="0"/>
              </a:endParaRPr>
            </a:p>
            <a:p>
              <a:pPr defTabSz="802984" fontAlgn="base">
                <a:spcBef>
                  <a:spcPct val="0"/>
                </a:spcBef>
                <a:spcAft>
                  <a:spcPct val="0"/>
                </a:spcAft>
                <a:defRPr/>
              </a:pPr>
              <a:endParaRPr lang="en-US" sz="1552">
                <a:solidFill>
                  <a:srgbClr val="0070C0"/>
                </a:solidFill>
                <a:ea typeface="Segoe UI" pitchFamily="34" charset="0"/>
                <a:cs typeface="Segoe UI" pitchFamily="34" charset="0"/>
              </a:endParaRP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3 replicas, 1 region</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Protect against disk, node, rack failures</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Write is </a:t>
              </a:r>
              <a:r>
                <a:rPr lang="en-US" sz="1229" err="1">
                  <a:solidFill>
                    <a:srgbClr val="0070C0"/>
                  </a:solidFill>
                  <a:ea typeface="Segoe UI" panose="020B0502040204020203" pitchFamily="34" charset="0"/>
                  <a:cs typeface="Segoe UI" panose="020B0502040204020203" pitchFamily="34" charset="0"/>
                </a:rPr>
                <a:t>ack’d</a:t>
              </a:r>
              <a:r>
                <a:rPr lang="en-US" sz="1229">
                  <a:solidFill>
                    <a:srgbClr val="0070C0"/>
                  </a:solidFill>
                  <a:ea typeface="Segoe UI" panose="020B0502040204020203" pitchFamily="34" charset="0"/>
                  <a:cs typeface="Segoe UI" panose="020B0502040204020203" pitchFamily="34" charset="0"/>
                </a:rPr>
                <a:t> when all replicas are committed</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Superior to dual-parity RAID</a:t>
              </a:r>
            </a:p>
            <a:p>
              <a:pPr defTabSz="802984" fontAlgn="base">
                <a:spcBef>
                  <a:spcPct val="0"/>
                </a:spcBef>
                <a:spcAft>
                  <a:spcPts val="526"/>
                </a:spcAft>
                <a:defRPr/>
              </a:pPr>
              <a:r>
                <a:rPr lang="en-US" sz="1229">
                  <a:solidFill>
                    <a:srgbClr val="0070C0"/>
                  </a:solidFill>
                  <a:ea typeface="Segoe UI" panose="020B0502040204020203" pitchFamily="34" charset="0"/>
                  <a:cs typeface="Segoe UI" panose="020B0502040204020203" pitchFamily="34" charset="0"/>
                </a:rPr>
                <a:t>11 9s of durability (0 seconds of outage per year)	</a:t>
              </a:r>
            </a:p>
            <a:p>
              <a:pPr defTabSz="802984" fontAlgn="base">
                <a:spcBef>
                  <a:spcPct val="0"/>
                </a:spcBef>
                <a:spcAft>
                  <a:spcPct val="0"/>
                </a:spcAft>
                <a:defRPr/>
              </a:pPr>
              <a:endParaRPr lang="en-US" sz="1376">
                <a:solidFill>
                  <a:srgbClr val="0070C0"/>
                </a:solidFill>
                <a:ea typeface="Segoe UI" pitchFamily="34" charset="0"/>
                <a:cs typeface="Segoe UI" pitchFamily="34" charset="0"/>
              </a:endParaRPr>
            </a:p>
          </p:txBody>
        </p:sp>
        <p:sp>
          <p:nvSpPr>
            <p:cNvPr id="61" name="Rectangle 60">
              <a:extLst>
                <a:ext uri="{FF2B5EF4-FFF2-40B4-BE49-F238E27FC236}">
                  <a16:creationId xmlns:a16="http://schemas.microsoft.com/office/drawing/2014/main" id="{2D2876EE-57E8-4205-90D2-05FE27C1CADB}"/>
                </a:ext>
              </a:extLst>
            </p:cNvPr>
            <p:cNvSpPr>
              <a:spLocks noChangeAspect="1"/>
            </p:cNvSpPr>
            <p:nvPr/>
          </p:nvSpPr>
          <p:spPr bwMode="auto">
            <a:xfrm>
              <a:off x="1448626" y="1597138"/>
              <a:ext cx="1045829" cy="993536"/>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57507" tIns="126005" rIns="157507" bIns="126005" numCol="1" spcCol="0" rtlCol="0" fromWordArt="0" anchor="t" anchorCtr="0" forceAA="0" compatLnSpc="1">
              <a:prstTxWarp prst="textNoShape">
                <a:avLst/>
              </a:prstTxWarp>
              <a:noAutofit/>
            </a:bodyPr>
            <a:lstStyle/>
            <a:p>
              <a:pPr algn="ctr" defTabSz="802984" fontAlgn="base">
                <a:lnSpc>
                  <a:spcPct val="90000"/>
                </a:lnSpc>
                <a:spcBef>
                  <a:spcPct val="0"/>
                </a:spcBef>
                <a:spcAft>
                  <a:spcPct val="0"/>
                </a:spcAft>
                <a:defRPr/>
              </a:pPr>
              <a:endParaRPr lang="en-US" sz="2066">
                <a:solidFill>
                  <a:srgbClr val="0070C0"/>
                </a:solidFill>
                <a:ea typeface="Segoe UI" pitchFamily="34" charset="0"/>
                <a:cs typeface="Segoe UI" pitchFamily="34" charset="0"/>
              </a:endParaRPr>
            </a:p>
          </p:txBody>
        </p:sp>
        <p:sp>
          <p:nvSpPr>
            <p:cNvPr id="62" name="Database_EFC7" title="Icon of a cylinder">
              <a:extLst>
                <a:ext uri="{FF2B5EF4-FFF2-40B4-BE49-F238E27FC236}">
                  <a16:creationId xmlns:a16="http://schemas.microsoft.com/office/drawing/2014/main" id="{7DB4F0CE-0067-48A9-92EF-3AF79750AF79}"/>
                </a:ext>
              </a:extLst>
            </p:cNvPr>
            <p:cNvSpPr>
              <a:spLocks noChangeAspect="1" noEditPoints="1"/>
            </p:cNvSpPr>
            <p:nvPr/>
          </p:nvSpPr>
          <p:spPr bwMode="auto">
            <a:xfrm>
              <a:off x="1583670" y="2305168"/>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64" name="Database_EFC7" title="Icon of a cylinder">
              <a:extLst>
                <a:ext uri="{FF2B5EF4-FFF2-40B4-BE49-F238E27FC236}">
                  <a16:creationId xmlns:a16="http://schemas.microsoft.com/office/drawing/2014/main" id="{C4BA43B2-3BC5-4CAB-BEE9-14D0CCE953E8}"/>
                </a:ext>
              </a:extLst>
            </p:cNvPr>
            <p:cNvSpPr>
              <a:spLocks noChangeAspect="1" noEditPoints="1"/>
            </p:cNvSpPr>
            <p:nvPr/>
          </p:nvSpPr>
          <p:spPr bwMode="auto">
            <a:xfrm>
              <a:off x="1736070" y="2457568"/>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65" name="Database_EFC7" title="Icon of a cylinder">
              <a:extLst>
                <a:ext uri="{FF2B5EF4-FFF2-40B4-BE49-F238E27FC236}">
                  <a16:creationId xmlns:a16="http://schemas.microsoft.com/office/drawing/2014/main" id="{EC709F28-E1A3-4E2E-A217-32445D97C3A1}"/>
                </a:ext>
              </a:extLst>
            </p:cNvPr>
            <p:cNvSpPr>
              <a:spLocks noChangeAspect="1" noEditPoints="1"/>
            </p:cNvSpPr>
            <p:nvPr/>
          </p:nvSpPr>
          <p:spPr bwMode="auto">
            <a:xfrm>
              <a:off x="1888470" y="2596509"/>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cxnSp>
          <p:nvCxnSpPr>
            <p:cNvPr id="67" name="Straight Arrow Connector 66">
              <a:extLst>
                <a:ext uri="{FF2B5EF4-FFF2-40B4-BE49-F238E27FC236}">
                  <a16:creationId xmlns:a16="http://schemas.microsoft.com/office/drawing/2014/main" id="{8AC784B3-A31F-4040-A48D-C12FBDB55D35}"/>
                </a:ext>
              </a:extLst>
            </p:cNvPr>
            <p:cNvCxnSpPr>
              <a:cxnSpLocks/>
            </p:cNvCxnSpPr>
            <p:nvPr/>
          </p:nvCxnSpPr>
          <p:spPr>
            <a:xfrm flipV="1">
              <a:off x="2116085" y="1573779"/>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A6026B5E-4838-40ED-B6B7-D44441FFBCA7}"/>
                </a:ext>
              </a:extLst>
            </p:cNvPr>
            <p:cNvCxnSpPr>
              <a:cxnSpLocks/>
            </p:cNvCxnSpPr>
            <p:nvPr/>
          </p:nvCxnSpPr>
          <p:spPr>
            <a:xfrm flipH="1">
              <a:off x="1770254" y="1573773"/>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A45F87F9-1466-4DC3-96EE-7D2AD863B716}"/>
              </a:ext>
            </a:extLst>
          </p:cNvPr>
          <p:cNvGrpSpPr/>
          <p:nvPr/>
        </p:nvGrpSpPr>
        <p:grpSpPr>
          <a:xfrm>
            <a:off x="2925394" y="1505082"/>
            <a:ext cx="2284471" cy="1143679"/>
            <a:chOff x="2487902" y="1241657"/>
            <a:chExt cx="2599959" cy="1301621"/>
          </a:xfrm>
        </p:grpSpPr>
        <p:sp>
          <p:nvSpPr>
            <p:cNvPr id="121" name="Database_EFC7" title="Icon of a cylinder">
              <a:extLst>
                <a:ext uri="{FF2B5EF4-FFF2-40B4-BE49-F238E27FC236}">
                  <a16:creationId xmlns:a16="http://schemas.microsoft.com/office/drawing/2014/main" id="{34CF87A3-5858-4F90-A583-9C48C5A99063}"/>
                </a:ext>
              </a:extLst>
            </p:cNvPr>
            <p:cNvSpPr>
              <a:spLocks noChangeAspect="1" noEditPoints="1"/>
            </p:cNvSpPr>
            <p:nvPr/>
          </p:nvSpPr>
          <p:spPr bwMode="auto">
            <a:xfrm>
              <a:off x="2487902" y="2048209"/>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cxnSp>
          <p:nvCxnSpPr>
            <p:cNvPr id="122" name="Straight Arrow Connector 121">
              <a:extLst>
                <a:ext uri="{FF2B5EF4-FFF2-40B4-BE49-F238E27FC236}">
                  <a16:creationId xmlns:a16="http://schemas.microsoft.com/office/drawing/2014/main" id="{47E43308-AB48-423D-93E8-2288E60B132C}"/>
                </a:ext>
              </a:extLst>
            </p:cNvPr>
            <p:cNvCxnSpPr>
              <a:cxnSpLocks/>
            </p:cNvCxnSpPr>
            <p:nvPr/>
          </p:nvCxnSpPr>
          <p:spPr>
            <a:xfrm flipH="1">
              <a:off x="2664322" y="1250205"/>
              <a:ext cx="1123691" cy="726312"/>
            </a:xfrm>
            <a:prstGeom prst="straightConnector1">
              <a:avLst/>
            </a:prstGeom>
            <a:ln w="28575">
              <a:solidFill>
                <a:srgbClr val="49C5B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23" name="Database_EFC7" title="Icon of a cylinder">
              <a:extLst>
                <a:ext uri="{FF2B5EF4-FFF2-40B4-BE49-F238E27FC236}">
                  <a16:creationId xmlns:a16="http://schemas.microsoft.com/office/drawing/2014/main" id="{ACF6C697-EB6E-4BC4-8CDE-BE195FD7CD21}"/>
                </a:ext>
              </a:extLst>
            </p:cNvPr>
            <p:cNvSpPr>
              <a:spLocks noChangeAspect="1" noEditPoints="1"/>
            </p:cNvSpPr>
            <p:nvPr/>
          </p:nvSpPr>
          <p:spPr bwMode="auto">
            <a:xfrm>
              <a:off x="3632909" y="2065304"/>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sp>
          <p:nvSpPr>
            <p:cNvPr id="125" name="Database_EFC7" title="Icon of a cylinder">
              <a:extLst>
                <a:ext uri="{FF2B5EF4-FFF2-40B4-BE49-F238E27FC236}">
                  <a16:creationId xmlns:a16="http://schemas.microsoft.com/office/drawing/2014/main" id="{09A1CAB2-3FB1-4777-9F34-57851D74FF37}"/>
                </a:ext>
              </a:extLst>
            </p:cNvPr>
            <p:cNvSpPr>
              <a:spLocks noChangeAspect="1" noEditPoints="1"/>
            </p:cNvSpPr>
            <p:nvPr/>
          </p:nvSpPr>
          <p:spPr bwMode="auto">
            <a:xfrm>
              <a:off x="4707900" y="2025027"/>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solidFill>
                  <a:srgbClr val="0070C0"/>
                </a:solidFill>
              </a:endParaRPr>
            </a:p>
          </p:txBody>
        </p:sp>
        <p:cxnSp>
          <p:nvCxnSpPr>
            <p:cNvPr id="127" name="Straight Arrow Connector 126">
              <a:extLst>
                <a:ext uri="{FF2B5EF4-FFF2-40B4-BE49-F238E27FC236}">
                  <a16:creationId xmlns:a16="http://schemas.microsoft.com/office/drawing/2014/main" id="{A5C8B8D0-8E00-412C-8E98-CFCD586B8A9F}"/>
                </a:ext>
              </a:extLst>
            </p:cNvPr>
            <p:cNvCxnSpPr>
              <a:cxnSpLocks/>
            </p:cNvCxnSpPr>
            <p:nvPr/>
          </p:nvCxnSpPr>
          <p:spPr>
            <a:xfrm>
              <a:off x="3853819" y="1250205"/>
              <a:ext cx="1138792" cy="743407"/>
            </a:xfrm>
            <a:prstGeom prst="straightConnector1">
              <a:avLst/>
            </a:prstGeom>
            <a:ln w="28575">
              <a:solidFill>
                <a:srgbClr val="49C5B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432D72F-2353-4173-A6C7-D044E9A75342}"/>
                </a:ext>
              </a:extLst>
            </p:cNvPr>
            <p:cNvCxnSpPr>
              <a:cxnSpLocks/>
            </p:cNvCxnSpPr>
            <p:nvPr/>
          </p:nvCxnSpPr>
          <p:spPr>
            <a:xfrm>
              <a:off x="3809329" y="1241657"/>
              <a:ext cx="0" cy="751956"/>
            </a:xfrm>
            <a:prstGeom prst="straightConnector1">
              <a:avLst/>
            </a:prstGeom>
            <a:ln w="28575">
              <a:solidFill>
                <a:srgbClr val="49C5B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29" name="Title 1">
            <a:extLst>
              <a:ext uri="{FF2B5EF4-FFF2-40B4-BE49-F238E27FC236}">
                <a16:creationId xmlns:a16="http://schemas.microsoft.com/office/drawing/2014/main" id="{A44360BB-4271-435E-92AF-1908A4F32883}"/>
              </a:ext>
            </a:extLst>
          </p:cNvPr>
          <p:cNvSpPr txBox="1">
            <a:spLocks/>
          </p:cNvSpPr>
          <p:nvPr/>
        </p:nvSpPr>
        <p:spPr>
          <a:xfrm>
            <a:off x="1123473" y="106921"/>
            <a:ext cx="10900961" cy="1450085"/>
          </a:xfrm>
          <a:prstGeom prst="rect">
            <a:avLst/>
          </a:prstGeom>
        </p:spPr>
        <p:txBody>
          <a:bodyPr vert="horz" lIns="85701" tIns="42851" rIns="85701" bIns="42851" rtlCol="0" anchor="ctr">
            <a:normAutofit/>
          </a:bodyPr>
          <a:lstStyle>
            <a:lvl1pPr algn="l" defTabSz="914400" rtl="0" eaLnBrk="1" latinLnBrk="0" hangingPunct="1">
              <a:lnSpc>
                <a:spcPct val="90000"/>
              </a:lnSpc>
              <a:spcBef>
                <a:spcPct val="0"/>
              </a:spcBef>
              <a:buNone/>
              <a:defRPr sz="3750" kern="1200">
                <a:solidFill>
                  <a:schemeClr val="tx1"/>
                </a:solidFill>
                <a:latin typeface="+mj-lt"/>
                <a:ea typeface="+mj-ea"/>
                <a:cs typeface="+mj-cs"/>
              </a:defRPr>
            </a:lvl1pPr>
          </a:lstStyle>
          <a:p>
            <a:r>
              <a:rPr lang="en-US" sz="3529" dirty="0">
                <a:solidFill>
                  <a:srgbClr val="0070C0"/>
                </a:solidFill>
              </a:rPr>
              <a:t>Azure Storage Durability (Replication Options)</a:t>
            </a:r>
            <a:endParaRPr lang="en-US" sz="3529" dirty="0">
              <a:solidFill>
                <a:srgbClr val="0070C0"/>
              </a:solidFill>
              <a:cs typeface="Segoe UI Light" panose="020B0502040204020203" pitchFamily="34" charset="0"/>
            </a:endParaRPr>
          </a:p>
        </p:txBody>
      </p:sp>
    </p:spTree>
    <p:extLst>
      <p:ext uri="{BB962C8B-B14F-4D97-AF65-F5344CB8AC3E}">
        <p14:creationId xmlns:p14="http://schemas.microsoft.com/office/powerpoint/2010/main" val="2296464489"/>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979E0B-E038-9C7B-E137-972CC00305E5}"/>
              </a:ext>
            </a:extLst>
          </p:cNvPr>
          <p:cNvSpPr>
            <a:spLocks noGrp="1"/>
          </p:cNvSpPr>
          <p:nvPr>
            <p:ph type="title"/>
          </p:nvPr>
        </p:nvSpPr>
        <p:spPr/>
        <p:txBody>
          <a:bodyPr wrap="square" anchor="b">
            <a:normAutofit fontScale="90000"/>
          </a:bodyPr>
          <a:lstStyle/>
          <a:p>
            <a:r>
              <a:rPr lang="en-US" dirty="0"/>
              <a:t>Azure Storage</a:t>
            </a:r>
          </a:p>
        </p:txBody>
      </p:sp>
      <p:sp>
        <p:nvSpPr>
          <p:cNvPr id="4" name="Text Placeholder 3">
            <a:extLst>
              <a:ext uri="{FF2B5EF4-FFF2-40B4-BE49-F238E27FC236}">
                <a16:creationId xmlns:a16="http://schemas.microsoft.com/office/drawing/2014/main" id="{D25881E0-25B3-E020-7B0D-659457D093FD}"/>
              </a:ext>
            </a:extLst>
          </p:cNvPr>
          <p:cNvSpPr>
            <a:spLocks noGrp="1"/>
          </p:cNvSpPr>
          <p:nvPr>
            <p:ph type="body" sz="quarter" idx="12"/>
          </p:nvPr>
        </p:nvSpPr>
        <p:spPr/>
        <p:txBody>
          <a:bodyPr wrap="square">
            <a:normAutofit/>
          </a:bodyPr>
          <a:lstStyle/>
          <a:p>
            <a:pPr>
              <a:spcAft>
                <a:spcPts val="600"/>
              </a:spcAft>
            </a:pPr>
            <a:r>
              <a:rPr lang="en-US"/>
              <a:t>Because we talked long enough</a:t>
            </a:r>
          </a:p>
        </p:txBody>
      </p:sp>
    </p:spTree>
    <p:extLst>
      <p:ext uri="{BB962C8B-B14F-4D97-AF65-F5344CB8AC3E}">
        <p14:creationId xmlns:p14="http://schemas.microsoft.com/office/powerpoint/2010/main" val="166237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5F5A9E-8C71-5C04-E549-6455C8C7E065}"/>
              </a:ext>
            </a:extLst>
          </p:cNvPr>
          <p:cNvSpPr>
            <a:spLocks noGrp="1"/>
          </p:cNvSpPr>
          <p:nvPr>
            <p:ph type="title"/>
          </p:nvPr>
        </p:nvSpPr>
        <p:spPr>
          <a:xfrm>
            <a:off x="585216" y="2918853"/>
            <a:ext cx="9144000" cy="615553"/>
          </a:xfrm>
        </p:spPr>
        <p:txBody>
          <a:bodyPr/>
          <a:lstStyle/>
          <a:p>
            <a:r>
              <a:rPr lang="en-US" dirty="0"/>
              <a:t>Azure Governance</a:t>
            </a:r>
          </a:p>
        </p:txBody>
      </p:sp>
    </p:spTree>
    <p:extLst>
      <p:ext uri="{BB962C8B-B14F-4D97-AF65-F5344CB8AC3E}">
        <p14:creationId xmlns:p14="http://schemas.microsoft.com/office/powerpoint/2010/main" val="79708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F27F6A-11E8-D193-A90A-4BF0DAD35EAD}"/>
              </a:ext>
            </a:extLst>
          </p:cNvPr>
          <p:cNvSpPr>
            <a:spLocks noGrp="1"/>
          </p:cNvSpPr>
          <p:nvPr>
            <p:ph type="title"/>
          </p:nvPr>
        </p:nvSpPr>
        <p:spPr/>
        <p:txBody>
          <a:bodyPr/>
          <a:lstStyle/>
          <a:p>
            <a:r>
              <a:rPr lang="en-US" dirty="0"/>
              <a:t>Azure Governance</a:t>
            </a:r>
          </a:p>
        </p:txBody>
      </p:sp>
      <p:sp>
        <p:nvSpPr>
          <p:cNvPr id="5" name="Content Placeholder 4">
            <a:extLst>
              <a:ext uri="{FF2B5EF4-FFF2-40B4-BE49-F238E27FC236}">
                <a16:creationId xmlns:a16="http://schemas.microsoft.com/office/drawing/2014/main" id="{28259688-484C-FEF4-16CE-E7FD9723817C}"/>
              </a:ext>
            </a:extLst>
          </p:cNvPr>
          <p:cNvSpPr>
            <a:spLocks noGrp="1"/>
          </p:cNvSpPr>
          <p:nvPr>
            <p:ph idx="1"/>
          </p:nvPr>
        </p:nvSpPr>
        <p:spPr/>
        <p:txBody>
          <a:bodyPr/>
          <a:lstStyle/>
          <a:p>
            <a:r>
              <a:rPr lang="en-US"/>
              <a:t>Because we can’t just have fun all the time</a:t>
            </a:r>
          </a:p>
          <a:p>
            <a:r>
              <a:rPr lang="en-US"/>
              <a:t>Policies, Cost Management, Permissions, and Standards are just as, if not more important, than everything else</a:t>
            </a:r>
          </a:p>
          <a:p>
            <a:r>
              <a:rPr lang="en-US"/>
              <a:t>Controls should come first and be in place before any resources get deployed</a:t>
            </a:r>
          </a:p>
          <a:p>
            <a:r>
              <a:rPr lang="en-US"/>
              <a:t>Azure is not your datacenter, make sure you plan accordingly</a:t>
            </a:r>
          </a:p>
          <a:p>
            <a:endParaRPr lang="en-US"/>
          </a:p>
        </p:txBody>
      </p:sp>
    </p:spTree>
    <p:extLst>
      <p:ext uri="{BB962C8B-B14F-4D97-AF65-F5344CB8AC3E}">
        <p14:creationId xmlns:p14="http://schemas.microsoft.com/office/powerpoint/2010/main" val="10594621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E3ECFE4-DB5E-A143-3915-5D831323D00F}"/>
              </a:ext>
            </a:extLst>
          </p:cNvPr>
          <p:cNvSpPr>
            <a:spLocks noGrp="1"/>
          </p:cNvSpPr>
          <p:nvPr>
            <p:ph type="title"/>
          </p:nvPr>
        </p:nvSpPr>
        <p:spPr/>
        <p:txBody>
          <a:bodyPr/>
          <a:lstStyle/>
          <a:p>
            <a:r>
              <a:rPr lang="en-US" dirty="0"/>
              <a:t>Housekeeping</a:t>
            </a:r>
          </a:p>
        </p:txBody>
      </p:sp>
      <p:sp>
        <p:nvSpPr>
          <p:cNvPr id="15" name="Content Placeholder 14">
            <a:extLst>
              <a:ext uri="{FF2B5EF4-FFF2-40B4-BE49-F238E27FC236}">
                <a16:creationId xmlns:a16="http://schemas.microsoft.com/office/drawing/2014/main" id="{1044DE30-4A3B-6052-FC77-E80F8E7F370A}"/>
              </a:ext>
            </a:extLst>
          </p:cNvPr>
          <p:cNvSpPr>
            <a:spLocks noGrp="1"/>
          </p:cNvSpPr>
          <p:nvPr>
            <p:ph sz="quarter" idx="10"/>
          </p:nvPr>
        </p:nvSpPr>
        <p:spPr>
          <a:xfrm>
            <a:off x="584200" y="1435100"/>
            <a:ext cx="11018838" cy="1625060"/>
          </a:xfrm>
        </p:spPr>
        <p:txBody>
          <a:bodyPr/>
          <a:lstStyle/>
          <a:p>
            <a:r>
              <a:rPr lang="en-US" dirty="0"/>
              <a:t>Can’t Hear us?  Can’t see the slides/content?  Please let us know</a:t>
            </a:r>
          </a:p>
          <a:p>
            <a:r>
              <a:rPr lang="en-US" dirty="0"/>
              <a:t>Clarifying questions during the presentation are welcome</a:t>
            </a:r>
          </a:p>
          <a:p>
            <a:r>
              <a:rPr lang="en-US" dirty="0"/>
              <a:t>There will be a 10-15 minute Q&amp;A for detailed/use-case-specific questions at the end.</a:t>
            </a:r>
          </a:p>
        </p:txBody>
      </p:sp>
    </p:spTree>
    <p:extLst>
      <p:ext uri="{BB962C8B-B14F-4D97-AF65-F5344CB8AC3E}">
        <p14:creationId xmlns:p14="http://schemas.microsoft.com/office/powerpoint/2010/main" val="386189264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24EC2-D06B-404A-95B3-C54F1D0B2BEC}"/>
              </a:ext>
            </a:extLst>
          </p:cNvPr>
          <p:cNvSpPr>
            <a:spLocks noGrp="1"/>
          </p:cNvSpPr>
          <p:nvPr>
            <p:ph type="title"/>
          </p:nvPr>
        </p:nvSpPr>
        <p:spPr/>
        <p:txBody>
          <a:bodyPr/>
          <a:lstStyle/>
          <a:p>
            <a:r>
              <a:rPr lang="en-US" dirty="0">
                <a:latin typeface="Segoe Sans Text Semibold" pitchFamily="2" charset="0"/>
                <a:cs typeface="Segoe Sans Text Semibold" pitchFamily="2" charset="0"/>
              </a:rPr>
              <a:t>What is Azure Governance?</a:t>
            </a:r>
          </a:p>
        </p:txBody>
      </p:sp>
      <p:sp>
        <p:nvSpPr>
          <p:cNvPr id="3" name="TextBox 2">
            <a:extLst>
              <a:ext uri="{FF2B5EF4-FFF2-40B4-BE49-F238E27FC236}">
                <a16:creationId xmlns:a16="http://schemas.microsoft.com/office/drawing/2014/main" id="{7F0FD0B9-C6E0-4034-BBD0-5D48022CBFE9}"/>
              </a:ext>
            </a:extLst>
          </p:cNvPr>
          <p:cNvSpPr txBox="1"/>
          <p:nvPr/>
        </p:nvSpPr>
        <p:spPr>
          <a:xfrm>
            <a:off x="501444" y="1128091"/>
            <a:ext cx="9815644" cy="1564274"/>
          </a:xfrm>
          <a:prstGeom prst="rect">
            <a:avLst/>
          </a:prstGeom>
          <a:noFill/>
        </p:spPr>
        <p:txBody>
          <a:bodyPr wrap="square" lIns="0" tIns="0" rIns="0" bIns="0" rtlCol="0">
            <a:spAutoFit/>
          </a:bodyPr>
          <a:lstStyle/>
          <a:p>
            <a:pPr marL="285695" indent="-285695" defTabSz="914225">
              <a:buFont typeface="Arial" panose="020B0604020202020204" pitchFamily="34" charset="0"/>
              <a:buChar char="•"/>
              <a:defRPr/>
            </a:pPr>
            <a:endParaRPr lang="en-US" sz="2800">
              <a:gradFill>
                <a:gsLst>
                  <a:gs pos="2917">
                    <a:srgbClr val="353535"/>
                  </a:gs>
                  <a:gs pos="30000">
                    <a:srgbClr val="353535"/>
                  </a:gs>
                </a:gsLst>
                <a:lin ang="5400000" scaled="0"/>
              </a:gradFill>
              <a:latin typeface="Segoe UI Semilight"/>
            </a:endParaRPr>
          </a:p>
          <a:p>
            <a:pPr marL="285695" indent="-285695" defTabSz="914225">
              <a:buFont typeface="Arial" panose="020B0604020202020204" pitchFamily="34" charset="0"/>
              <a:buChar char="•"/>
              <a:defRPr/>
            </a:pPr>
            <a:endParaRPr lang="en-US" sz="2800">
              <a:gradFill>
                <a:gsLst>
                  <a:gs pos="2917">
                    <a:srgbClr val="353535"/>
                  </a:gs>
                  <a:gs pos="30000">
                    <a:srgbClr val="353535"/>
                  </a:gs>
                </a:gsLst>
                <a:lin ang="5400000" scaled="0"/>
              </a:gradFill>
              <a:latin typeface="Segoe UI Semilight"/>
            </a:endParaRPr>
          </a:p>
          <a:p>
            <a:pPr marL="285695" indent="-285695" defTabSz="914225">
              <a:buFont typeface="Arial" panose="020B0604020202020204" pitchFamily="34" charset="0"/>
              <a:buChar char="•"/>
              <a:defRPr/>
            </a:pPr>
            <a:endParaRPr lang="en-US" sz="2800">
              <a:gradFill>
                <a:gsLst>
                  <a:gs pos="2917">
                    <a:srgbClr val="353535"/>
                  </a:gs>
                  <a:gs pos="30000">
                    <a:srgbClr val="353535"/>
                  </a:gs>
                </a:gsLst>
                <a:lin ang="5400000" scaled="0"/>
              </a:gradFill>
              <a:latin typeface="Segoe UI Semilight"/>
            </a:endParaRPr>
          </a:p>
          <a:p>
            <a:pPr marL="285695" indent="-285695" defTabSz="914225">
              <a:buFont typeface="Arial" panose="020B0604020202020204" pitchFamily="34" charset="0"/>
              <a:buChar char="•"/>
              <a:defRPr/>
            </a:pPr>
            <a:endParaRPr lang="en-US" sz="1765" err="1">
              <a:gradFill>
                <a:gsLst>
                  <a:gs pos="2917">
                    <a:srgbClr val="353535"/>
                  </a:gs>
                  <a:gs pos="30000">
                    <a:srgbClr val="353535"/>
                  </a:gs>
                </a:gsLst>
                <a:lin ang="5400000" scaled="0"/>
              </a:gradFill>
              <a:latin typeface="Segoe UI Semilight"/>
            </a:endParaRPr>
          </a:p>
        </p:txBody>
      </p:sp>
      <p:pic>
        <p:nvPicPr>
          <p:cNvPr id="8196" name="Picture 4" descr="See the source image">
            <a:extLst>
              <a:ext uri="{FF2B5EF4-FFF2-40B4-BE49-F238E27FC236}">
                <a16:creationId xmlns:a16="http://schemas.microsoft.com/office/drawing/2014/main" id="{3FB88BB7-815B-4F99-9448-6F79152CDC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0870" y="1234835"/>
            <a:ext cx="9332650" cy="477690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8F01A03-8206-4CA5-91C2-4A41B8A9F33B}"/>
              </a:ext>
            </a:extLst>
          </p:cNvPr>
          <p:cNvSpPr txBox="1"/>
          <p:nvPr/>
        </p:nvSpPr>
        <p:spPr>
          <a:xfrm>
            <a:off x="2433537" y="6132670"/>
            <a:ext cx="6867317" cy="907171"/>
          </a:xfrm>
          <a:prstGeom prst="rect">
            <a:avLst/>
          </a:prstGeom>
          <a:noFill/>
        </p:spPr>
        <p:txBody>
          <a:bodyPr wrap="square" rtlCol="0">
            <a:spAutoFit/>
          </a:bodyPr>
          <a:lstStyle/>
          <a:p>
            <a:pPr defTabSz="914225">
              <a:defRPr/>
            </a:pPr>
            <a:r>
              <a:rPr lang="en-US" sz="1765">
                <a:solidFill>
                  <a:srgbClr val="353535"/>
                </a:solidFill>
                <a:latin typeface="Segoe UI"/>
              </a:rPr>
              <a:t>Azure Governance:   </a:t>
            </a:r>
            <a:r>
              <a:rPr lang="en-US" sz="1765">
                <a:solidFill>
                  <a:srgbClr val="FFFFFF"/>
                </a:solidFill>
                <a:latin typeface="Segoe UI"/>
                <a:hlinkClick r:id="rId4"/>
              </a:rPr>
              <a:t>https://aka.ms/edu/governance</a:t>
            </a:r>
            <a:endParaRPr lang="en-US" sz="1765">
              <a:solidFill>
                <a:srgbClr val="FFFFFF"/>
              </a:solidFill>
              <a:latin typeface="Segoe UI"/>
            </a:endParaRPr>
          </a:p>
          <a:p>
            <a:pPr defTabSz="914225">
              <a:defRPr/>
            </a:pPr>
            <a:r>
              <a:rPr lang="en-US" sz="1765">
                <a:solidFill>
                  <a:srgbClr val="FFFFFF"/>
                </a:solidFill>
                <a:latin typeface="Segoe UI"/>
              </a:rPr>
              <a:t>	</a:t>
            </a:r>
          </a:p>
          <a:p>
            <a:pPr defTabSz="914225">
              <a:defRPr/>
            </a:pPr>
            <a:endParaRPr lang="en-US" sz="1765">
              <a:solidFill>
                <a:srgbClr val="FFFFFF"/>
              </a:solidFill>
              <a:latin typeface="Segoe UI"/>
            </a:endParaRPr>
          </a:p>
        </p:txBody>
      </p:sp>
    </p:spTree>
    <p:extLst>
      <p:ext uri="{BB962C8B-B14F-4D97-AF65-F5344CB8AC3E}">
        <p14:creationId xmlns:p14="http://schemas.microsoft.com/office/powerpoint/2010/main" val="10924707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a:spLocks noGrp="1"/>
          </p:cNvSpPr>
          <p:nvPr>
            <p:ph type="title"/>
          </p:nvPr>
        </p:nvSpPr>
        <p:spPr/>
        <p:txBody>
          <a:bodyPr/>
          <a:lstStyle/>
          <a:p>
            <a:r>
              <a:rPr lang="en-US" altLang="ko-KR" dirty="0">
                <a:latin typeface="Segoe Sans Text Semibold" pitchFamily="2" charset="0"/>
                <a:cs typeface="Segoe Sans Text Semibold" pitchFamily="2" charset="0"/>
              </a:rPr>
              <a:t>Example Enrollment Hierarchy</a:t>
            </a:r>
            <a:endParaRPr lang="ko-KR" altLang="en-US" dirty="0">
              <a:latin typeface="Segoe Sans Text Semibold" pitchFamily="2" charset="0"/>
              <a:cs typeface="Segoe Sans Text Semibold" pitchFamily="2" charset="0"/>
            </a:endParaRPr>
          </a:p>
        </p:txBody>
      </p:sp>
      <p:sp>
        <p:nvSpPr>
          <p:cNvPr id="31" name="TextBox 30"/>
          <p:cNvSpPr txBox="1"/>
          <p:nvPr/>
        </p:nvSpPr>
        <p:spPr>
          <a:xfrm>
            <a:off x="5392903" y="3514092"/>
            <a:ext cx="6449475" cy="1357146"/>
          </a:xfrm>
          <a:prstGeom prst="rect">
            <a:avLst/>
          </a:prstGeom>
          <a:noFill/>
          <a:ln>
            <a:noFill/>
          </a:ln>
        </p:spPr>
        <p:txBody>
          <a:bodyPr wrap="square" lIns="89642" tIns="44821" rIns="89642" bIns="44821" rtlCol="0" anchor="t">
            <a:spAutoFit/>
          </a:bodyPr>
          <a:lstStyle/>
          <a:p>
            <a:pPr marL="0" lvl="1" defTabSz="913684" fontAlgn="base">
              <a:buClr>
                <a:srgbClr val="00188F"/>
              </a:buClr>
              <a:buSzPct val="100000"/>
              <a:defRPr/>
            </a:pPr>
            <a:r>
              <a:rPr lang="en-US" altLang="ko-KR" sz="1176" kern="0">
                <a:solidFill>
                  <a:srgbClr val="0070C0"/>
                </a:solidFill>
                <a:latin typeface="Segoe UI"/>
                <a:cs typeface="Arial"/>
              </a:rPr>
              <a:t>Created &amp; owned by an Account owner</a:t>
            </a:r>
          </a:p>
          <a:p>
            <a:pPr marL="0" lvl="1" defTabSz="913684" fontAlgn="base">
              <a:buClr>
                <a:srgbClr val="00188F"/>
              </a:buClr>
              <a:buSzPct val="100000"/>
              <a:defRPr/>
            </a:pPr>
            <a:r>
              <a:rPr lang="en-US" altLang="ko-KR" sz="1176" kern="0">
                <a:solidFill>
                  <a:srgbClr val="0070C0"/>
                </a:solidFill>
                <a:latin typeface="Segoe UI"/>
                <a:cs typeface="Arial"/>
              </a:rPr>
              <a:t>An administrative &amp; security boundary - each Subscription has its own administrators</a:t>
            </a:r>
          </a:p>
          <a:p>
            <a:pPr marL="0" lvl="1" defTabSz="913684" fontAlgn="base">
              <a:buClr>
                <a:srgbClr val="00188F"/>
              </a:buClr>
              <a:buSzPct val="100000"/>
              <a:defRPr/>
            </a:pPr>
            <a:r>
              <a:rPr lang="en-US" altLang="ko-KR" sz="1176" kern="0">
                <a:solidFill>
                  <a:srgbClr val="0070C0"/>
                </a:solidFill>
                <a:latin typeface="Segoe UI"/>
                <a:cs typeface="Arial"/>
              </a:rPr>
              <a:t>Each Subscription is a billing unit</a:t>
            </a:r>
          </a:p>
          <a:p>
            <a:pPr marL="0" lvl="1" defTabSz="913684" fontAlgn="base">
              <a:buClr>
                <a:srgbClr val="00188F"/>
              </a:buClr>
              <a:buSzPct val="100000"/>
              <a:defRPr/>
            </a:pPr>
            <a:r>
              <a:rPr lang="en-US" altLang="ko-KR" sz="1176" kern="0">
                <a:solidFill>
                  <a:srgbClr val="0070C0"/>
                </a:solidFill>
                <a:latin typeface="Segoe UI"/>
                <a:cs typeface="Arial"/>
              </a:rPr>
              <a:t>A </a:t>
            </a:r>
            <a:r>
              <a:rPr lang="en-US" altLang="ko-KR" sz="1176" kern="0">
                <a:solidFill>
                  <a:srgbClr val="0070C0"/>
                </a:solidFill>
                <a:latin typeface="Segoe UI"/>
                <a:cs typeface="Arial"/>
                <a:hlinkClick r:id="rId3">
                  <a:extLst>
                    <a:ext uri="{A12FA001-AC4F-418D-AE19-62706E023703}">
                      <ahyp:hlinkClr xmlns:ahyp="http://schemas.microsoft.com/office/drawing/2018/hyperlinkcolor" val="tx"/>
                    </a:ext>
                  </a:extLst>
                </a:hlinkClick>
              </a:rPr>
              <a:t>logical limit of scale </a:t>
            </a:r>
            <a:r>
              <a:rPr lang="en-US" altLang="ko-KR" sz="1176" kern="0">
                <a:solidFill>
                  <a:srgbClr val="0070C0"/>
                </a:solidFill>
                <a:latin typeface="Segoe UI"/>
                <a:cs typeface="Arial"/>
              </a:rPr>
              <a:t>by which resources can be allocated</a:t>
            </a:r>
          </a:p>
          <a:p>
            <a:pPr marL="0" lvl="1" defTabSz="913684" fontAlgn="base">
              <a:buClr>
                <a:srgbClr val="00188F"/>
              </a:buClr>
              <a:buSzPct val="100000"/>
              <a:defRPr/>
            </a:pPr>
            <a:r>
              <a:rPr lang="en-US" altLang="ko-KR" sz="1176" kern="0">
                <a:solidFill>
                  <a:srgbClr val="0070C0"/>
                </a:solidFill>
                <a:latin typeface="Segoe UI"/>
                <a:cs typeface="Arial"/>
              </a:rPr>
              <a:t>No incremental cost for creating multiple Subscriptions</a:t>
            </a:r>
          </a:p>
          <a:p>
            <a:pPr marL="0" lvl="1" defTabSz="913684" fontAlgn="base">
              <a:buClr>
                <a:srgbClr val="00188F"/>
              </a:buClr>
              <a:buSzPct val="100000"/>
              <a:defRPr/>
            </a:pPr>
            <a:r>
              <a:rPr lang="en-US" altLang="ko-KR" sz="1176" kern="0">
                <a:solidFill>
                  <a:srgbClr val="0070C0"/>
                </a:solidFill>
                <a:latin typeface="Segoe UI"/>
                <a:cs typeface="Arial"/>
              </a:rPr>
              <a:t>A Subscription is accountable for its own consumption and standards</a:t>
            </a:r>
          </a:p>
          <a:p>
            <a:pPr marL="0" lvl="1" defTabSz="913684" fontAlgn="base">
              <a:buClr>
                <a:srgbClr val="00188F"/>
              </a:buClr>
              <a:buSzPct val="100000"/>
              <a:defRPr/>
            </a:pPr>
            <a:r>
              <a:rPr lang="en-US" altLang="ko-KR" sz="1176" kern="0">
                <a:solidFill>
                  <a:srgbClr val="0070C0"/>
                </a:solidFill>
                <a:latin typeface="Segoe UI"/>
                <a:cs typeface="Arial"/>
              </a:rPr>
              <a:t>Container for Resource Groups, who inherit Subscription standards</a:t>
            </a:r>
          </a:p>
        </p:txBody>
      </p:sp>
      <p:sp>
        <p:nvSpPr>
          <p:cNvPr id="39" name="TextBox 38"/>
          <p:cNvSpPr txBox="1"/>
          <p:nvPr/>
        </p:nvSpPr>
        <p:spPr>
          <a:xfrm>
            <a:off x="5413790" y="1961688"/>
            <a:ext cx="6449474" cy="821953"/>
          </a:xfrm>
          <a:prstGeom prst="rect">
            <a:avLst/>
          </a:prstGeom>
          <a:noFill/>
          <a:ln>
            <a:noFill/>
          </a:ln>
        </p:spPr>
        <p:txBody>
          <a:bodyPr wrap="square" lIns="89642" tIns="44821" rIns="89642" bIns="44821" rtlCol="0" anchor="t">
            <a:spAutoFit/>
          </a:bodyPr>
          <a:lstStyle/>
          <a:p>
            <a:pPr marL="0" lvl="1" defTabSz="913684" fontAlgn="base">
              <a:buClr>
                <a:srgbClr val="00188F"/>
              </a:buClr>
              <a:buSzPct val="100000"/>
              <a:defRPr/>
            </a:pPr>
            <a:r>
              <a:rPr lang="en-US" altLang="ko-KR" sz="1176" kern="0">
                <a:solidFill>
                  <a:srgbClr val="0070C0"/>
                </a:solidFill>
                <a:latin typeface="Segoe UI"/>
                <a:cs typeface="Arial"/>
              </a:rPr>
              <a:t>Typically, 1 per company</a:t>
            </a:r>
            <a:endParaRPr lang="en-US" sz="1176">
              <a:solidFill>
                <a:srgbClr val="0070C0"/>
              </a:solidFill>
              <a:latin typeface="Segoe UI"/>
              <a:cs typeface="Segoe UI"/>
            </a:endParaRPr>
          </a:p>
          <a:p>
            <a:pPr marL="0" lvl="1" defTabSz="913684" fontAlgn="base">
              <a:buClr>
                <a:srgbClr val="00188F"/>
              </a:buClr>
              <a:buSzPct val="100000"/>
              <a:defRPr/>
            </a:pPr>
            <a:r>
              <a:rPr lang="en-US" altLang="ko-KR" sz="1176" kern="0">
                <a:solidFill>
                  <a:srgbClr val="0070C0"/>
                </a:solidFill>
                <a:latin typeface="Segoe UI"/>
                <a:cs typeface="Arial"/>
              </a:rPr>
              <a:t>Tied to your company's Microsoft account</a:t>
            </a:r>
          </a:p>
          <a:p>
            <a:pPr marL="0" lvl="1" defTabSz="913684" fontAlgn="base">
              <a:buClr>
                <a:srgbClr val="00188F"/>
              </a:buClr>
              <a:buSzPct val="100000"/>
              <a:defRPr/>
            </a:pPr>
            <a:r>
              <a:rPr lang="en-US" altLang="ko-KR" sz="1176" kern="0">
                <a:solidFill>
                  <a:srgbClr val="0070C0"/>
                </a:solidFill>
                <a:latin typeface="Segoe UI"/>
                <a:cs typeface="Arial"/>
              </a:rPr>
              <a:t>Roll-up billing from all Subscriptions</a:t>
            </a:r>
          </a:p>
          <a:p>
            <a:pPr marL="0" lvl="1" defTabSz="913684" fontAlgn="base">
              <a:buClr>
                <a:srgbClr val="00188F"/>
              </a:buClr>
              <a:buSzPct val="100000"/>
              <a:defRPr/>
            </a:pPr>
            <a:r>
              <a:rPr lang="en-US" altLang="ko-KR" sz="1176" kern="0">
                <a:solidFill>
                  <a:srgbClr val="0070C0"/>
                </a:solidFill>
                <a:latin typeface="Segoe UI"/>
                <a:cs typeface="Arial"/>
              </a:rPr>
              <a:t>Account owners created &amp; delegated at this level (NOT Subscriptions)</a:t>
            </a:r>
          </a:p>
        </p:txBody>
      </p:sp>
      <p:sp>
        <p:nvSpPr>
          <p:cNvPr id="41" name="Rectangle 21"/>
          <p:cNvSpPr/>
          <p:nvPr/>
        </p:nvSpPr>
        <p:spPr>
          <a:xfrm>
            <a:off x="5392903" y="3473115"/>
            <a:ext cx="184705" cy="280678"/>
          </a:xfrm>
          <a:prstGeom prst="rect">
            <a:avLst/>
          </a:prstGeom>
        </p:spPr>
        <p:txBody>
          <a:bodyPr wrap="none">
            <a:spAutoFit/>
          </a:bodyPr>
          <a:lstStyle/>
          <a:p>
            <a:pPr marL="0" lvl="1" defTabSz="913684">
              <a:defRPr/>
            </a:pPr>
            <a:endParaRPr lang="en-US" altLang="ko-KR" sz="1200" kern="0">
              <a:solidFill>
                <a:srgbClr val="0070C0"/>
              </a:solidFill>
              <a:latin typeface="Segoe UI Light"/>
              <a:cs typeface="Arial"/>
            </a:endParaRPr>
          </a:p>
        </p:txBody>
      </p:sp>
      <p:sp>
        <p:nvSpPr>
          <p:cNvPr id="42" name="Rectangle 8"/>
          <p:cNvSpPr/>
          <p:nvPr/>
        </p:nvSpPr>
        <p:spPr>
          <a:xfrm>
            <a:off x="5336652" y="1537628"/>
            <a:ext cx="1232605" cy="354564"/>
          </a:xfrm>
          <a:prstGeom prst="rect">
            <a:avLst/>
          </a:prstGeom>
        </p:spPr>
        <p:txBody>
          <a:bodyPr wrap="none" lIns="89642" tIns="44821" rIns="89642" bIns="44821" anchor="t">
            <a:spAutoFit/>
          </a:bodyPr>
          <a:lstStyle/>
          <a:p>
            <a:pPr defTabSz="913684">
              <a:defRPr/>
            </a:pPr>
            <a:r>
              <a:rPr lang="en-US" altLang="ko-KR" sz="1716" kern="0" dirty="0">
                <a:latin typeface="Segoe UI"/>
                <a:cs typeface="Arial"/>
              </a:rPr>
              <a:t>Enrollment</a:t>
            </a:r>
            <a:endParaRPr lang="ko-KR" altLang="en-US" sz="1716" kern="0" dirty="0">
              <a:latin typeface="Segoe UI"/>
              <a:cs typeface="Arial"/>
            </a:endParaRPr>
          </a:p>
        </p:txBody>
      </p:sp>
      <p:sp>
        <p:nvSpPr>
          <p:cNvPr id="44" name="Rectangle 11"/>
          <p:cNvSpPr/>
          <p:nvPr/>
        </p:nvSpPr>
        <p:spPr>
          <a:xfrm>
            <a:off x="5315766" y="3023519"/>
            <a:ext cx="1444514" cy="354528"/>
          </a:xfrm>
          <a:prstGeom prst="rect">
            <a:avLst/>
          </a:prstGeom>
        </p:spPr>
        <p:txBody>
          <a:bodyPr wrap="none" lIns="89642" tIns="44821" rIns="89642" bIns="44821" anchor="t">
            <a:spAutoFit/>
          </a:bodyPr>
          <a:lstStyle/>
          <a:p>
            <a:pPr defTabSz="913684">
              <a:defRPr/>
            </a:pPr>
            <a:r>
              <a:rPr lang="en-US" altLang="ko-KR" sz="1716" kern="0">
                <a:latin typeface="Segoe UI"/>
                <a:cs typeface="Arial"/>
              </a:rPr>
              <a:t>Subscription </a:t>
            </a:r>
            <a:endParaRPr lang="ko-KR" altLang="en-US" sz="1716" kern="0">
              <a:latin typeface="Segoe UI"/>
              <a:cs typeface="Arial"/>
            </a:endParaRPr>
          </a:p>
        </p:txBody>
      </p:sp>
      <p:sp>
        <p:nvSpPr>
          <p:cNvPr id="61" name="TextBox 60"/>
          <p:cNvSpPr txBox="1"/>
          <p:nvPr/>
        </p:nvSpPr>
        <p:spPr>
          <a:xfrm>
            <a:off x="5401514" y="5456297"/>
            <a:ext cx="6449475" cy="814305"/>
          </a:xfrm>
          <a:prstGeom prst="rect">
            <a:avLst/>
          </a:prstGeom>
          <a:noFill/>
          <a:ln>
            <a:noFill/>
          </a:ln>
        </p:spPr>
        <p:txBody>
          <a:bodyPr wrap="square" lIns="89642" tIns="44821" rIns="89642" bIns="44821" rtlCol="0" anchor="t">
            <a:spAutoFit/>
          </a:bodyPr>
          <a:lstStyle/>
          <a:p>
            <a:pPr marL="0" lvl="1" defTabSz="913684" fontAlgn="base">
              <a:buClr>
                <a:srgbClr val="00188F"/>
              </a:buClr>
              <a:buSzPct val="100000"/>
              <a:defRPr/>
            </a:pPr>
            <a:r>
              <a:rPr lang="en-US" altLang="ko-KR" sz="1176" kern="0">
                <a:solidFill>
                  <a:srgbClr val="0070C0"/>
                </a:solidFill>
                <a:latin typeface="Segoe UI"/>
                <a:cs typeface="Arial"/>
              </a:rPr>
              <a:t>Where your users actually build and deploy Azure services (VMs, Websites, Backup, Research, etc.)</a:t>
            </a:r>
          </a:p>
          <a:p>
            <a:pPr marL="0" lvl="1" defTabSz="913684" fontAlgn="base">
              <a:buClr>
                <a:srgbClr val="00188F"/>
              </a:buClr>
              <a:buSzPct val="100000"/>
              <a:defRPr/>
            </a:pPr>
            <a:r>
              <a:rPr lang="en-US" altLang="ko-KR" sz="1176" kern="0">
                <a:solidFill>
                  <a:srgbClr val="0070C0"/>
                </a:solidFill>
                <a:latin typeface="Segoe UI"/>
                <a:cs typeface="Arial"/>
              </a:rPr>
              <a:t>Functions as Security and Billing container</a:t>
            </a:r>
          </a:p>
          <a:p>
            <a:pPr marL="0" lvl="1" defTabSz="913684" fontAlgn="base">
              <a:buClr>
                <a:srgbClr val="00188F"/>
              </a:buClr>
              <a:buSzPct val="100000"/>
              <a:defRPr/>
            </a:pPr>
            <a:r>
              <a:rPr lang="en-US" altLang="ko-KR" sz="1176" kern="0">
                <a:solidFill>
                  <a:srgbClr val="0070C0"/>
                </a:solidFill>
                <a:latin typeface="Segoe UI"/>
                <a:cs typeface="Arial"/>
              </a:rPr>
              <a:t>Where RBAC is applied at lowest level</a:t>
            </a:r>
          </a:p>
        </p:txBody>
      </p:sp>
      <p:sp>
        <p:nvSpPr>
          <p:cNvPr id="62" name="Rectangle 11"/>
          <p:cNvSpPr/>
          <p:nvPr/>
        </p:nvSpPr>
        <p:spPr>
          <a:xfrm>
            <a:off x="5324377" y="4965844"/>
            <a:ext cx="1933249" cy="354528"/>
          </a:xfrm>
          <a:prstGeom prst="rect">
            <a:avLst/>
          </a:prstGeom>
        </p:spPr>
        <p:txBody>
          <a:bodyPr wrap="none" lIns="89642" tIns="44821" rIns="89642" bIns="44821" anchor="t">
            <a:spAutoFit/>
          </a:bodyPr>
          <a:lstStyle/>
          <a:p>
            <a:pPr defTabSz="913684">
              <a:defRPr/>
            </a:pPr>
            <a:r>
              <a:rPr lang="en-US" altLang="ko-KR" sz="1716" kern="0">
                <a:latin typeface="Segoe UI"/>
                <a:cs typeface="Arial"/>
              </a:rPr>
              <a:t>Resource Groups </a:t>
            </a:r>
            <a:endParaRPr lang="en-US" altLang="ko-KR" sz="980" kern="0">
              <a:latin typeface="Segoe UI"/>
              <a:cs typeface="Arial"/>
            </a:endParaRPr>
          </a:p>
        </p:txBody>
      </p:sp>
      <p:sp>
        <p:nvSpPr>
          <p:cNvPr id="2" name="Rectangle: Rounded Corners 1">
            <a:extLst>
              <a:ext uri="{FF2B5EF4-FFF2-40B4-BE49-F238E27FC236}">
                <a16:creationId xmlns:a16="http://schemas.microsoft.com/office/drawing/2014/main" id="{5985F4FC-061C-9C0C-32E4-2A4578ED6830}"/>
              </a:ext>
            </a:extLst>
          </p:cNvPr>
          <p:cNvSpPr/>
          <p:nvPr/>
        </p:nvSpPr>
        <p:spPr>
          <a:xfrm>
            <a:off x="1744133" y="1603971"/>
            <a:ext cx="1714500" cy="71543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Enrollment</a:t>
            </a:r>
          </a:p>
        </p:txBody>
      </p:sp>
      <p:sp>
        <p:nvSpPr>
          <p:cNvPr id="4" name="Rectangle: Rounded Corners 3">
            <a:extLst>
              <a:ext uri="{FF2B5EF4-FFF2-40B4-BE49-F238E27FC236}">
                <a16:creationId xmlns:a16="http://schemas.microsoft.com/office/drawing/2014/main" id="{CF9B8CF8-7DD1-7D5D-EF7D-91BFE614DA62}"/>
              </a:ext>
            </a:extLst>
          </p:cNvPr>
          <p:cNvSpPr/>
          <p:nvPr/>
        </p:nvSpPr>
        <p:spPr>
          <a:xfrm>
            <a:off x="328735" y="2757681"/>
            <a:ext cx="2101197" cy="71543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Account</a:t>
            </a:r>
          </a:p>
        </p:txBody>
      </p:sp>
      <p:sp>
        <p:nvSpPr>
          <p:cNvPr id="5" name="Rectangle: Rounded Corners 4">
            <a:extLst>
              <a:ext uri="{FF2B5EF4-FFF2-40B4-BE49-F238E27FC236}">
                <a16:creationId xmlns:a16="http://schemas.microsoft.com/office/drawing/2014/main" id="{9904D8D6-FE33-B5F5-417E-82F245421C96}"/>
              </a:ext>
            </a:extLst>
          </p:cNvPr>
          <p:cNvSpPr/>
          <p:nvPr/>
        </p:nvSpPr>
        <p:spPr>
          <a:xfrm>
            <a:off x="2525472" y="2757681"/>
            <a:ext cx="2385195" cy="71543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Account</a:t>
            </a:r>
          </a:p>
        </p:txBody>
      </p:sp>
      <p:sp>
        <p:nvSpPr>
          <p:cNvPr id="6" name="Rectangle: Rounded Corners 5">
            <a:extLst>
              <a:ext uri="{FF2B5EF4-FFF2-40B4-BE49-F238E27FC236}">
                <a16:creationId xmlns:a16="http://schemas.microsoft.com/office/drawing/2014/main" id="{019993C8-EB0B-158B-8B7B-B4440FE0F9EC}"/>
              </a:ext>
            </a:extLst>
          </p:cNvPr>
          <p:cNvSpPr/>
          <p:nvPr/>
        </p:nvSpPr>
        <p:spPr>
          <a:xfrm>
            <a:off x="328735" y="3699471"/>
            <a:ext cx="1037165" cy="71543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Sub</a:t>
            </a:r>
          </a:p>
        </p:txBody>
      </p:sp>
      <p:sp>
        <p:nvSpPr>
          <p:cNvPr id="7" name="Rectangle: Rounded Corners 6">
            <a:extLst>
              <a:ext uri="{FF2B5EF4-FFF2-40B4-BE49-F238E27FC236}">
                <a16:creationId xmlns:a16="http://schemas.microsoft.com/office/drawing/2014/main" id="{994C7CDA-C92D-845D-778C-5A21733D3124}"/>
              </a:ext>
            </a:extLst>
          </p:cNvPr>
          <p:cNvSpPr/>
          <p:nvPr/>
        </p:nvSpPr>
        <p:spPr>
          <a:xfrm>
            <a:off x="1392767" y="3699471"/>
            <a:ext cx="1037165" cy="71543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Sub</a:t>
            </a:r>
          </a:p>
        </p:txBody>
      </p:sp>
      <p:sp>
        <p:nvSpPr>
          <p:cNvPr id="9" name="Rectangle: Rounded Corners 8">
            <a:extLst>
              <a:ext uri="{FF2B5EF4-FFF2-40B4-BE49-F238E27FC236}">
                <a16:creationId xmlns:a16="http://schemas.microsoft.com/office/drawing/2014/main" id="{7576AC71-2D13-9111-4EF8-0C4AB359A3E9}"/>
              </a:ext>
            </a:extLst>
          </p:cNvPr>
          <p:cNvSpPr/>
          <p:nvPr/>
        </p:nvSpPr>
        <p:spPr>
          <a:xfrm>
            <a:off x="4150130" y="3699471"/>
            <a:ext cx="760537" cy="71543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Sub</a:t>
            </a:r>
          </a:p>
        </p:txBody>
      </p:sp>
      <p:sp>
        <p:nvSpPr>
          <p:cNvPr id="10" name="Rectangle: Rounded Corners 9">
            <a:extLst>
              <a:ext uri="{FF2B5EF4-FFF2-40B4-BE49-F238E27FC236}">
                <a16:creationId xmlns:a16="http://schemas.microsoft.com/office/drawing/2014/main" id="{ABC90BE2-B551-D0AD-8C17-64DC2CF5AFD7}"/>
              </a:ext>
            </a:extLst>
          </p:cNvPr>
          <p:cNvSpPr/>
          <p:nvPr/>
        </p:nvSpPr>
        <p:spPr>
          <a:xfrm>
            <a:off x="2525472" y="3699471"/>
            <a:ext cx="760537" cy="71543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Sub</a:t>
            </a:r>
          </a:p>
        </p:txBody>
      </p:sp>
      <p:sp>
        <p:nvSpPr>
          <p:cNvPr id="11" name="Rectangle: Rounded Corners 10">
            <a:extLst>
              <a:ext uri="{FF2B5EF4-FFF2-40B4-BE49-F238E27FC236}">
                <a16:creationId xmlns:a16="http://schemas.microsoft.com/office/drawing/2014/main" id="{22485F9D-992E-8DE8-85F0-EEE2FCDF649F}"/>
              </a:ext>
            </a:extLst>
          </p:cNvPr>
          <p:cNvSpPr/>
          <p:nvPr/>
        </p:nvSpPr>
        <p:spPr>
          <a:xfrm>
            <a:off x="3337801" y="3699471"/>
            <a:ext cx="760537" cy="715434"/>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t>Sub</a:t>
            </a:r>
          </a:p>
        </p:txBody>
      </p:sp>
      <p:pic>
        <p:nvPicPr>
          <p:cNvPr id="13" name="Graphic 12">
            <a:extLst>
              <a:ext uri="{FF2B5EF4-FFF2-40B4-BE49-F238E27FC236}">
                <a16:creationId xmlns:a16="http://schemas.microsoft.com/office/drawing/2014/main" id="{7B409883-755E-227C-1E55-3A0E042EF22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77872" y="4834784"/>
            <a:ext cx="476839" cy="476839"/>
          </a:xfrm>
          <a:prstGeom prst="rect">
            <a:avLst/>
          </a:prstGeom>
        </p:spPr>
      </p:pic>
      <p:pic>
        <p:nvPicPr>
          <p:cNvPr id="14" name="Graphic 13">
            <a:extLst>
              <a:ext uri="{FF2B5EF4-FFF2-40B4-BE49-F238E27FC236}">
                <a16:creationId xmlns:a16="http://schemas.microsoft.com/office/drawing/2014/main" id="{DAD16847-7B91-CE2B-8D89-A95CE4C043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79649" y="4834783"/>
            <a:ext cx="476839" cy="476839"/>
          </a:xfrm>
          <a:prstGeom prst="rect">
            <a:avLst/>
          </a:prstGeom>
        </p:spPr>
      </p:pic>
      <p:pic>
        <p:nvPicPr>
          <p:cNvPr id="15" name="Graphic 14">
            <a:extLst>
              <a:ext uri="{FF2B5EF4-FFF2-40B4-BE49-F238E27FC236}">
                <a16:creationId xmlns:a16="http://schemas.microsoft.com/office/drawing/2014/main" id="{932F43F9-4924-842C-A612-411DA8CD726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91978" y="4843533"/>
            <a:ext cx="476839" cy="476839"/>
          </a:xfrm>
          <a:prstGeom prst="rect">
            <a:avLst/>
          </a:prstGeom>
        </p:spPr>
      </p:pic>
      <p:pic>
        <p:nvPicPr>
          <p:cNvPr id="16" name="Graphic 15">
            <a:extLst>
              <a:ext uri="{FF2B5EF4-FFF2-40B4-BE49-F238E27FC236}">
                <a16:creationId xmlns:a16="http://schemas.microsoft.com/office/drawing/2014/main" id="{BAEF01C3-BA7A-DCFD-30D8-2E25BC8398F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10944" y="4834783"/>
            <a:ext cx="476839" cy="476839"/>
          </a:xfrm>
          <a:prstGeom prst="rect">
            <a:avLst/>
          </a:prstGeom>
        </p:spPr>
      </p:pic>
      <p:pic>
        <p:nvPicPr>
          <p:cNvPr id="17" name="Graphic 16">
            <a:extLst>
              <a:ext uri="{FF2B5EF4-FFF2-40B4-BE49-F238E27FC236}">
                <a16:creationId xmlns:a16="http://schemas.microsoft.com/office/drawing/2014/main" id="{C8419AE5-2FEA-71D1-EC6E-45BFD42228A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4337" y="4834782"/>
            <a:ext cx="476839" cy="476839"/>
          </a:xfrm>
          <a:prstGeom prst="rect">
            <a:avLst/>
          </a:prstGeom>
        </p:spPr>
      </p:pic>
      <p:pic>
        <p:nvPicPr>
          <p:cNvPr id="18" name="Graphic 17">
            <a:extLst>
              <a:ext uri="{FF2B5EF4-FFF2-40B4-BE49-F238E27FC236}">
                <a16:creationId xmlns:a16="http://schemas.microsoft.com/office/drawing/2014/main" id="{A9E5A582-2541-2793-D0E7-2A0CF98C60F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8897" y="5493078"/>
            <a:ext cx="476839" cy="476839"/>
          </a:xfrm>
          <a:prstGeom prst="rect">
            <a:avLst/>
          </a:prstGeom>
        </p:spPr>
      </p:pic>
      <p:pic>
        <p:nvPicPr>
          <p:cNvPr id="19" name="Graphic 18">
            <a:extLst>
              <a:ext uri="{FF2B5EF4-FFF2-40B4-BE49-F238E27FC236}">
                <a16:creationId xmlns:a16="http://schemas.microsoft.com/office/drawing/2014/main" id="{30D6518A-B1C0-98CA-5C68-5D28871A84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9780" y="6151374"/>
            <a:ext cx="476839" cy="476839"/>
          </a:xfrm>
          <a:prstGeom prst="rect">
            <a:avLst/>
          </a:prstGeom>
        </p:spPr>
      </p:pic>
      <p:pic>
        <p:nvPicPr>
          <p:cNvPr id="20" name="Graphic 19">
            <a:extLst>
              <a:ext uri="{FF2B5EF4-FFF2-40B4-BE49-F238E27FC236}">
                <a16:creationId xmlns:a16="http://schemas.microsoft.com/office/drawing/2014/main" id="{67B18B6F-697D-94E9-CB55-68E4F68BA4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04648" y="5493077"/>
            <a:ext cx="476839" cy="476839"/>
          </a:xfrm>
          <a:prstGeom prst="rect">
            <a:avLst/>
          </a:prstGeom>
        </p:spPr>
      </p:pic>
      <p:pic>
        <p:nvPicPr>
          <p:cNvPr id="21" name="Graphic 20">
            <a:extLst>
              <a:ext uri="{FF2B5EF4-FFF2-40B4-BE49-F238E27FC236}">
                <a16:creationId xmlns:a16="http://schemas.microsoft.com/office/drawing/2014/main" id="{0FE07704-08BE-D74E-8A54-E4F1680FEC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79648" y="5493077"/>
            <a:ext cx="476839" cy="476839"/>
          </a:xfrm>
          <a:prstGeom prst="rect">
            <a:avLst/>
          </a:prstGeom>
        </p:spPr>
      </p:pic>
      <p:pic>
        <p:nvPicPr>
          <p:cNvPr id="22" name="Graphic 21">
            <a:extLst>
              <a:ext uri="{FF2B5EF4-FFF2-40B4-BE49-F238E27FC236}">
                <a16:creationId xmlns:a16="http://schemas.microsoft.com/office/drawing/2014/main" id="{73BA7C05-A5C9-2CCD-8102-8AAC00DB67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79648" y="6151374"/>
            <a:ext cx="476839" cy="476839"/>
          </a:xfrm>
          <a:prstGeom prst="rect">
            <a:avLst/>
          </a:prstGeom>
        </p:spPr>
      </p:pic>
      <p:pic>
        <p:nvPicPr>
          <p:cNvPr id="23" name="Graphic 22">
            <a:extLst>
              <a:ext uri="{FF2B5EF4-FFF2-40B4-BE49-F238E27FC236}">
                <a16:creationId xmlns:a16="http://schemas.microsoft.com/office/drawing/2014/main" id="{E1918F2E-D8C2-EFD7-0E06-C5A147D4BE6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85682" y="5493076"/>
            <a:ext cx="476839" cy="476839"/>
          </a:xfrm>
          <a:prstGeom prst="rect">
            <a:avLst/>
          </a:prstGeom>
        </p:spPr>
      </p:pic>
      <p:cxnSp>
        <p:nvCxnSpPr>
          <p:cNvPr id="25" name="Connector: Elbow 24">
            <a:extLst>
              <a:ext uri="{FF2B5EF4-FFF2-40B4-BE49-F238E27FC236}">
                <a16:creationId xmlns:a16="http://schemas.microsoft.com/office/drawing/2014/main" id="{7B87E95D-C3CD-5162-C574-ED9A12B9842E}"/>
              </a:ext>
            </a:extLst>
          </p:cNvPr>
          <p:cNvCxnSpPr>
            <a:endCxn id="4" idx="0"/>
          </p:cNvCxnSpPr>
          <p:nvPr/>
        </p:nvCxnSpPr>
        <p:spPr>
          <a:xfrm rot="10800000" flipV="1">
            <a:off x="1379335" y="2372663"/>
            <a:ext cx="1222049" cy="38501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74E9409F-98F6-17B8-F05F-E2797B7A5D56}"/>
              </a:ext>
            </a:extLst>
          </p:cNvPr>
          <p:cNvCxnSpPr>
            <a:endCxn id="5" idx="0"/>
          </p:cNvCxnSpPr>
          <p:nvPr/>
        </p:nvCxnSpPr>
        <p:spPr>
          <a:xfrm>
            <a:off x="2601383" y="2372664"/>
            <a:ext cx="1116687" cy="38501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56CD11DA-73C4-3D43-19E8-44390B17E1A6}"/>
              </a:ext>
            </a:extLst>
          </p:cNvPr>
          <p:cNvCxnSpPr>
            <a:stCxn id="4" idx="2"/>
            <a:endCxn id="6" idx="0"/>
          </p:cNvCxnSpPr>
          <p:nvPr/>
        </p:nvCxnSpPr>
        <p:spPr>
          <a:xfrm rot="5400000">
            <a:off x="1000148" y="3320285"/>
            <a:ext cx="226356" cy="53201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A5D7BC01-B1FD-4C1E-6278-637295B59DBA}"/>
              </a:ext>
            </a:extLst>
          </p:cNvPr>
          <p:cNvCxnSpPr>
            <a:stCxn id="4" idx="2"/>
            <a:endCxn id="7" idx="0"/>
          </p:cNvCxnSpPr>
          <p:nvPr/>
        </p:nvCxnSpPr>
        <p:spPr>
          <a:xfrm rot="16200000" flipH="1">
            <a:off x="1532164" y="3320285"/>
            <a:ext cx="226356" cy="53201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9DC43694-8264-9B9F-07A5-FB63C4CA7312}"/>
              </a:ext>
            </a:extLst>
          </p:cNvPr>
          <p:cNvCxnSpPr>
            <a:stCxn id="5" idx="2"/>
            <a:endCxn id="10" idx="0"/>
          </p:cNvCxnSpPr>
          <p:nvPr/>
        </p:nvCxnSpPr>
        <p:spPr>
          <a:xfrm rot="5400000">
            <a:off x="3198728" y="3180129"/>
            <a:ext cx="226356" cy="81232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2E63A4DB-54E7-777A-3CE5-B28E64E414D6}"/>
              </a:ext>
            </a:extLst>
          </p:cNvPr>
          <p:cNvCxnSpPr>
            <a:stCxn id="5" idx="2"/>
            <a:endCxn id="11" idx="0"/>
          </p:cNvCxnSpPr>
          <p:nvPr/>
        </p:nvCxnSpPr>
        <p:spPr>
          <a:xfrm rot="5400000">
            <a:off x="3604892" y="3586293"/>
            <a:ext cx="226356" cy="1270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39259193-CCD9-EB3C-6C05-CD67B4B56CF8}"/>
              </a:ext>
            </a:extLst>
          </p:cNvPr>
          <p:cNvCxnSpPr>
            <a:stCxn id="5" idx="2"/>
            <a:endCxn id="9" idx="0"/>
          </p:cNvCxnSpPr>
          <p:nvPr/>
        </p:nvCxnSpPr>
        <p:spPr>
          <a:xfrm rot="16200000" flipH="1">
            <a:off x="4011056" y="3180128"/>
            <a:ext cx="226356" cy="81232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1A09C7B6-81CB-71ED-D74C-D6B327A4579A}"/>
              </a:ext>
            </a:extLst>
          </p:cNvPr>
          <p:cNvCxnSpPr>
            <a:stCxn id="6" idx="2"/>
            <a:endCxn id="17" idx="0"/>
          </p:cNvCxnSpPr>
          <p:nvPr/>
        </p:nvCxnSpPr>
        <p:spPr>
          <a:xfrm rot="16200000" flipH="1">
            <a:off x="640099" y="4622123"/>
            <a:ext cx="419877" cy="543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2E8ABFE5-A443-71DB-6C20-E614420CCCF4}"/>
              </a:ext>
            </a:extLst>
          </p:cNvPr>
          <p:cNvCxnSpPr>
            <a:stCxn id="7" idx="2"/>
            <a:endCxn id="16" idx="0"/>
          </p:cNvCxnSpPr>
          <p:nvPr/>
        </p:nvCxnSpPr>
        <p:spPr>
          <a:xfrm rot="16200000" flipH="1">
            <a:off x="1720418" y="4605837"/>
            <a:ext cx="419878" cy="3801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3FB7B246-8426-B6D8-F971-C25A275BCB62}"/>
              </a:ext>
            </a:extLst>
          </p:cNvPr>
          <p:cNvCxnSpPr>
            <a:stCxn id="10" idx="2"/>
            <a:endCxn id="13" idx="0"/>
          </p:cNvCxnSpPr>
          <p:nvPr/>
        </p:nvCxnSpPr>
        <p:spPr>
          <a:xfrm rot="16200000" flipH="1">
            <a:off x="2701077" y="4619568"/>
            <a:ext cx="419879" cy="1055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67900BBE-CF55-FCD6-046C-4E805705310F}"/>
              </a:ext>
            </a:extLst>
          </p:cNvPr>
          <p:cNvCxnSpPr>
            <a:stCxn id="11" idx="2"/>
            <a:endCxn id="14" idx="0"/>
          </p:cNvCxnSpPr>
          <p:nvPr/>
        </p:nvCxnSpPr>
        <p:spPr>
          <a:xfrm rot="5400000">
            <a:off x="3508131" y="4624844"/>
            <a:ext cx="419878" cy="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FF8A97B8-1DBB-FD22-280E-896FA73BE81D}"/>
              </a:ext>
            </a:extLst>
          </p:cNvPr>
          <p:cNvCxnSpPr>
            <a:stCxn id="9" idx="2"/>
            <a:endCxn id="15" idx="0"/>
          </p:cNvCxnSpPr>
          <p:nvPr/>
        </p:nvCxnSpPr>
        <p:spPr>
          <a:xfrm rot="5400000">
            <a:off x="4316085" y="4629219"/>
            <a:ext cx="428628" cy="1"/>
          </a:xfrm>
          <a:prstGeom prst="bentConnector3">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003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9" grpId="0"/>
      <p:bldP spid="42" grpId="0"/>
      <p:bldP spid="44" grpId="0"/>
      <p:bldP spid="61" grpId="0"/>
      <p:bldP spid="6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620511-3BAF-8F8D-62A1-392EE154D456}"/>
              </a:ext>
            </a:extLst>
          </p:cNvPr>
          <p:cNvSpPr>
            <a:spLocks noGrp="1"/>
          </p:cNvSpPr>
          <p:nvPr>
            <p:ph type="title"/>
          </p:nvPr>
        </p:nvSpPr>
        <p:spPr/>
        <p:txBody>
          <a:bodyPr/>
          <a:lstStyle/>
          <a:p>
            <a:r>
              <a:rPr lang="en-US"/>
              <a:t>Best Practices</a:t>
            </a:r>
          </a:p>
        </p:txBody>
      </p:sp>
    </p:spTree>
    <p:extLst>
      <p:ext uri="{BB962C8B-B14F-4D97-AF65-F5344CB8AC3E}">
        <p14:creationId xmlns:p14="http://schemas.microsoft.com/office/powerpoint/2010/main" val="427431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5CD9A777-61F3-ED0D-091C-4B5C974D120F}"/>
              </a:ext>
              <a:ext uri="{C183D7F6-B498-43B3-948B-1728B52AA6E4}">
                <adec:decorative xmlns:adec="http://schemas.microsoft.com/office/drawing/2017/decorative" val="1"/>
              </a:ext>
            </a:extLst>
          </p:cNvPr>
          <p:cNvSpPr/>
          <p:nvPr/>
        </p:nvSpPr>
        <p:spPr bwMode="auto">
          <a:xfrm>
            <a:off x="718537" y="1853298"/>
            <a:ext cx="11049000" cy="4183171"/>
          </a:xfrm>
          <a:prstGeom prst="roundRect">
            <a:avLst>
              <a:gd name="adj" fmla="val 2948"/>
            </a:avLst>
          </a:prstGeom>
          <a:gradFill>
            <a:gsLst>
              <a:gs pos="100000">
                <a:schemeClr val="accent1">
                  <a:alpha val="98000"/>
                </a:schemeClr>
              </a:gs>
              <a:gs pos="9000">
                <a:srgbClr val="D59ED7">
                  <a:alpha val="45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mn-ea"/>
              <a:cs typeface="Segoe UI" pitchFamily="34" charset="0"/>
            </a:endParaRPr>
          </a:p>
        </p:txBody>
      </p:sp>
      <p:sp>
        <p:nvSpPr>
          <p:cNvPr id="5" name="Rectangle: Rounded Corners 4">
            <a:extLst>
              <a:ext uri="{FF2B5EF4-FFF2-40B4-BE49-F238E27FC236}">
                <a16:creationId xmlns:a16="http://schemas.microsoft.com/office/drawing/2014/main" id="{C5F2A879-7370-98AD-68F3-C893B233D183}"/>
              </a:ext>
              <a:ext uri="{C183D7F6-B498-43B3-948B-1728B52AA6E4}">
                <adec:decorative xmlns:adec="http://schemas.microsoft.com/office/drawing/2017/decorative" val="1"/>
              </a:ext>
            </a:extLst>
          </p:cNvPr>
          <p:cNvSpPr/>
          <p:nvPr/>
        </p:nvSpPr>
        <p:spPr bwMode="auto">
          <a:xfrm>
            <a:off x="576769" y="1700898"/>
            <a:ext cx="11049000" cy="4183171"/>
          </a:xfrm>
          <a:prstGeom prst="roundRect">
            <a:avLst>
              <a:gd name="adj" fmla="val 2978"/>
            </a:avLst>
          </a:prstGeom>
          <a:solidFill>
            <a:srgbClr val="FFFFFF">
              <a:alpha val="75000"/>
            </a:srgbClr>
          </a:solidFill>
          <a:ln>
            <a:noFill/>
            <a:headEnd type="none" w="med" len="med"/>
            <a:tailEnd type="none" w="med" len="med"/>
          </a:ln>
          <a:effectLst>
            <a:outerShdw blurRad="254000" algn="ctr" rotWithShape="0">
              <a:srgbClr val="FFFFFF">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mn-ea"/>
              <a:cs typeface="Segoe UI" pitchFamily="34" charset="0"/>
            </a:endParaRPr>
          </a:p>
        </p:txBody>
      </p:sp>
      <p:sp>
        <p:nvSpPr>
          <p:cNvPr id="2" name="Title 1">
            <a:extLst>
              <a:ext uri="{FF2B5EF4-FFF2-40B4-BE49-F238E27FC236}">
                <a16:creationId xmlns:a16="http://schemas.microsoft.com/office/drawing/2014/main" id="{D8F2E69C-F4E6-857F-67C3-235F04633252}"/>
              </a:ext>
            </a:extLst>
          </p:cNvPr>
          <p:cNvSpPr>
            <a:spLocks noGrp="1"/>
          </p:cNvSpPr>
          <p:nvPr>
            <p:ph type="title"/>
          </p:nvPr>
        </p:nvSpPr>
        <p:spPr>
          <a:xfrm>
            <a:off x="588263" y="457200"/>
            <a:ext cx="11018520" cy="492443"/>
          </a:xfrm>
        </p:spPr>
        <p:txBody>
          <a:bodyPr/>
          <a:lstStyle/>
          <a:p>
            <a:r>
              <a:rPr lang="en-US" sz="3200">
                <a:cs typeface="Segoe UI"/>
              </a:rPr>
              <a:t>Cloud pricing journey</a:t>
            </a:r>
          </a:p>
        </p:txBody>
      </p:sp>
      <p:sp>
        <p:nvSpPr>
          <p:cNvPr id="26" name="TextBox 25">
            <a:extLst>
              <a:ext uri="{FF2B5EF4-FFF2-40B4-BE49-F238E27FC236}">
                <a16:creationId xmlns:a16="http://schemas.microsoft.com/office/drawing/2014/main" id="{7EEEB138-988A-02D7-D6E8-6DFA973F87B5}"/>
              </a:ext>
            </a:extLst>
          </p:cNvPr>
          <p:cNvSpPr txBox="1"/>
          <p:nvPr/>
        </p:nvSpPr>
        <p:spPr>
          <a:xfrm>
            <a:off x="587169" y="1100328"/>
            <a:ext cx="10917893"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w="0"/>
                <a:solidFill>
                  <a:srgbClr val="000000"/>
                </a:solidFill>
                <a:effectLst/>
                <a:uLnTx/>
                <a:uFillTx/>
                <a:latin typeface="Segoe Sans Text"/>
                <a:ea typeface="+mn-ea"/>
                <a:cs typeface="Segoe Sans Display Semibold" pitchFamily="2" charset="0"/>
              </a:rPr>
              <a:t>Different pricing actions correspond to different milestones in your cloud journey.</a:t>
            </a:r>
          </a:p>
        </p:txBody>
      </p:sp>
      <p:cxnSp>
        <p:nvCxnSpPr>
          <p:cNvPr id="10" name="Straight Connector 9">
            <a:extLst>
              <a:ext uri="{FF2B5EF4-FFF2-40B4-BE49-F238E27FC236}">
                <a16:creationId xmlns:a16="http://schemas.microsoft.com/office/drawing/2014/main" id="{0A7FA214-4FD0-28B0-8301-DCAA4B3D65E4}"/>
              </a:ext>
              <a:ext uri="{C183D7F6-B498-43B3-948B-1728B52AA6E4}">
                <adec:decorative xmlns:adec="http://schemas.microsoft.com/office/drawing/2017/decorative" val="1"/>
              </a:ext>
            </a:extLst>
          </p:cNvPr>
          <p:cNvCxnSpPr>
            <a:cxnSpLocks/>
          </p:cNvCxnSpPr>
          <p:nvPr/>
        </p:nvCxnSpPr>
        <p:spPr>
          <a:xfrm>
            <a:off x="2223205" y="2230835"/>
            <a:ext cx="914400" cy="0"/>
          </a:xfrm>
          <a:prstGeom prst="line">
            <a:avLst/>
          </a:prstGeom>
          <a:ln w="57150" cap="rnd">
            <a:gradFill flip="none" rotWithShape="1">
              <a:gsLst>
                <a:gs pos="0">
                  <a:srgbClr val="2DA5FF"/>
                </a:gs>
                <a:gs pos="100000">
                  <a:srgbClr val="D59ED7"/>
                </a:gs>
              </a:gsLst>
              <a:lin ang="10800000" scaled="0"/>
              <a:tileRect/>
            </a:gra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2" name="TextBox">
            <a:extLst>
              <a:ext uri="{FF2B5EF4-FFF2-40B4-BE49-F238E27FC236}">
                <a16:creationId xmlns:a16="http://schemas.microsoft.com/office/drawing/2014/main" id="{E6420251-9587-DE3F-169C-CEE3147C9634}"/>
              </a:ext>
            </a:extLst>
          </p:cNvPr>
          <p:cNvSpPr txBox="1"/>
          <p:nvPr/>
        </p:nvSpPr>
        <p:spPr>
          <a:xfrm>
            <a:off x="1094988" y="2070171"/>
            <a:ext cx="1517554" cy="561692"/>
          </a:xfrm>
          <a:prstGeom prst="rect">
            <a:avLst/>
          </a:prstGeom>
          <a:noFill/>
        </p:spPr>
        <p:txBody>
          <a:bodyPr wrap="square" lIns="0" tIns="0" rIns="0" bIns="0" anchor="t">
            <a:spAutoFit/>
          </a:bodyPr>
          <a:lstStyle>
            <a:defPPr>
              <a:defRPr lang="en-US"/>
            </a:defPPr>
            <a:lvl1pPr fontAlgn="ctr">
              <a:lnSpc>
                <a:spcPct val="90000"/>
              </a:lnSpc>
              <a:spcAft>
                <a:spcPts val="200"/>
              </a:spcAft>
              <a:buClr>
                <a:schemeClr val="tx1"/>
              </a:buClr>
              <a:buSzPct val="100000"/>
              <a:defRPr sz="2000">
                <a:solidFill>
                  <a:srgbClr val="EAD1EB"/>
                </a:solidFill>
                <a:latin typeface="Segoe Sans Display Semibold" pitchFamily="2" charset="0"/>
                <a:cs typeface="Segoe Sans Display Semibold" pitchFamily="2" charset="0"/>
              </a:defRPr>
            </a:lvl1pPr>
          </a:lstStyle>
          <a:p>
            <a:pPr marL="0" marR="0" lvl="0" indent="0" algn="l" defTabSz="914367" rtl="0" eaLnBrk="1" fontAlgn="ctr" latinLnBrk="0" hangingPunct="1">
              <a:lnSpc>
                <a:spcPct val="90000"/>
              </a:lnSpc>
              <a:spcBef>
                <a:spcPts val="0"/>
              </a:spcBef>
              <a:spcAft>
                <a:spcPts val="1200"/>
              </a:spcAft>
              <a:buClr>
                <a:srgbClr val="000000"/>
              </a:buClr>
              <a:buSzPct val="100000"/>
              <a:buFontTx/>
              <a:buNone/>
              <a:tabLst/>
              <a:defRPr/>
            </a:pPr>
            <a:r>
              <a:rPr kumimoji="0" lang="en-US" sz="2000" b="1" i="0" u="none" strike="noStrike" kern="1200" cap="none" spc="0" normalizeH="0" baseline="0" noProof="0">
                <a:ln>
                  <a:noFill/>
                </a:ln>
                <a:gradFill>
                  <a:gsLst>
                    <a:gs pos="48300">
                      <a:srgbClr val="6358CC"/>
                    </a:gs>
                    <a:gs pos="100000">
                      <a:srgbClr val="0078D4"/>
                    </a:gs>
                    <a:gs pos="0">
                      <a:srgbClr val="C03BC4"/>
                    </a:gs>
                  </a:gsLst>
                  <a:lin ang="3000000" scaled="0"/>
                </a:gradFill>
                <a:effectLst/>
                <a:uLnTx/>
                <a:uFillTx/>
                <a:latin typeface="Segoe Sans Text"/>
                <a:ea typeface="+mn-ea"/>
                <a:cs typeface="Segoe Sans Display Semibold" pitchFamily="2" charset="0"/>
              </a:rPr>
              <a:t>Consider Azure</a:t>
            </a:r>
          </a:p>
        </p:txBody>
      </p:sp>
      <p:sp>
        <p:nvSpPr>
          <p:cNvPr id="13" name="Content Placeholder 10">
            <a:extLst>
              <a:ext uri="{FF2B5EF4-FFF2-40B4-BE49-F238E27FC236}">
                <a16:creationId xmlns:a16="http://schemas.microsoft.com/office/drawing/2014/main" id="{781C566A-2276-6289-8763-DA3C24CFAA2F}"/>
              </a:ext>
            </a:extLst>
          </p:cNvPr>
          <p:cNvSpPr txBox="1">
            <a:spLocks/>
          </p:cNvSpPr>
          <p:nvPr/>
        </p:nvSpPr>
        <p:spPr>
          <a:xfrm>
            <a:off x="1094987" y="2699453"/>
            <a:ext cx="1984389"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200"/>
              </a:spcAft>
              <a:buClr>
                <a:srgbClr val="000000"/>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Segoe Sans Display" pitchFamily="2" charset="0"/>
              </a:rPr>
              <a:t>Understand value and </a:t>
            </a:r>
            <a:br>
              <a:rPr kumimoji="0" lang="en-US" sz="1400" b="0" i="0" u="none" strike="noStrike" kern="1200" cap="none" spc="0" normalizeH="0" baseline="0" noProof="0">
                <a:ln>
                  <a:noFill/>
                </a:ln>
                <a:solidFill>
                  <a:srgbClr val="000000"/>
                </a:solidFill>
                <a:effectLst/>
                <a:uLnTx/>
                <a:uFillTx/>
                <a:latin typeface="Segoe Sans Text"/>
                <a:ea typeface="+mn-ea"/>
                <a:cs typeface="Segoe Sans Display" pitchFamily="2" charset="0"/>
              </a:rPr>
            </a:br>
            <a:r>
              <a:rPr kumimoji="0" lang="en-US" sz="1400" b="0" i="0" u="none" strike="noStrike" kern="1200" cap="none" spc="0" normalizeH="0" baseline="0" noProof="0">
                <a:ln>
                  <a:noFill/>
                </a:ln>
                <a:solidFill>
                  <a:srgbClr val="000000"/>
                </a:solidFill>
                <a:effectLst/>
                <a:uLnTx/>
                <a:uFillTx/>
                <a:latin typeface="Segoe Sans Text"/>
                <a:ea typeface="+mn-ea"/>
                <a:cs typeface="Segoe Sans Display" pitchFamily="2" charset="0"/>
              </a:rPr>
              <a:t>build confidence.</a:t>
            </a:r>
          </a:p>
        </p:txBody>
      </p:sp>
      <p:cxnSp>
        <p:nvCxnSpPr>
          <p:cNvPr id="6" name="Straight Connector 5">
            <a:extLst>
              <a:ext uri="{FF2B5EF4-FFF2-40B4-BE49-F238E27FC236}">
                <a16:creationId xmlns:a16="http://schemas.microsoft.com/office/drawing/2014/main" id="{B9DAA654-9015-A2C9-6346-A3346FFC64C7}"/>
              </a:ext>
              <a:ext uri="{C183D7F6-B498-43B3-948B-1728B52AA6E4}">
                <adec:decorative xmlns:adec="http://schemas.microsoft.com/office/drawing/2017/decorative" val="1"/>
              </a:ext>
            </a:extLst>
          </p:cNvPr>
          <p:cNvCxnSpPr>
            <a:cxnSpLocks/>
          </p:cNvCxnSpPr>
          <p:nvPr/>
        </p:nvCxnSpPr>
        <p:spPr>
          <a:xfrm>
            <a:off x="2087181" y="3859887"/>
            <a:ext cx="0" cy="457200"/>
          </a:xfrm>
          <a:prstGeom prst="line">
            <a:avLst/>
          </a:prstGeom>
          <a:ln w="57150" cap="rnd">
            <a:gradFill flip="none" rotWithShape="1">
              <a:gsLst>
                <a:gs pos="13000">
                  <a:srgbClr val="2DA5FF"/>
                </a:gs>
                <a:gs pos="100000">
                  <a:srgbClr val="D59ED7"/>
                </a:gs>
              </a:gsLst>
              <a:lin ang="16200000" scaled="1"/>
              <a:tileRect/>
            </a:gra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5DD65EB-D532-EF83-61E6-FA46396D92ED}"/>
              </a:ext>
              <a:ext uri="{C183D7F6-B498-43B3-948B-1728B52AA6E4}">
                <adec:decorative xmlns:adec="http://schemas.microsoft.com/office/drawing/2017/decorative" val="1"/>
              </a:ext>
            </a:extLst>
          </p:cNvPr>
          <p:cNvCxnSpPr>
            <a:cxnSpLocks/>
          </p:cNvCxnSpPr>
          <p:nvPr/>
        </p:nvCxnSpPr>
        <p:spPr>
          <a:xfrm>
            <a:off x="4764007" y="3859887"/>
            <a:ext cx="0" cy="457200"/>
          </a:xfrm>
          <a:prstGeom prst="line">
            <a:avLst/>
          </a:prstGeom>
          <a:ln w="57150" cap="rnd">
            <a:gradFill flip="none" rotWithShape="1">
              <a:gsLst>
                <a:gs pos="13000">
                  <a:srgbClr val="2DA5FF"/>
                </a:gs>
                <a:gs pos="100000">
                  <a:srgbClr val="D59ED7"/>
                </a:gs>
              </a:gsLst>
              <a:lin ang="16200000" scaled="1"/>
              <a:tileRect/>
            </a:gra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D5920B8-DE18-1164-E3A4-B0E302CD4E34}"/>
              </a:ext>
              <a:ext uri="{C183D7F6-B498-43B3-948B-1728B52AA6E4}">
                <adec:decorative xmlns:adec="http://schemas.microsoft.com/office/drawing/2017/decorative" val="1"/>
              </a:ext>
            </a:extLst>
          </p:cNvPr>
          <p:cNvCxnSpPr>
            <a:cxnSpLocks/>
          </p:cNvCxnSpPr>
          <p:nvPr/>
        </p:nvCxnSpPr>
        <p:spPr>
          <a:xfrm>
            <a:off x="7462252" y="3859887"/>
            <a:ext cx="0" cy="457200"/>
          </a:xfrm>
          <a:prstGeom prst="line">
            <a:avLst/>
          </a:prstGeom>
          <a:ln w="57150" cap="rnd">
            <a:gradFill flip="none" rotWithShape="1">
              <a:gsLst>
                <a:gs pos="13000">
                  <a:srgbClr val="2DA5FF"/>
                </a:gs>
                <a:gs pos="100000">
                  <a:srgbClr val="D59ED7"/>
                </a:gs>
              </a:gsLst>
              <a:lin ang="16200000" scaled="1"/>
              <a:tileRect/>
            </a:gra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B4127FC-A319-B03D-3D30-3E46149584D2}"/>
              </a:ext>
              <a:ext uri="{C183D7F6-B498-43B3-948B-1728B52AA6E4}">
                <adec:decorative xmlns:adec="http://schemas.microsoft.com/office/drawing/2017/decorative" val="1"/>
              </a:ext>
            </a:extLst>
          </p:cNvPr>
          <p:cNvCxnSpPr>
            <a:cxnSpLocks/>
          </p:cNvCxnSpPr>
          <p:nvPr/>
        </p:nvCxnSpPr>
        <p:spPr>
          <a:xfrm>
            <a:off x="10128289" y="3859887"/>
            <a:ext cx="0" cy="457200"/>
          </a:xfrm>
          <a:prstGeom prst="line">
            <a:avLst/>
          </a:prstGeom>
          <a:ln w="57150" cap="rnd">
            <a:gradFill flip="none" rotWithShape="1">
              <a:gsLst>
                <a:gs pos="13000">
                  <a:srgbClr val="2DA5FF"/>
                </a:gs>
                <a:gs pos="100000">
                  <a:srgbClr val="D59ED7"/>
                </a:gs>
              </a:gsLst>
              <a:lin ang="16200000" scaled="1"/>
              <a:tileRect/>
            </a:gra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22F2EC5-DAC2-C422-1221-ECC7AD5037C8}"/>
              </a:ext>
            </a:extLst>
          </p:cNvPr>
          <p:cNvSpPr txBox="1"/>
          <p:nvPr/>
        </p:nvSpPr>
        <p:spPr>
          <a:xfrm>
            <a:off x="576769" y="3429000"/>
            <a:ext cx="11049000" cy="430887"/>
          </a:xfrm>
          <a:prstGeom prst="rect">
            <a:avLst/>
          </a:prstGeom>
          <a:solidFill>
            <a:schemeClr val="tx2"/>
          </a:solidFill>
          <a:effectLst>
            <a:outerShdw blurRad="63500" dist="25400" dir="2700000" algn="t" rotWithShape="0">
              <a:prstClr val="black">
                <a:alpha val="15000"/>
              </a:prstClr>
            </a:outerShdw>
          </a:effectLst>
        </p:spPr>
        <p:txBody>
          <a:bodyPr wrap="square" lIns="502920" tIns="0" rIns="0" bIns="0" rtlCol="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Sans Text Semibold"/>
                <a:ea typeface="+mn-ea"/>
                <a:cs typeface="+mn-cs"/>
              </a:rPr>
              <a:t>Pricing needs through the journey</a:t>
            </a:r>
          </a:p>
        </p:txBody>
      </p:sp>
      <p:sp>
        <p:nvSpPr>
          <p:cNvPr id="22" name="Rectangle: Rounded Corners 21">
            <a:extLst>
              <a:ext uri="{FF2B5EF4-FFF2-40B4-BE49-F238E27FC236}">
                <a16:creationId xmlns:a16="http://schemas.microsoft.com/office/drawing/2014/main" id="{4E7AE820-6B92-E385-27F4-A58B01A20909}"/>
              </a:ext>
              <a:ext uri="{C183D7F6-B498-43B3-948B-1728B52AA6E4}">
                <adec:decorative xmlns:adec="http://schemas.microsoft.com/office/drawing/2017/decorative" val="0"/>
              </a:ext>
            </a:extLst>
          </p:cNvPr>
          <p:cNvSpPr/>
          <p:nvPr/>
        </p:nvSpPr>
        <p:spPr bwMode="auto">
          <a:xfrm>
            <a:off x="837797" y="4395129"/>
            <a:ext cx="2477066" cy="1162635"/>
          </a:xfrm>
          <a:prstGeom prst="roundRect">
            <a:avLst>
              <a:gd name="adj" fmla="val 5656"/>
            </a:avLst>
          </a:prstGeom>
          <a:gradFill>
            <a:gsLst>
              <a:gs pos="100000">
                <a:srgbClr val="EC9ECC"/>
              </a:gs>
              <a:gs pos="0">
                <a:srgbClr val="FFB3BB"/>
              </a:gs>
            </a:gsLst>
            <a:lin ang="3000000" scaled="0"/>
          </a:gradFill>
          <a:ln>
            <a:noFill/>
            <a:headEnd type="none" w="med" len="med"/>
            <a:tailEnd type="none" w="med" len="med"/>
          </a:ln>
          <a:effectLst>
            <a:outerShdw blurRad="101600" dist="25400" dir="2700000" algn="tl" rotWithShape="0">
              <a:prstClr val="black">
                <a:alpha val="20000"/>
              </a:prstClr>
            </a:outerShdw>
          </a:effectLst>
          <a:scene3d>
            <a:camera prst="orthographicFront">
              <a:rot lat="0" lon="0" rev="0"/>
            </a:camera>
            <a:lightRig rig="twoPt" dir="tl"/>
          </a:scene3d>
          <a:sp3d prstMaterial="flat"/>
        </p:spPr>
        <p:txBody>
          <a:bodyPr rot="0" spcFirstLastPara="0" vert="horz" wrap="square" lIns="274320" tIns="91440" rIns="182880" bIns="91440" numCol="1" spcCol="0" rtlCol="0" fromWordArt="0" anchor="ctr" anchorCtr="0" forceAA="0" compatLnSpc="1">
            <a:prstTxWarp prst="textNoShape">
              <a:avLst/>
            </a:prstTxWarp>
            <a:noAutofit/>
          </a:bodyPr>
          <a:lstStyle/>
          <a:p>
            <a:pPr marL="0" marR="0" lvl="0" indent="0" algn="l" defTabSz="950845" rtl="0" eaLnBrk="1" fontAlgn="auto"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Semibold"/>
                <a:ea typeface="+mn-ea"/>
                <a:cs typeface="Segoe UI"/>
              </a:rPr>
              <a:t>Understand how </a:t>
            </a:r>
            <a:br>
              <a:rPr kumimoji="0" lang="en-US" sz="1600" b="0" i="0" u="none" strike="noStrike" kern="1200" cap="none" spc="0" normalizeH="0" baseline="0" noProof="0">
                <a:ln>
                  <a:noFill/>
                </a:ln>
                <a:solidFill>
                  <a:srgbClr val="000000"/>
                </a:solidFill>
                <a:effectLst/>
                <a:uLnTx/>
                <a:uFillTx/>
                <a:latin typeface="Segoe Sans Text Semibold"/>
                <a:ea typeface="+mn-ea"/>
                <a:cs typeface="Segoe UI"/>
              </a:rPr>
            </a:br>
            <a:r>
              <a:rPr kumimoji="0" lang="en-US" sz="1600" b="0" i="0" u="none" strike="noStrike" kern="1200" cap="none" spc="0" normalizeH="0" baseline="0" noProof="0">
                <a:ln>
                  <a:noFill/>
                </a:ln>
                <a:solidFill>
                  <a:srgbClr val="000000"/>
                </a:solidFill>
                <a:effectLst/>
                <a:uLnTx/>
                <a:uFillTx/>
                <a:latin typeface="Segoe Sans Text Semibold"/>
                <a:ea typeface="+mn-ea"/>
                <a:cs typeface="Segoe UI"/>
              </a:rPr>
              <a:t>Azure pricing works</a:t>
            </a:r>
          </a:p>
        </p:txBody>
      </p:sp>
      <p:sp>
        <p:nvSpPr>
          <p:cNvPr id="19" name="TextBox">
            <a:extLst>
              <a:ext uri="{FF2B5EF4-FFF2-40B4-BE49-F238E27FC236}">
                <a16:creationId xmlns:a16="http://schemas.microsoft.com/office/drawing/2014/main" id="{5E3A604B-EB25-42D2-4BC2-5B3125501F76}"/>
              </a:ext>
            </a:extLst>
          </p:cNvPr>
          <p:cNvSpPr txBox="1"/>
          <p:nvPr/>
        </p:nvSpPr>
        <p:spPr>
          <a:xfrm>
            <a:off x="3781135" y="2070171"/>
            <a:ext cx="2116469" cy="561692"/>
          </a:xfrm>
          <a:prstGeom prst="rect">
            <a:avLst/>
          </a:prstGeom>
          <a:noFill/>
        </p:spPr>
        <p:txBody>
          <a:bodyPr wrap="square" lIns="0" tIns="0" rIns="0" bIns="0" anchor="t">
            <a:spAutoFit/>
          </a:bodyPr>
          <a:lstStyle/>
          <a:p>
            <a:pPr marL="0" marR="0" lvl="0" indent="0" algn="l" defTabSz="914367" rtl="0" eaLnBrk="1" fontAlgn="ctr" latinLnBrk="0" hangingPunct="1">
              <a:lnSpc>
                <a:spcPct val="90000"/>
              </a:lnSpc>
              <a:spcBef>
                <a:spcPts val="0"/>
              </a:spcBef>
              <a:spcAft>
                <a:spcPts val="1200"/>
              </a:spcAft>
              <a:buClr>
                <a:srgbClr val="000000"/>
              </a:buClr>
              <a:buSzPct val="100000"/>
              <a:buFontTx/>
              <a:buNone/>
              <a:tabLst/>
              <a:defRPr/>
            </a:pPr>
            <a:r>
              <a:rPr kumimoji="0" lang="en-US" sz="2000" b="1" i="0" u="none" strike="noStrike" kern="1200" cap="none" spc="0" normalizeH="0" baseline="0" noProof="0">
                <a:ln>
                  <a:noFill/>
                </a:ln>
                <a:gradFill>
                  <a:gsLst>
                    <a:gs pos="48300">
                      <a:srgbClr val="6358CC"/>
                    </a:gs>
                    <a:gs pos="100000">
                      <a:srgbClr val="0078D4"/>
                    </a:gs>
                    <a:gs pos="0">
                      <a:srgbClr val="C03BC4"/>
                    </a:gs>
                  </a:gsLst>
                  <a:lin ang="3000000" scaled="0"/>
                </a:gradFill>
                <a:effectLst/>
                <a:uLnTx/>
                <a:uFillTx/>
                <a:latin typeface="Segoe Sans Text"/>
                <a:ea typeface="+mn-ea"/>
                <a:cs typeface="+mn-cs"/>
              </a:rPr>
              <a:t>Assess </a:t>
            </a:r>
            <a:br>
              <a:rPr kumimoji="0" lang="en-US" sz="2000" b="1" i="0" u="none" strike="noStrike" kern="1200" cap="none" spc="0" normalizeH="0" baseline="0" noProof="0">
                <a:ln>
                  <a:noFill/>
                </a:ln>
                <a:gradFill>
                  <a:gsLst>
                    <a:gs pos="48300">
                      <a:srgbClr val="6358CC"/>
                    </a:gs>
                    <a:gs pos="100000">
                      <a:srgbClr val="0078D4"/>
                    </a:gs>
                    <a:gs pos="0">
                      <a:srgbClr val="C03BC4"/>
                    </a:gs>
                  </a:gsLst>
                  <a:lin ang="3000000" scaled="0"/>
                </a:gradFill>
                <a:effectLst/>
                <a:uLnTx/>
                <a:uFillTx/>
                <a:latin typeface="Segoe Sans Text"/>
                <a:ea typeface="+mn-ea"/>
                <a:cs typeface="+mn-cs"/>
              </a:rPr>
            </a:br>
            <a:r>
              <a:rPr kumimoji="0" lang="en-US" sz="2000" b="1" i="0" u="none" strike="noStrike" kern="1200" cap="none" spc="0" normalizeH="0" baseline="0" noProof="0">
                <a:ln>
                  <a:noFill/>
                </a:ln>
                <a:gradFill>
                  <a:gsLst>
                    <a:gs pos="48300">
                      <a:srgbClr val="6358CC"/>
                    </a:gs>
                    <a:gs pos="100000">
                      <a:srgbClr val="0078D4"/>
                    </a:gs>
                    <a:gs pos="0">
                      <a:srgbClr val="C03BC4"/>
                    </a:gs>
                  </a:gsLst>
                  <a:lin ang="3000000" scaled="0"/>
                </a:gradFill>
                <a:effectLst/>
                <a:uLnTx/>
                <a:uFillTx/>
                <a:latin typeface="Segoe Sans Text"/>
                <a:ea typeface="+mn-ea"/>
                <a:cs typeface="+mn-cs"/>
              </a:rPr>
              <a:t>and plan</a:t>
            </a:r>
          </a:p>
        </p:txBody>
      </p:sp>
      <p:sp>
        <p:nvSpPr>
          <p:cNvPr id="20" name="Content Placeholder 10">
            <a:extLst>
              <a:ext uri="{FF2B5EF4-FFF2-40B4-BE49-F238E27FC236}">
                <a16:creationId xmlns:a16="http://schemas.microsoft.com/office/drawing/2014/main" id="{7F1864F3-741E-589B-2116-234397A0A4D8}"/>
              </a:ext>
            </a:extLst>
          </p:cNvPr>
          <p:cNvSpPr txBox="1">
            <a:spLocks/>
          </p:cNvSpPr>
          <p:nvPr/>
        </p:nvSpPr>
        <p:spPr>
          <a:xfrm>
            <a:off x="3781135" y="2699453"/>
            <a:ext cx="2373393"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200"/>
              </a:spcAft>
              <a:buClr>
                <a:srgbClr val="000000"/>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Segoe Sans Display" pitchFamily="2" charset="0"/>
              </a:rPr>
              <a:t>Prepare for moving forward with project and build a plan.</a:t>
            </a:r>
          </a:p>
        </p:txBody>
      </p:sp>
      <p:sp>
        <p:nvSpPr>
          <p:cNvPr id="27" name="Rectangle: Rounded Corners 26">
            <a:extLst>
              <a:ext uri="{FF2B5EF4-FFF2-40B4-BE49-F238E27FC236}">
                <a16:creationId xmlns:a16="http://schemas.microsoft.com/office/drawing/2014/main" id="{84C3B905-ADB2-8F56-32DC-D4311C058EEE}"/>
              </a:ext>
              <a:ext uri="{C183D7F6-B498-43B3-948B-1728B52AA6E4}">
                <adec:decorative xmlns:adec="http://schemas.microsoft.com/office/drawing/2017/decorative" val="0"/>
              </a:ext>
            </a:extLst>
          </p:cNvPr>
          <p:cNvSpPr/>
          <p:nvPr/>
        </p:nvSpPr>
        <p:spPr bwMode="auto">
          <a:xfrm>
            <a:off x="3525474" y="4395128"/>
            <a:ext cx="2477066" cy="1162635"/>
          </a:xfrm>
          <a:prstGeom prst="roundRect">
            <a:avLst>
              <a:gd name="adj" fmla="val 5656"/>
            </a:avLst>
          </a:prstGeom>
          <a:gradFill>
            <a:gsLst>
              <a:gs pos="100000">
                <a:srgbClr val="96DB9E"/>
              </a:gs>
              <a:gs pos="0">
                <a:srgbClr val="D4EC8E"/>
              </a:gs>
            </a:gsLst>
            <a:lin ang="3000000" scaled="0"/>
          </a:gradFill>
          <a:ln>
            <a:noFill/>
            <a:headEnd type="none" w="med" len="med"/>
            <a:tailEnd type="none" w="med" len="med"/>
          </a:ln>
          <a:effectLst>
            <a:outerShdw blurRad="101600" dist="25400" dir="2700000" algn="tl" rotWithShape="0">
              <a:prstClr val="black">
                <a:alpha val="20000"/>
              </a:prstClr>
            </a:outerShdw>
          </a:effectLst>
          <a:scene3d>
            <a:camera prst="orthographicFront">
              <a:rot lat="0" lon="0" rev="0"/>
            </a:camera>
            <a:lightRig rig="twoPt" dir="tl"/>
          </a:scene3d>
          <a:sp3d prstMaterial="flat"/>
        </p:spPr>
        <p:txBody>
          <a:bodyPr rot="0" spcFirstLastPara="0" vert="horz" wrap="square" lIns="274320" tIns="91440" rIns="182880" bIns="91440" numCol="1" spcCol="0" rtlCol="0" fromWordArt="0" anchor="ctr" anchorCtr="0" forceAA="0" compatLnSpc="1">
            <a:prstTxWarp prst="textNoShape">
              <a:avLst/>
            </a:prstTxWarp>
            <a:noAutofit/>
          </a:bodyPr>
          <a:lstStyle/>
          <a:p>
            <a:pPr marL="0" marR="0" lvl="0" indent="0" algn="l" defTabSz="950845" rtl="0" eaLnBrk="1" fontAlgn="auto"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Semibold"/>
                <a:ea typeface="+mn-ea"/>
                <a:cs typeface="Segoe UI"/>
              </a:rPr>
              <a:t>Estimate project costs on Azure</a:t>
            </a:r>
          </a:p>
        </p:txBody>
      </p:sp>
      <p:sp>
        <p:nvSpPr>
          <p:cNvPr id="28" name="TextBox">
            <a:extLst>
              <a:ext uri="{FF2B5EF4-FFF2-40B4-BE49-F238E27FC236}">
                <a16:creationId xmlns:a16="http://schemas.microsoft.com/office/drawing/2014/main" id="{5A41C47F-146B-36B0-51AE-13DC5E2BA61E}"/>
              </a:ext>
            </a:extLst>
          </p:cNvPr>
          <p:cNvSpPr txBox="1"/>
          <p:nvPr/>
        </p:nvSpPr>
        <p:spPr>
          <a:xfrm>
            <a:off x="6458882" y="2070171"/>
            <a:ext cx="2116469" cy="284693"/>
          </a:xfrm>
          <a:prstGeom prst="rect">
            <a:avLst/>
          </a:prstGeom>
          <a:noFill/>
        </p:spPr>
        <p:txBody>
          <a:bodyPr wrap="square" lIns="0" tIns="0" rIns="0" bIns="0" anchor="t">
            <a:spAutoFit/>
          </a:bodyPr>
          <a:lstStyle/>
          <a:p>
            <a:pPr marL="0" marR="0" lvl="0" indent="0" algn="l" defTabSz="914367" rtl="0" eaLnBrk="1" fontAlgn="ctr" latinLnBrk="0" hangingPunct="1">
              <a:lnSpc>
                <a:spcPct val="90000"/>
              </a:lnSpc>
              <a:spcBef>
                <a:spcPts val="0"/>
              </a:spcBef>
              <a:spcAft>
                <a:spcPts val="1200"/>
              </a:spcAft>
              <a:buClr>
                <a:srgbClr val="000000"/>
              </a:buClr>
              <a:buSzPct val="100000"/>
              <a:buFontTx/>
              <a:buNone/>
              <a:tabLst/>
              <a:defRPr/>
            </a:pPr>
            <a:r>
              <a:rPr kumimoji="0" lang="en-US" sz="2000" b="1" i="0" u="none" strike="noStrike" kern="1200" cap="none" spc="0" normalizeH="0" baseline="0" noProof="0">
                <a:ln>
                  <a:noFill/>
                </a:ln>
                <a:gradFill>
                  <a:gsLst>
                    <a:gs pos="48300">
                      <a:srgbClr val="6358CC"/>
                    </a:gs>
                    <a:gs pos="100000">
                      <a:srgbClr val="0078D4"/>
                    </a:gs>
                    <a:gs pos="0">
                      <a:srgbClr val="C03BC4"/>
                    </a:gs>
                  </a:gsLst>
                  <a:lin ang="3000000" scaled="0"/>
                </a:gradFill>
                <a:effectLst/>
                <a:uLnTx/>
                <a:uFillTx/>
                <a:latin typeface="Segoe Sans Text"/>
                <a:ea typeface="+mn-ea"/>
                <a:cs typeface="+mn-cs"/>
              </a:rPr>
              <a:t>Deploy</a:t>
            </a:r>
          </a:p>
        </p:txBody>
      </p:sp>
      <p:sp>
        <p:nvSpPr>
          <p:cNvPr id="29" name="Content Placeholder 10">
            <a:extLst>
              <a:ext uri="{FF2B5EF4-FFF2-40B4-BE49-F238E27FC236}">
                <a16:creationId xmlns:a16="http://schemas.microsoft.com/office/drawing/2014/main" id="{25C21810-2E69-13DB-C91B-D48835B29480}"/>
              </a:ext>
            </a:extLst>
          </p:cNvPr>
          <p:cNvSpPr txBox="1">
            <a:spLocks/>
          </p:cNvSpPr>
          <p:nvPr/>
        </p:nvSpPr>
        <p:spPr>
          <a:xfrm>
            <a:off x="6458882" y="2466466"/>
            <a:ext cx="1708377"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200"/>
              </a:spcAft>
              <a:buClr>
                <a:srgbClr val="000000"/>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Segoe Sans Display" pitchFamily="2" charset="0"/>
              </a:rPr>
              <a:t>Set up the platform for success.</a:t>
            </a:r>
          </a:p>
        </p:txBody>
      </p:sp>
      <p:sp>
        <p:nvSpPr>
          <p:cNvPr id="30" name="Rectangle: Rounded Corners 29">
            <a:extLst>
              <a:ext uri="{FF2B5EF4-FFF2-40B4-BE49-F238E27FC236}">
                <a16:creationId xmlns:a16="http://schemas.microsoft.com/office/drawing/2014/main" id="{4DF698EB-8E4C-BD13-CBF8-45AE7BD621D7}"/>
              </a:ext>
              <a:ext uri="{C183D7F6-B498-43B3-948B-1728B52AA6E4}">
                <adec:decorative xmlns:adec="http://schemas.microsoft.com/office/drawing/2017/decorative" val="0"/>
              </a:ext>
            </a:extLst>
          </p:cNvPr>
          <p:cNvSpPr/>
          <p:nvPr/>
        </p:nvSpPr>
        <p:spPr bwMode="auto">
          <a:xfrm>
            <a:off x="6213151" y="4395128"/>
            <a:ext cx="2477066" cy="1162635"/>
          </a:xfrm>
          <a:prstGeom prst="roundRect">
            <a:avLst>
              <a:gd name="adj" fmla="val 5656"/>
            </a:avLst>
          </a:prstGeom>
          <a:gradFill>
            <a:gsLst>
              <a:gs pos="100000">
                <a:srgbClr val="FFC993"/>
              </a:gs>
              <a:gs pos="0">
                <a:srgbClr val="FFE399"/>
              </a:gs>
            </a:gsLst>
            <a:lin ang="3000000" scaled="0"/>
          </a:gradFill>
          <a:ln>
            <a:noFill/>
            <a:headEnd type="none" w="med" len="med"/>
            <a:tailEnd type="none" w="med" len="med"/>
          </a:ln>
          <a:effectLst>
            <a:outerShdw blurRad="101600" dist="25400" dir="2700000" algn="tl" rotWithShape="0">
              <a:prstClr val="black">
                <a:alpha val="20000"/>
              </a:prstClr>
            </a:outerShdw>
          </a:effectLst>
          <a:scene3d>
            <a:camera prst="orthographicFront">
              <a:rot lat="0" lon="0" rev="0"/>
            </a:camera>
            <a:lightRig rig="twoPt" dir="tl"/>
          </a:scene3d>
          <a:sp3d prstMaterial="flat"/>
        </p:spPr>
        <p:txBody>
          <a:bodyPr rot="0" spcFirstLastPara="0" vert="horz" wrap="square" lIns="274320" tIns="91440" rIns="182880" bIns="91440" numCol="1" spcCol="0" rtlCol="0" fromWordArt="0" anchor="ctr" anchorCtr="0" forceAA="0" compatLnSpc="1">
            <a:prstTxWarp prst="textNoShape">
              <a:avLst/>
            </a:prstTxWarp>
            <a:noAutofit/>
          </a:bodyPr>
          <a:lstStyle/>
          <a:p>
            <a:pPr marL="0" marR="0" lvl="0" indent="0" algn="l" defTabSz="950845" rtl="0" eaLnBrk="1" fontAlgn="auto"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Semibold"/>
                <a:ea typeface="+mn-ea"/>
                <a:cs typeface="Segoe UI"/>
              </a:rPr>
              <a:t>Budget for specific Azure services</a:t>
            </a:r>
          </a:p>
        </p:txBody>
      </p:sp>
      <p:sp>
        <p:nvSpPr>
          <p:cNvPr id="31" name="TextBox">
            <a:extLst>
              <a:ext uri="{FF2B5EF4-FFF2-40B4-BE49-F238E27FC236}">
                <a16:creationId xmlns:a16="http://schemas.microsoft.com/office/drawing/2014/main" id="{BB8D3487-E59B-91F0-FF40-CCF46779D8B3}"/>
              </a:ext>
            </a:extLst>
          </p:cNvPr>
          <p:cNvSpPr txBox="1"/>
          <p:nvPr/>
        </p:nvSpPr>
        <p:spPr>
          <a:xfrm>
            <a:off x="9145330" y="2070171"/>
            <a:ext cx="2116469" cy="561692"/>
          </a:xfrm>
          <a:prstGeom prst="rect">
            <a:avLst/>
          </a:prstGeom>
          <a:noFill/>
        </p:spPr>
        <p:txBody>
          <a:bodyPr wrap="square" lIns="0" tIns="0" rIns="0" bIns="0" anchor="t">
            <a:spAutoFit/>
          </a:bodyPr>
          <a:lstStyle/>
          <a:p>
            <a:pPr marL="0" marR="0" lvl="0" indent="0" algn="l" defTabSz="914367" rtl="0" eaLnBrk="1" fontAlgn="ctr" latinLnBrk="0" hangingPunct="1">
              <a:lnSpc>
                <a:spcPct val="90000"/>
              </a:lnSpc>
              <a:spcBef>
                <a:spcPts val="0"/>
              </a:spcBef>
              <a:spcAft>
                <a:spcPts val="1200"/>
              </a:spcAft>
              <a:buClr>
                <a:srgbClr val="000000"/>
              </a:buClr>
              <a:buSzPct val="100000"/>
              <a:buFontTx/>
              <a:buNone/>
              <a:tabLst/>
              <a:defRPr/>
            </a:pPr>
            <a:r>
              <a:rPr kumimoji="0" lang="en-US" sz="2000" b="1" i="0" u="none" strike="noStrike" kern="1200" cap="none" spc="0" normalizeH="0" baseline="0" noProof="0">
                <a:ln>
                  <a:noFill/>
                </a:ln>
                <a:gradFill>
                  <a:gsLst>
                    <a:gs pos="48300">
                      <a:srgbClr val="6358CC"/>
                    </a:gs>
                    <a:gs pos="100000">
                      <a:srgbClr val="0078D4"/>
                    </a:gs>
                    <a:gs pos="0">
                      <a:srgbClr val="C03BC4"/>
                    </a:gs>
                  </a:gsLst>
                  <a:lin ang="3000000" scaled="0"/>
                </a:gradFill>
                <a:effectLst/>
                <a:uLnTx/>
                <a:uFillTx/>
                <a:latin typeface="Segoe Sans Text"/>
                <a:ea typeface="+mn-ea"/>
                <a:cs typeface="+mn-cs"/>
              </a:rPr>
              <a:t>Manage </a:t>
            </a:r>
            <a:br>
              <a:rPr kumimoji="0" lang="en-US" sz="2000" b="1" i="0" u="none" strike="noStrike" kern="1200" cap="none" spc="0" normalizeH="0" baseline="0" noProof="0">
                <a:ln>
                  <a:noFill/>
                </a:ln>
                <a:gradFill>
                  <a:gsLst>
                    <a:gs pos="48300">
                      <a:srgbClr val="6358CC"/>
                    </a:gs>
                    <a:gs pos="100000">
                      <a:srgbClr val="0078D4"/>
                    </a:gs>
                    <a:gs pos="0">
                      <a:srgbClr val="C03BC4"/>
                    </a:gs>
                  </a:gsLst>
                  <a:lin ang="3000000" scaled="0"/>
                </a:gradFill>
                <a:effectLst/>
                <a:uLnTx/>
                <a:uFillTx/>
                <a:latin typeface="Segoe Sans Text"/>
                <a:ea typeface="+mn-ea"/>
                <a:cs typeface="+mn-cs"/>
              </a:rPr>
            </a:br>
            <a:r>
              <a:rPr kumimoji="0" lang="en-US" sz="2000" b="1" i="0" u="none" strike="noStrike" kern="1200" cap="none" spc="0" normalizeH="0" baseline="0" noProof="0">
                <a:ln>
                  <a:noFill/>
                </a:ln>
                <a:gradFill>
                  <a:gsLst>
                    <a:gs pos="48300">
                      <a:srgbClr val="6358CC"/>
                    </a:gs>
                    <a:gs pos="100000">
                      <a:srgbClr val="0078D4"/>
                    </a:gs>
                    <a:gs pos="0">
                      <a:srgbClr val="C03BC4"/>
                    </a:gs>
                  </a:gsLst>
                  <a:lin ang="3000000" scaled="0"/>
                </a:gradFill>
                <a:effectLst/>
                <a:uLnTx/>
                <a:uFillTx/>
                <a:latin typeface="Segoe Sans Text"/>
                <a:ea typeface="+mn-ea"/>
                <a:cs typeface="+mn-cs"/>
              </a:rPr>
              <a:t>and optimize</a:t>
            </a:r>
          </a:p>
        </p:txBody>
      </p:sp>
      <p:sp>
        <p:nvSpPr>
          <p:cNvPr id="32" name="Content Placeholder 10">
            <a:extLst>
              <a:ext uri="{FF2B5EF4-FFF2-40B4-BE49-F238E27FC236}">
                <a16:creationId xmlns:a16="http://schemas.microsoft.com/office/drawing/2014/main" id="{81A4971F-CA54-CD0F-81F4-62900CBEC30D}"/>
              </a:ext>
            </a:extLst>
          </p:cNvPr>
          <p:cNvSpPr txBox="1">
            <a:spLocks/>
          </p:cNvSpPr>
          <p:nvPr/>
        </p:nvSpPr>
        <p:spPr>
          <a:xfrm>
            <a:off x="9145330" y="2699453"/>
            <a:ext cx="2116469"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200"/>
              </a:spcAft>
              <a:buClr>
                <a:srgbClr val="000000"/>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Segoe Sans Display" pitchFamily="2" charset="0"/>
              </a:rPr>
              <a:t>Establish management and optimization excellence.</a:t>
            </a:r>
          </a:p>
        </p:txBody>
      </p:sp>
      <p:sp>
        <p:nvSpPr>
          <p:cNvPr id="33" name="Rectangle: Rounded Corners 32">
            <a:extLst>
              <a:ext uri="{FF2B5EF4-FFF2-40B4-BE49-F238E27FC236}">
                <a16:creationId xmlns:a16="http://schemas.microsoft.com/office/drawing/2014/main" id="{4652179A-DBA4-B89B-2FEF-16BD33157278}"/>
              </a:ext>
              <a:ext uri="{C183D7F6-B498-43B3-948B-1728B52AA6E4}">
                <adec:decorative xmlns:adec="http://schemas.microsoft.com/office/drawing/2017/decorative" val="0"/>
              </a:ext>
            </a:extLst>
          </p:cNvPr>
          <p:cNvSpPr/>
          <p:nvPr/>
        </p:nvSpPr>
        <p:spPr bwMode="auto">
          <a:xfrm>
            <a:off x="8899599" y="4395128"/>
            <a:ext cx="2477066" cy="1162635"/>
          </a:xfrm>
          <a:prstGeom prst="roundRect">
            <a:avLst>
              <a:gd name="adj" fmla="val 5656"/>
            </a:avLst>
          </a:prstGeom>
          <a:gradFill>
            <a:gsLst>
              <a:gs pos="100000">
                <a:srgbClr val="B6B4EB"/>
              </a:gs>
              <a:gs pos="31000">
                <a:schemeClr val="accent1">
                  <a:lumMod val="40000"/>
                  <a:lumOff val="60000"/>
                </a:schemeClr>
              </a:gs>
            </a:gsLst>
            <a:lin ang="3000000" scaled="0"/>
          </a:gradFill>
          <a:ln>
            <a:noFill/>
            <a:headEnd type="none" w="med" len="med"/>
            <a:tailEnd type="none" w="med" len="med"/>
          </a:ln>
          <a:effectLst>
            <a:outerShdw blurRad="101600" dist="25400" dir="2700000" algn="tl" rotWithShape="0">
              <a:prstClr val="black">
                <a:alpha val="20000"/>
              </a:prstClr>
            </a:outerShdw>
          </a:effectLst>
          <a:scene3d>
            <a:camera prst="orthographicFront">
              <a:rot lat="0" lon="0" rev="0"/>
            </a:camera>
            <a:lightRig rig="twoPt" dir="tl"/>
          </a:scene3d>
          <a:sp3d prstMaterial="flat"/>
        </p:spPr>
        <p:txBody>
          <a:bodyPr rot="0" spcFirstLastPara="0" vert="horz" wrap="square" lIns="274320" tIns="91440" rIns="182880" bIns="91440" numCol="1" spcCol="0" rtlCol="0" fromWordArt="0" anchor="ctr" anchorCtr="0" forceAA="0" compatLnSpc="1">
            <a:prstTxWarp prst="textNoShape">
              <a:avLst/>
            </a:prstTxWarp>
            <a:noAutofit/>
          </a:bodyPr>
          <a:lstStyle/>
          <a:p>
            <a:pPr marL="0" marR="0" lvl="0" indent="0" algn="l" defTabSz="950845" rtl="0" eaLnBrk="1" fontAlgn="auto"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Semibold"/>
                <a:ea typeface="+mn-ea"/>
                <a:cs typeface="Segoe UI"/>
              </a:rPr>
              <a:t>Optimize spend for Azure workloads</a:t>
            </a:r>
          </a:p>
        </p:txBody>
      </p:sp>
      <p:cxnSp>
        <p:nvCxnSpPr>
          <p:cNvPr id="36" name="Straight Connector 35">
            <a:extLst>
              <a:ext uri="{FF2B5EF4-FFF2-40B4-BE49-F238E27FC236}">
                <a16:creationId xmlns:a16="http://schemas.microsoft.com/office/drawing/2014/main" id="{2B4CA28F-83F7-AFD5-CE6D-7B7120242669}"/>
              </a:ext>
              <a:ext uri="{C183D7F6-B498-43B3-948B-1728B52AA6E4}">
                <adec:decorative xmlns:adec="http://schemas.microsoft.com/office/drawing/2017/decorative" val="1"/>
              </a:ext>
            </a:extLst>
          </p:cNvPr>
          <p:cNvCxnSpPr>
            <a:cxnSpLocks/>
          </p:cNvCxnSpPr>
          <p:nvPr/>
        </p:nvCxnSpPr>
        <p:spPr>
          <a:xfrm>
            <a:off x="4846574" y="2230835"/>
            <a:ext cx="914400" cy="0"/>
          </a:xfrm>
          <a:prstGeom prst="line">
            <a:avLst/>
          </a:prstGeom>
          <a:ln w="57150" cap="rnd">
            <a:gradFill flip="none" rotWithShape="1">
              <a:gsLst>
                <a:gs pos="0">
                  <a:srgbClr val="2DA5FF"/>
                </a:gs>
                <a:gs pos="100000">
                  <a:srgbClr val="D59ED7"/>
                </a:gs>
              </a:gsLst>
              <a:lin ang="10800000" scaled="0"/>
              <a:tileRect/>
            </a:gra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35B516A-4A11-BBA4-CCB5-A86A0A563255}"/>
              </a:ext>
              <a:ext uri="{C183D7F6-B498-43B3-948B-1728B52AA6E4}">
                <adec:decorative xmlns:adec="http://schemas.microsoft.com/office/drawing/2017/decorative" val="1"/>
              </a:ext>
            </a:extLst>
          </p:cNvPr>
          <p:cNvCxnSpPr>
            <a:cxnSpLocks/>
          </p:cNvCxnSpPr>
          <p:nvPr/>
        </p:nvCxnSpPr>
        <p:spPr>
          <a:xfrm>
            <a:off x="7534239" y="2230835"/>
            <a:ext cx="914400" cy="0"/>
          </a:xfrm>
          <a:prstGeom prst="line">
            <a:avLst/>
          </a:prstGeom>
          <a:ln w="57150" cap="rnd">
            <a:gradFill flip="none" rotWithShape="1">
              <a:gsLst>
                <a:gs pos="0">
                  <a:srgbClr val="2DA5FF"/>
                </a:gs>
                <a:gs pos="100000">
                  <a:srgbClr val="D59ED7"/>
                </a:gs>
              </a:gsLst>
              <a:lin ang="10800000" scaled="0"/>
              <a:tileRect/>
            </a:gradFill>
            <a:headEnd type="none" w="lg" len="med"/>
            <a:tailEnd type="arrow"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899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42" presetClass="path" presetSubtype="0" decel="100000" fill="hold" grpId="1" nodeType="withEffect">
                                  <p:stCondLst>
                                    <p:cond delay="0"/>
                                  </p:stCondLst>
                                  <p:childTnLst>
                                    <p:animMotion origin="layout" path="M -3.33333E-6 -4.07407E-6 L -3.33333E-6 0.04352 " pathEditMode="relative" rAng="0" ptsTypes="AA">
                                      <p:cBhvr>
                                        <p:cTn id="12" dur="600" spd="-100000" fill="hold"/>
                                        <p:tgtEl>
                                          <p:spTgt spid="12"/>
                                        </p:tgtEl>
                                        <p:attrNameLst>
                                          <p:attrName>ppt_x</p:attrName>
                                          <p:attrName>ppt_y</p:attrName>
                                        </p:attrNameLst>
                                      </p:cBhvr>
                                      <p:rCtr x="0" y="2176"/>
                                    </p:animMotion>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42" presetClass="path" presetSubtype="0" decel="100000" fill="hold" grpId="1" nodeType="withEffect">
                                  <p:stCondLst>
                                    <p:cond delay="0"/>
                                  </p:stCondLst>
                                  <p:childTnLst>
                                    <p:animMotion origin="layout" path="M -4.16667E-6 3.7037E-7 L -4.16667E-6 0.04352 " pathEditMode="relative" rAng="0" ptsTypes="AA">
                                      <p:cBhvr>
                                        <p:cTn id="17" dur="600" spd="-100000" fill="hold"/>
                                        <p:tgtEl>
                                          <p:spTgt spid="13"/>
                                        </p:tgtEl>
                                        <p:attrNameLst>
                                          <p:attrName>ppt_x</p:attrName>
                                          <p:attrName>ppt_y</p:attrName>
                                        </p:attrNameLst>
                                      </p:cBhvr>
                                      <p:rCtr x="0" y="2176"/>
                                    </p:animMotion>
                                  </p:childTnLst>
                                </p:cTn>
                              </p:par>
                              <p:par>
                                <p:cTn id="18" presetID="10"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42" presetClass="path" presetSubtype="0" decel="100000" fill="hold" nodeType="withEffect">
                                  <p:stCondLst>
                                    <p:cond delay="0"/>
                                  </p:stCondLst>
                                  <p:childTnLst>
                                    <p:animMotion origin="layout" path="M -3.95833E-6 -0.05115 L -3.95833E-6 -4.81481E-6 " pathEditMode="relative" rAng="0" ptsTypes="AA">
                                      <p:cBhvr>
                                        <p:cTn id="22" dur="600" fill="hold"/>
                                        <p:tgtEl>
                                          <p:spTgt spid="6"/>
                                        </p:tgtEl>
                                        <p:attrNameLst>
                                          <p:attrName>ppt_x</p:attrName>
                                          <p:attrName>ppt_y</p:attrName>
                                        </p:attrNameLst>
                                      </p:cBhvr>
                                      <p:rCtr x="0" y="2546"/>
                                    </p:animMotion>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42" presetClass="path" presetSubtype="0" decel="100000" fill="hold" grpId="1" nodeType="withEffect">
                                  <p:stCondLst>
                                    <p:cond delay="0"/>
                                  </p:stCondLst>
                                  <p:childTnLst>
                                    <p:animMotion origin="layout" path="M -2.5E-6 -0.05115 L -2.5E-6 -4.44444E-6 " pathEditMode="relative" rAng="0" ptsTypes="AA">
                                      <p:cBhvr>
                                        <p:cTn id="27" dur="600" fill="hold"/>
                                        <p:tgtEl>
                                          <p:spTgt spid="22"/>
                                        </p:tgtEl>
                                        <p:attrNameLst>
                                          <p:attrName>ppt_x</p:attrName>
                                          <p:attrName>ppt_y</p:attrName>
                                        </p:attrNameLst>
                                      </p:cBhvr>
                                      <p:rCtr x="0" y="2546"/>
                                    </p:animMotion>
                                  </p:childTnLst>
                                </p:cTn>
                              </p:par>
                              <p:par>
                                <p:cTn id="28" presetID="10" presetClass="entr" presetSubtype="0" fill="hold"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par>
                                <p:cTn id="31" presetID="63" presetClass="path" presetSubtype="0" decel="100000" fill="hold" nodeType="withEffect">
                                  <p:stCondLst>
                                    <p:cond delay="0"/>
                                  </p:stCondLst>
                                  <p:childTnLst>
                                    <p:animMotion origin="layout" path="M -0.02226 -1.48148E-6 L -3.33333E-6 -1.48148E-6 " pathEditMode="relative" rAng="0" ptsTypes="AA">
                                      <p:cBhvr>
                                        <p:cTn id="32" dur="600" fill="hold"/>
                                        <p:tgtEl>
                                          <p:spTgt spid="10"/>
                                        </p:tgtEl>
                                        <p:attrNameLst>
                                          <p:attrName>ppt_x</p:attrName>
                                          <p:attrName>ppt_y</p:attrName>
                                        </p:attrNameLst>
                                      </p:cBhvr>
                                      <p:rCtr x="1107" y="0"/>
                                    </p:animMotion>
                                  </p:childTnLst>
                                </p:cTn>
                              </p:par>
                              <p:par>
                                <p:cTn id="33" presetID="10" presetClass="entr" presetSubtype="0" fill="hold" grpId="0" nodeType="withEffect">
                                  <p:stCondLst>
                                    <p:cond delay="50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42" presetClass="path" presetSubtype="0" decel="100000" fill="hold" grpId="1" nodeType="withEffect">
                                  <p:stCondLst>
                                    <p:cond delay="500"/>
                                  </p:stCondLst>
                                  <p:childTnLst>
                                    <p:animMotion origin="layout" path="M 5E-6 -4.07407E-6 L 5E-6 0.04352 " pathEditMode="relative" rAng="0" ptsTypes="AA">
                                      <p:cBhvr>
                                        <p:cTn id="37" dur="600" spd="-100000" fill="hold"/>
                                        <p:tgtEl>
                                          <p:spTgt spid="19"/>
                                        </p:tgtEl>
                                        <p:attrNameLst>
                                          <p:attrName>ppt_x</p:attrName>
                                          <p:attrName>ppt_y</p:attrName>
                                        </p:attrNameLst>
                                      </p:cBhvr>
                                      <p:rCtr x="0" y="2176"/>
                                    </p:animMotion>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42" presetClass="path" presetSubtype="0" decel="100000" fill="hold" grpId="1" nodeType="withEffect">
                                  <p:stCondLst>
                                    <p:cond delay="500"/>
                                  </p:stCondLst>
                                  <p:childTnLst>
                                    <p:animMotion origin="layout" path="M -4.16667E-6 3.7037E-7 L -4.16667E-6 0.04352 " pathEditMode="relative" rAng="0" ptsTypes="AA">
                                      <p:cBhvr>
                                        <p:cTn id="42" dur="600" spd="-100000" fill="hold"/>
                                        <p:tgtEl>
                                          <p:spTgt spid="20"/>
                                        </p:tgtEl>
                                        <p:attrNameLst>
                                          <p:attrName>ppt_x</p:attrName>
                                          <p:attrName>ppt_y</p:attrName>
                                        </p:attrNameLst>
                                      </p:cBhvr>
                                      <p:rCtr x="0" y="2176"/>
                                    </p:animMotion>
                                  </p:childTnLst>
                                </p:cTn>
                              </p:par>
                              <p:par>
                                <p:cTn id="43" presetID="10" presetClass="entr" presetSubtype="0" fill="hold" nodeType="withEffect">
                                  <p:stCondLst>
                                    <p:cond delay="5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par>
                                <p:cTn id="46" presetID="42" presetClass="path" presetSubtype="0" decel="100000" fill="hold" nodeType="withEffect">
                                  <p:stCondLst>
                                    <p:cond delay="500"/>
                                  </p:stCondLst>
                                  <p:childTnLst>
                                    <p:animMotion origin="layout" path="M 4.79167E-6 -0.05115 L 4.79167E-6 -4.81481E-6 " pathEditMode="relative" rAng="0" ptsTypes="AA">
                                      <p:cBhvr>
                                        <p:cTn id="47" dur="600" fill="hold"/>
                                        <p:tgtEl>
                                          <p:spTgt spid="15"/>
                                        </p:tgtEl>
                                        <p:attrNameLst>
                                          <p:attrName>ppt_x</p:attrName>
                                          <p:attrName>ppt_y</p:attrName>
                                        </p:attrNameLst>
                                      </p:cBhvr>
                                      <p:rCtr x="0" y="2546"/>
                                    </p:animMotion>
                                  </p:childTnLst>
                                </p:cTn>
                              </p:par>
                              <p:par>
                                <p:cTn id="48" presetID="10" presetClass="entr" presetSubtype="0" fill="hold" grpId="0" nodeType="withEffect">
                                  <p:stCondLst>
                                    <p:cond delay="50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par>
                                <p:cTn id="51" presetID="42" presetClass="path" presetSubtype="0" decel="100000" fill="hold" grpId="1" nodeType="withEffect">
                                  <p:stCondLst>
                                    <p:cond delay="500"/>
                                  </p:stCondLst>
                                  <p:childTnLst>
                                    <p:animMotion origin="layout" path="M 4.79167E-6 -0.05115 L 4.79167E-6 -4.44444E-6 " pathEditMode="relative" rAng="0" ptsTypes="AA">
                                      <p:cBhvr>
                                        <p:cTn id="52" dur="600" fill="hold"/>
                                        <p:tgtEl>
                                          <p:spTgt spid="27"/>
                                        </p:tgtEl>
                                        <p:attrNameLst>
                                          <p:attrName>ppt_x</p:attrName>
                                          <p:attrName>ppt_y</p:attrName>
                                        </p:attrNameLst>
                                      </p:cBhvr>
                                      <p:rCtr x="0" y="2546"/>
                                    </p:animMotion>
                                  </p:childTnLst>
                                </p:cTn>
                              </p:par>
                              <p:par>
                                <p:cTn id="53" presetID="10" presetClass="entr" presetSubtype="0" fill="hold" nodeType="withEffect">
                                  <p:stCondLst>
                                    <p:cond delay="50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63" presetClass="path" presetSubtype="0" decel="100000" fill="hold" nodeType="withEffect">
                                  <p:stCondLst>
                                    <p:cond delay="500"/>
                                  </p:stCondLst>
                                  <p:childTnLst>
                                    <p:animMotion origin="layout" path="M -0.03099 -1.48148E-6 L 3.95833E-6 -1.48148E-6 " pathEditMode="relative" rAng="0" ptsTypes="AA">
                                      <p:cBhvr>
                                        <p:cTn id="57" dur="600" fill="hold"/>
                                        <p:tgtEl>
                                          <p:spTgt spid="36"/>
                                        </p:tgtEl>
                                        <p:attrNameLst>
                                          <p:attrName>ppt_x</p:attrName>
                                          <p:attrName>ppt_y</p:attrName>
                                        </p:attrNameLst>
                                      </p:cBhvr>
                                      <p:rCtr x="1549" y="0"/>
                                    </p:animMotion>
                                  </p:childTnLst>
                                </p:cTn>
                              </p:par>
                              <p:par>
                                <p:cTn id="58" presetID="10" presetClass="entr" presetSubtype="0" fill="hold" grpId="0" nodeType="withEffect">
                                  <p:stCondLst>
                                    <p:cond delay="1000"/>
                                  </p:stCondLst>
                                  <p:childTnLst>
                                    <p:set>
                                      <p:cBhvr>
                                        <p:cTn id="59" dur="1" fill="hold">
                                          <p:stCondLst>
                                            <p:cond delay="0"/>
                                          </p:stCondLst>
                                        </p:cTn>
                                        <p:tgtEl>
                                          <p:spTgt spid="28"/>
                                        </p:tgtEl>
                                        <p:attrNameLst>
                                          <p:attrName>style.visibility</p:attrName>
                                        </p:attrNameLst>
                                      </p:cBhvr>
                                      <p:to>
                                        <p:strVal val="visible"/>
                                      </p:to>
                                    </p:set>
                                    <p:animEffect transition="in" filter="fade">
                                      <p:cBhvr>
                                        <p:cTn id="60" dur="500"/>
                                        <p:tgtEl>
                                          <p:spTgt spid="28"/>
                                        </p:tgtEl>
                                      </p:cBhvr>
                                    </p:animEffect>
                                  </p:childTnLst>
                                </p:cTn>
                              </p:par>
                              <p:par>
                                <p:cTn id="61" presetID="42" presetClass="path" presetSubtype="0" decel="100000" fill="hold" grpId="1" nodeType="withEffect">
                                  <p:stCondLst>
                                    <p:cond delay="1000"/>
                                  </p:stCondLst>
                                  <p:childTnLst>
                                    <p:animMotion origin="layout" path="M -4.16667E-6 3.7037E-7 L -4.16667E-6 0.04352 " pathEditMode="relative" rAng="0" ptsTypes="AA">
                                      <p:cBhvr>
                                        <p:cTn id="62" dur="600" spd="-100000" fill="hold"/>
                                        <p:tgtEl>
                                          <p:spTgt spid="28"/>
                                        </p:tgtEl>
                                        <p:attrNameLst>
                                          <p:attrName>ppt_x</p:attrName>
                                          <p:attrName>ppt_y</p:attrName>
                                        </p:attrNameLst>
                                      </p:cBhvr>
                                      <p:rCtr x="0" y="2176"/>
                                    </p:animMotion>
                                  </p:childTnLst>
                                </p:cTn>
                              </p:par>
                              <p:par>
                                <p:cTn id="63" presetID="10" presetClass="entr" presetSubtype="0" fill="hold" grpId="0" nodeType="withEffect">
                                  <p:stCondLst>
                                    <p:cond delay="1000"/>
                                  </p:stCondLst>
                                  <p:childTnLst>
                                    <p:set>
                                      <p:cBhvr>
                                        <p:cTn id="64" dur="1" fill="hold">
                                          <p:stCondLst>
                                            <p:cond delay="0"/>
                                          </p:stCondLst>
                                        </p:cTn>
                                        <p:tgtEl>
                                          <p:spTgt spid="29"/>
                                        </p:tgtEl>
                                        <p:attrNameLst>
                                          <p:attrName>style.visibility</p:attrName>
                                        </p:attrNameLst>
                                      </p:cBhvr>
                                      <p:to>
                                        <p:strVal val="visible"/>
                                      </p:to>
                                    </p:set>
                                    <p:animEffect transition="in" filter="fade">
                                      <p:cBhvr>
                                        <p:cTn id="65" dur="500"/>
                                        <p:tgtEl>
                                          <p:spTgt spid="29"/>
                                        </p:tgtEl>
                                      </p:cBhvr>
                                    </p:animEffect>
                                  </p:childTnLst>
                                </p:cTn>
                              </p:par>
                              <p:par>
                                <p:cTn id="66" presetID="42" presetClass="path" presetSubtype="0" decel="100000" fill="hold" grpId="1" nodeType="withEffect">
                                  <p:stCondLst>
                                    <p:cond delay="1000"/>
                                  </p:stCondLst>
                                  <p:childTnLst>
                                    <p:animMotion origin="layout" path="M 2.08333E-7 -2.22222E-6 L 2.08333E-7 0.04352 " pathEditMode="relative" rAng="0" ptsTypes="AA">
                                      <p:cBhvr>
                                        <p:cTn id="67" dur="600" spd="-100000" fill="hold"/>
                                        <p:tgtEl>
                                          <p:spTgt spid="29"/>
                                        </p:tgtEl>
                                        <p:attrNameLst>
                                          <p:attrName>ppt_x</p:attrName>
                                          <p:attrName>ppt_y</p:attrName>
                                        </p:attrNameLst>
                                      </p:cBhvr>
                                      <p:rCtr x="0" y="2176"/>
                                    </p:animMotion>
                                  </p:childTnLst>
                                </p:cTn>
                              </p:par>
                              <p:par>
                                <p:cTn id="68" presetID="10" presetClass="entr" presetSubtype="0" fill="hold" nodeType="withEffect">
                                  <p:stCondLst>
                                    <p:cond delay="1000"/>
                                  </p:stCondLst>
                                  <p:childTnLst>
                                    <p:set>
                                      <p:cBhvr>
                                        <p:cTn id="69" dur="1" fill="hold">
                                          <p:stCondLst>
                                            <p:cond delay="0"/>
                                          </p:stCondLst>
                                        </p:cTn>
                                        <p:tgtEl>
                                          <p:spTgt spid="48"/>
                                        </p:tgtEl>
                                        <p:attrNameLst>
                                          <p:attrName>style.visibility</p:attrName>
                                        </p:attrNameLst>
                                      </p:cBhvr>
                                      <p:to>
                                        <p:strVal val="visible"/>
                                      </p:to>
                                    </p:set>
                                    <p:animEffect transition="in" filter="fade">
                                      <p:cBhvr>
                                        <p:cTn id="70" dur="500"/>
                                        <p:tgtEl>
                                          <p:spTgt spid="48"/>
                                        </p:tgtEl>
                                      </p:cBhvr>
                                    </p:animEffect>
                                  </p:childTnLst>
                                </p:cTn>
                              </p:par>
                              <p:par>
                                <p:cTn id="71" presetID="63" presetClass="path" presetSubtype="0" decel="100000" fill="hold" nodeType="withEffect">
                                  <p:stCondLst>
                                    <p:cond delay="1000"/>
                                  </p:stCondLst>
                                  <p:childTnLst>
                                    <p:animMotion origin="layout" path="M -0.03099 -1.48148E-6 L 1.25E-6 -1.48148E-6 " pathEditMode="relative" rAng="0" ptsTypes="AA">
                                      <p:cBhvr>
                                        <p:cTn id="72" dur="600" fill="hold"/>
                                        <p:tgtEl>
                                          <p:spTgt spid="48"/>
                                        </p:tgtEl>
                                        <p:attrNameLst>
                                          <p:attrName>ppt_x</p:attrName>
                                          <p:attrName>ppt_y</p:attrName>
                                        </p:attrNameLst>
                                      </p:cBhvr>
                                      <p:rCtr x="1549" y="0"/>
                                    </p:animMotion>
                                  </p:childTnLst>
                                </p:cTn>
                              </p:par>
                              <p:par>
                                <p:cTn id="73" presetID="10" presetClass="entr" presetSubtype="0" fill="hold" nodeType="withEffect">
                                  <p:stCondLst>
                                    <p:cond delay="1000"/>
                                  </p:stCondLst>
                                  <p:childTnLst>
                                    <p:set>
                                      <p:cBhvr>
                                        <p:cTn id="74" dur="1" fill="hold">
                                          <p:stCondLst>
                                            <p:cond delay="0"/>
                                          </p:stCondLst>
                                        </p:cTn>
                                        <p:tgtEl>
                                          <p:spTgt spid="16"/>
                                        </p:tgtEl>
                                        <p:attrNameLst>
                                          <p:attrName>style.visibility</p:attrName>
                                        </p:attrNameLst>
                                      </p:cBhvr>
                                      <p:to>
                                        <p:strVal val="visible"/>
                                      </p:to>
                                    </p:set>
                                    <p:animEffect transition="in" filter="fade">
                                      <p:cBhvr>
                                        <p:cTn id="75" dur="500"/>
                                        <p:tgtEl>
                                          <p:spTgt spid="16"/>
                                        </p:tgtEl>
                                      </p:cBhvr>
                                    </p:animEffect>
                                  </p:childTnLst>
                                </p:cTn>
                              </p:par>
                              <p:par>
                                <p:cTn id="76" presetID="42" presetClass="path" presetSubtype="0" decel="100000" fill="hold" nodeType="withEffect">
                                  <p:stCondLst>
                                    <p:cond delay="1000"/>
                                  </p:stCondLst>
                                  <p:childTnLst>
                                    <p:animMotion origin="layout" path="M 6.25E-7 -0.05115 L 6.25E-7 -4.81481E-6 " pathEditMode="relative" rAng="0" ptsTypes="AA">
                                      <p:cBhvr>
                                        <p:cTn id="77" dur="600" fill="hold"/>
                                        <p:tgtEl>
                                          <p:spTgt spid="16"/>
                                        </p:tgtEl>
                                        <p:attrNameLst>
                                          <p:attrName>ppt_x</p:attrName>
                                          <p:attrName>ppt_y</p:attrName>
                                        </p:attrNameLst>
                                      </p:cBhvr>
                                      <p:rCtr x="0" y="2546"/>
                                    </p:animMotion>
                                  </p:childTnLst>
                                </p:cTn>
                              </p:par>
                              <p:par>
                                <p:cTn id="78" presetID="10" presetClass="entr" presetSubtype="0" fill="hold" grpId="0" nodeType="withEffect">
                                  <p:stCondLst>
                                    <p:cond delay="100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500"/>
                                        <p:tgtEl>
                                          <p:spTgt spid="30"/>
                                        </p:tgtEl>
                                      </p:cBhvr>
                                    </p:animEffect>
                                  </p:childTnLst>
                                </p:cTn>
                              </p:par>
                              <p:par>
                                <p:cTn id="81" presetID="42" presetClass="path" presetSubtype="0" decel="100000" fill="hold" grpId="1" nodeType="withEffect">
                                  <p:stCondLst>
                                    <p:cond delay="1000"/>
                                  </p:stCondLst>
                                  <p:childTnLst>
                                    <p:animMotion origin="layout" path="M 2.08333E-6 -0.05115 L 2.08333E-6 -4.44444E-6 " pathEditMode="relative" rAng="0" ptsTypes="AA">
                                      <p:cBhvr>
                                        <p:cTn id="82" dur="600" fill="hold"/>
                                        <p:tgtEl>
                                          <p:spTgt spid="30"/>
                                        </p:tgtEl>
                                        <p:attrNameLst>
                                          <p:attrName>ppt_x</p:attrName>
                                          <p:attrName>ppt_y</p:attrName>
                                        </p:attrNameLst>
                                      </p:cBhvr>
                                      <p:rCtr x="0" y="2546"/>
                                    </p:animMotion>
                                  </p:childTnLst>
                                </p:cTn>
                              </p:par>
                              <p:par>
                                <p:cTn id="83" presetID="10" presetClass="entr" presetSubtype="0" fill="hold" grpId="0" nodeType="withEffect">
                                  <p:stCondLst>
                                    <p:cond delay="1500"/>
                                  </p:stCondLst>
                                  <p:childTnLst>
                                    <p:set>
                                      <p:cBhvr>
                                        <p:cTn id="84" dur="1" fill="hold">
                                          <p:stCondLst>
                                            <p:cond delay="0"/>
                                          </p:stCondLst>
                                        </p:cTn>
                                        <p:tgtEl>
                                          <p:spTgt spid="31"/>
                                        </p:tgtEl>
                                        <p:attrNameLst>
                                          <p:attrName>style.visibility</p:attrName>
                                        </p:attrNameLst>
                                      </p:cBhvr>
                                      <p:to>
                                        <p:strVal val="visible"/>
                                      </p:to>
                                    </p:set>
                                    <p:animEffect transition="in" filter="fade">
                                      <p:cBhvr>
                                        <p:cTn id="85" dur="500"/>
                                        <p:tgtEl>
                                          <p:spTgt spid="31"/>
                                        </p:tgtEl>
                                      </p:cBhvr>
                                    </p:animEffect>
                                  </p:childTnLst>
                                </p:cTn>
                              </p:par>
                              <p:par>
                                <p:cTn id="86" presetID="42" presetClass="path" presetSubtype="0" decel="100000" fill="hold" grpId="1" nodeType="withEffect">
                                  <p:stCondLst>
                                    <p:cond delay="1500"/>
                                  </p:stCondLst>
                                  <p:childTnLst>
                                    <p:animMotion origin="layout" path="M -4.16667E-6 3.7037E-7 L -4.16667E-6 0.04352 " pathEditMode="relative" rAng="0" ptsTypes="AA">
                                      <p:cBhvr>
                                        <p:cTn id="87" dur="600" spd="-100000" fill="hold"/>
                                        <p:tgtEl>
                                          <p:spTgt spid="31"/>
                                        </p:tgtEl>
                                        <p:attrNameLst>
                                          <p:attrName>ppt_x</p:attrName>
                                          <p:attrName>ppt_y</p:attrName>
                                        </p:attrNameLst>
                                      </p:cBhvr>
                                      <p:rCtr x="0" y="2176"/>
                                    </p:animMotion>
                                  </p:childTnLst>
                                </p:cTn>
                              </p:par>
                              <p:par>
                                <p:cTn id="88" presetID="10" presetClass="entr" presetSubtype="0" fill="hold" grpId="0" nodeType="withEffect">
                                  <p:stCondLst>
                                    <p:cond delay="1500"/>
                                  </p:stCondLst>
                                  <p:childTnLst>
                                    <p:set>
                                      <p:cBhvr>
                                        <p:cTn id="89" dur="1" fill="hold">
                                          <p:stCondLst>
                                            <p:cond delay="0"/>
                                          </p:stCondLst>
                                        </p:cTn>
                                        <p:tgtEl>
                                          <p:spTgt spid="32"/>
                                        </p:tgtEl>
                                        <p:attrNameLst>
                                          <p:attrName>style.visibility</p:attrName>
                                        </p:attrNameLst>
                                      </p:cBhvr>
                                      <p:to>
                                        <p:strVal val="visible"/>
                                      </p:to>
                                    </p:set>
                                    <p:animEffect transition="in" filter="fade">
                                      <p:cBhvr>
                                        <p:cTn id="90" dur="500"/>
                                        <p:tgtEl>
                                          <p:spTgt spid="32"/>
                                        </p:tgtEl>
                                      </p:cBhvr>
                                    </p:animEffect>
                                  </p:childTnLst>
                                </p:cTn>
                              </p:par>
                              <p:par>
                                <p:cTn id="91" presetID="42" presetClass="path" presetSubtype="0" decel="100000" fill="hold" grpId="1" nodeType="withEffect">
                                  <p:stCondLst>
                                    <p:cond delay="1500"/>
                                  </p:stCondLst>
                                  <p:childTnLst>
                                    <p:animMotion origin="layout" path="M -4.16667E-6 3.7037E-7 L -4.16667E-6 0.04352 " pathEditMode="relative" rAng="0" ptsTypes="AA">
                                      <p:cBhvr>
                                        <p:cTn id="92" dur="600" spd="-100000" fill="hold"/>
                                        <p:tgtEl>
                                          <p:spTgt spid="32"/>
                                        </p:tgtEl>
                                        <p:attrNameLst>
                                          <p:attrName>ppt_x</p:attrName>
                                          <p:attrName>ppt_y</p:attrName>
                                        </p:attrNameLst>
                                      </p:cBhvr>
                                      <p:rCtr x="0" y="2176"/>
                                    </p:animMotion>
                                  </p:childTnLst>
                                </p:cTn>
                              </p:par>
                              <p:par>
                                <p:cTn id="93" presetID="10" presetClass="entr" presetSubtype="0" fill="hold" nodeType="withEffect">
                                  <p:stCondLst>
                                    <p:cond delay="1500"/>
                                  </p:stCondLst>
                                  <p:childTnLst>
                                    <p:set>
                                      <p:cBhvr>
                                        <p:cTn id="94" dur="1" fill="hold">
                                          <p:stCondLst>
                                            <p:cond delay="0"/>
                                          </p:stCondLst>
                                        </p:cTn>
                                        <p:tgtEl>
                                          <p:spTgt spid="17"/>
                                        </p:tgtEl>
                                        <p:attrNameLst>
                                          <p:attrName>style.visibility</p:attrName>
                                        </p:attrNameLst>
                                      </p:cBhvr>
                                      <p:to>
                                        <p:strVal val="visible"/>
                                      </p:to>
                                    </p:set>
                                    <p:animEffect transition="in" filter="fade">
                                      <p:cBhvr>
                                        <p:cTn id="95" dur="500"/>
                                        <p:tgtEl>
                                          <p:spTgt spid="17"/>
                                        </p:tgtEl>
                                      </p:cBhvr>
                                    </p:animEffect>
                                  </p:childTnLst>
                                </p:cTn>
                              </p:par>
                              <p:par>
                                <p:cTn id="96" presetID="42" presetClass="path" presetSubtype="0" decel="100000" fill="hold" nodeType="withEffect">
                                  <p:stCondLst>
                                    <p:cond delay="1500"/>
                                  </p:stCondLst>
                                  <p:childTnLst>
                                    <p:animMotion origin="layout" path="M 8.33333E-7 -0.05115 L 8.33333E-7 -4.81481E-6 " pathEditMode="relative" rAng="0" ptsTypes="AA">
                                      <p:cBhvr>
                                        <p:cTn id="97" dur="600" fill="hold"/>
                                        <p:tgtEl>
                                          <p:spTgt spid="17"/>
                                        </p:tgtEl>
                                        <p:attrNameLst>
                                          <p:attrName>ppt_x</p:attrName>
                                          <p:attrName>ppt_y</p:attrName>
                                        </p:attrNameLst>
                                      </p:cBhvr>
                                      <p:rCtr x="0" y="2546"/>
                                    </p:animMotion>
                                  </p:childTnLst>
                                </p:cTn>
                              </p:par>
                              <p:par>
                                <p:cTn id="98" presetID="10" presetClass="entr" presetSubtype="0" fill="hold" grpId="0" nodeType="withEffect">
                                  <p:stCondLst>
                                    <p:cond delay="1500"/>
                                  </p:stCondLst>
                                  <p:childTnLst>
                                    <p:set>
                                      <p:cBhvr>
                                        <p:cTn id="99" dur="1" fill="hold">
                                          <p:stCondLst>
                                            <p:cond delay="0"/>
                                          </p:stCondLst>
                                        </p:cTn>
                                        <p:tgtEl>
                                          <p:spTgt spid="33"/>
                                        </p:tgtEl>
                                        <p:attrNameLst>
                                          <p:attrName>style.visibility</p:attrName>
                                        </p:attrNameLst>
                                      </p:cBhvr>
                                      <p:to>
                                        <p:strVal val="visible"/>
                                      </p:to>
                                    </p:set>
                                    <p:animEffect transition="in" filter="fade">
                                      <p:cBhvr>
                                        <p:cTn id="100" dur="500"/>
                                        <p:tgtEl>
                                          <p:spTgt spid="33"/>
                                        </p:tgtEl>
                                      </p:cBhvr>
                                    </p:animEffect>
                                  </p:childTnLst>
                                </p:cTn>
                              </p:par>
                              <p:par>
                                <p:cTn id="101" presetID="42" presetClass="path" presetSubtype="0" decel="100000" fill="hold" grpId="1" nodeType="withEffect">
                                  <p:stCondLst>
                                    <p:cond delay="1500"/>
                                  </p:stCondLst>
                                  <p:childTnLst>
                                    <p:animMotion origin="layout" path="M -4.16667E-7 -0.05115 L -4.16667E-7 -4.44444E-6 " pathEditMode="relative" rAng="0" ptsTypes="AA">
                                      <p:cBhvr>
                                        <p:cTn id="102" dur="600" fill="hold"/>
                                        <p:tgtEl>
                                          <p:spTgt spid="33"/>
                                        </p:tgtEl>
                                        <p:attrNameLst>
                                          <p:attrName>ppt_x</p:attrName>
                                          <p:attrName>ppt_y</p:attrName>
                                        </p:attrNameLst>
                                      </p:cBhvr>
                                      <p:rCtr x="0" y="2546"/>
                                    </p:animMotion>
                                  </p:childTnLst>
                                </p:cTn>
                              </p:par>
                              <p:par>
                                <p:cTn id="103" presetID="10" presetClass="entr" presetSubtype="0" fill="hold" grpId="0" nodeType="withEffect">
                                  <p:stCondLst>
                                    <p:cond delay="0"/>
                                  </p:stCondLst>
                                  <p:childTnLst>
                                    <p:set>
                                      <p:cBhvr>
                                        <p:cTn id="104" dur="1" fill="hold">
                                          <p:stCondLst>
                                            <p:cond delay="0"/>
                                          </p:stCondLst>
                                        </p:cTn>
                                        <p:tgtEl>
                                          <p:spTgt spid="4"/>
                                        </p:tgtEl>
                                        <p:attrNameLst>
                                          <p:attrName>style.visibility</p:attrName>
                                        </p:attrNameLst>
                                      </p:cBhvr>
                                      <p:to>
                                        <p:strVal val="visible"/>
                                      </p:to>
                                    </p:set>
                                    <p:animEffect transition="in" filter="fade">
                                      <p:cBhvr>
                                        <p:cTn id="105" dur="500"/>
                                        <p:tgtEl>
                                          <p:spTgt spid="4"/>
                                        </p:tgtEl>
                                      </p:cBhvr>
                                    </p:animEffect>
                                  </p:childTnLst>
                                </p:cTn>
                              </p:par>
                              <p:par>
                                <p:cTn id="106" presetID="35" presetClass="path" presetSubtype="0" decel="100000" fill="hold" grpId="1" nodeType="withEffect">
                                  <p:stCondLst>
                                    <p:cond delay="0"/>
                                  </p:stCondLst>
                                  <p:childTnLst>
                                    <p:animMotion origin="layout" path="M 0.0224 0.03148 L 6.25E-7 -1.48148E-6 " pathEditMode="relative" rAng="0" ptsTypes="AA">
                                      <p:cBhvr>
                                        <p:cTn id="107" dur="750" fill="hold"/>
                                        <p:tgtEl>
                                          <p:spTgt spid="4"/>
                                        </p:tgtEl>
                                        <p:attrNameLst>
                                          <p:attrName>ppt_x</p:attrName>
                                          <p:attrName>ppt_y</p:attrName>
                                        </p:attrNameLst>
                                      </p:cBhvr>
                                      <p:rCtr x="-1120" y="-1574"/>
                                    </p:animMotion>
                                  </p:childTnLst>
                                </p:cTn>
                              </p:par>
                              <p:par>
                                <p:cTn id="108" presetID="10" presetClass="entr" presetSubtype="0" fill="hold" grpId="0" nodeType="withEffect">
                                  <p:stCondLst>
                                    <p:cond delay="100"/>
                                  </p:stCondLst>
                                  <p:childTnLst>
                                    <p:set>
                                      <p:cBhvr>
                                        <p:cTn id="109" dur="1" fill="hold">
                                          <p:stCondLst>
                                            <p:cond delay="0"/>
                                          </p:stCondLst>
                                        </p:cTn>
                                        <p:tgtEl>
                                          <p:spTgt spid="5"/>
                                        </p:tgtEl>
                                        <p:attrNameLst>
                                          <p:attrName>style.visibility</p:attrName>
                                        </p:attrNameLst>
                                      </p:cBhvr>
                                      <p:to>
                                        <p:strVal val="visible"/>
                                      </p:to>
                                    </p:set>
                                    <p:animEffect transition="in" filter="fade">
                                      <p:cBhvr>
                                        <p:cTn id="110" dur="500"/>
                                        <p:tgtEl>
                                          <p:spTgt spid="5"/>
                                        </p:tgtEl>
                                      </p:cBhvr>
                                    </p:animEffect>
                                  </p:childTnLst>
                                </p:cTn>
                              </p:par>
                              <p:par>
                                <p:cTn id="111" presetID="63" presetClass="path" presetSubtype="0" decel="100000" fill="hold" grpId="1" nodeType="withEffect">
                                  <p:stCondLst>
                                    <p:cond delay="100"/>
                                  </p:stCondLst>
                                  <p:childTnLst>
                                    <p:animMotion origin="layout" path="M -0.0224 -0.05046 L -6.25E-7 7.40741E-7 " pathEditMode="relative" rAng="0" ptsTypes="AA">
                                      <p:cBhvr>
                                        <p:cTn id="112" dur="750" fill="hold"/>
                                        <p:tgtEl>
                                          <p:spTgt spid="5"/>
                                        </p:tgtEl>
                                        <p:attrNameLst>
                                          <p:attrName>ppt_x</p:attrName>
                                          <p:attrName>ppt_y</p:attrName>
                                        </p:attrNameLst>
                                      </p:cBhvr>
                                      <p:rCtr x="1120" y="25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12" grpId="0"/>
      <p:bldP spid="12" grpId="1"/>
      <p:bldP spid="13" grpId="0"/>
      <p:bldP spid="13" grpId="1"/>
      <p:bldP spid="7" grpId="0" animBg="1"/>
      <p:bldP spid="22" grpId="0" animBg="1"/>
      <p:bldP spid="22" grpId="1" animBg="1"/>
      <p:bldP spid="19" grpId="0"/>
      <p:bldP spid="19" grpId="1"/>
      <p:bldP spid="20" grpId="0"/>
      <p:bldP spid="20" grpId="1"/>
      <p:bldP spid="27" grpId="0" animBg="1"/>
      <p:bldP spid="27" grpId="1" animBg="1"/>
      <p:bldP spid="28" grpId="0"/>
      <p:bldP spid="28" grpId="1"/>
      <p:bldP spid="29" grpId="0"/>
      <p:bldP spid="29" grpId="1"/>
      <p:bldP spid="30" grpId="0" animBg="1"/>
      <p:bldP spid="30" grpId="1" animBg="1"/>
      <p:bldP spid="31" grpId="0"/>
      <p:bldP spid="31" grpId="1"/>
      <p:bldP spid="32" grpId="0"/>
      <p:bldP spid="32" grpId="1"/>
      <p:bldP spid="33" grpId="0" animBg="1"/>
      <p:bldP spid="33"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24EC2-D06B-404A-95B3-C54F1D0B2BEC}"/>
              </a:ext>
            </a:extLst>
          </p:cNvPr>
          <p:cNvSpPr>
            <a:spLocks noGrp="1"/>
          </p:cNvSpPr>
          <p:nvPr>
            <p:ph type="title"/>
          </p:nvPr>
        </p:nvSpPr>
        <p:spPr/>
        <p:txBody>
          <a:bodyPr/>
          <a:lstStyle/>
          <a:p>
            <a:r>
              <a:rPr lang="en-US" dirty="0">
                <a:latin typeface="Segoe Sans Text Semibold" pitchFamily="2" charset="0"/>
                <a:cs typeface="Segoe Sans Text Semibold" pitchFamily="2" charset="0"/>
              </a:rPr>
              <a:t>What Is A Subscription?</a:t>
            </a:r>
          </a:p>
        </p:txBody>
      </p:sp>
      <p:sp>
        <p:nvSpPr>
          <p:cNvPr id="3" name="TextBox 2">
            <a:extLst>
              <a:ext uri="{FF2B5EF4-FFF2-40B4-BE49-F238E27FC236}">
                <a16:creationId xmlns:a16="http://schemas.microsoft.com/office/drawing/2014/main" id="{7F0FD0B9-C6E0-4034-BBD0-5D48022CBFE9}"/>
              </a:ext>
            </a:extLst>
          </p:cNvPr>
          <p:cNvSpPr txBox="1"/>
          <p:nvPr/>
        </p:nvSpPr>
        <p:spPr>
          <a:xfrm>
            <a:off x="838200" y="1221761"/>
            <a:ext cx="9815644" cy="4149598"/>
          </a:xfrm>
          <a:prstGeom prst="rect">
            <a:avLst/>
          </a:prstGeom>
          <a:noFill/>
        </p:spPr>
        <p:txBody>
          <a:bodyPr wrap="square" lIns="0" tIns="0" rIns="0" bIns="0" rtlCol="0">
            <a:spAutoFit/>
          </a:bodyPr>
          <a:lstStyle/>
          <a:p>
            <a:pPr marL="285695" indent="-285695" defTabSz="914225">
              <a:buFont typeface="Arial" panose="020B0604020202020204" pitchFamily="34" charset="0"/>
              <a:buChar char="•"/>
              <a:defRPr/>
            </a:pPr>
            <a:endParaRPr lang="en-US" sz="2800" dirty="0">
              <a:latin typeface="Segoe UI"/>
            </a:endParaRPr>
          </a:p>
          <a:p>
            <a:pPr marL="285695"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A Subscription Is Where You Actually Deploy Azure Resources</a:t>
            </a:r>
          </a:p>
          <a:p>
            <a:pPr marL="285695"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Can Be Considered A ‘Billing Container’</a:t>
            </a:r>
          </a:p>
          <a:p>
            <a:pPr marL="285695"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Can Be Considered A ‘Security Container’</a:t>
            </a:r>
          </a:p>
          <a:p>
            <a:pPr marL="285695"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Does Have Scale Limits, Though Very High</a:t>
            </a:r>
          </a:p>
          <a:p>
            <a:pPr marL="742808" lvl="1"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10,000 VMs Per Region</a:t>
            </a:r>
          </a:p>
          <a:p>
            <a:pPr marL="742808" lvl="1"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200 Storage Accounts Per Region</a:t>
            </a:r>
          </a:p>
          <a:p>
            <a:pPr marL="742808" lvl="1" indent="-285695" defTabSz="914225">
              <a:buFont typeface="Arial" panose="020B0604020202020204" pitchFamily="34" charset="0"/>
              <a:buChar char="•"/>
              <a:defRPr/>
            </a:pPr>
            <a:r>
              <a:rPr lang="en-US" sz="2800" dirty="0">
                <a:highlight>
                  <a:srgbClr val="FFFF00"/>
                </a:highlight>
                <a:latin typeface="Segoe UI"/>
                <a:hlinkClick r:id="rId3">
                  <a:extLst>
                    <a:ext uri="{A12FA001-AC4F-418D-AE19-62706E023703}">
                      <ahyp:hlinkClr xmlns:ahyp="http://schemas.microsoft.com/office/drawing/2018/hyperlinkcolor" val="tx"/>
                    </a:ext>
                  </a:extLst>
                </a:hlinkClick>
              </a:rPr>
              <a:t> https://aka.ms/edu/limits</a:t>
            </a:r>
            <a:r>
              <a:rPr lang="en-US" sz="2800" dirty="0">
                <a:highlight>
                  <a:srgbClr val="FFFF00"/>
                </a:highlight>
                <a:latin typeface="Segoe UI"/>
              </a:rPr>
              <a:t> </a:t>
            </a:r>
          </a:p>
          <a:p>
            <a:pPr marL="742808" lvl="1" indent="-285695" defTabSz="914225">
              <a:buFont typeface="Arial" panose="020B0604020202020204" pitchFamily="34" charset="0"/>
              <a:buChar char="•"/>
              <a:defRPr/>
            </a:pPr>
            <a:endParaRPr lang="en-US" sz="2800" dirty="0">
              <a:highlight>
                <a:srgbClr val="FFFF00"/>
              </a:highlight>
              <a:latin typeface="Segoe UI"/>
            </a:endParaRPr>
          </a:p>
          <a:p>
            <a:pPr marL="285695" indent="-285695" defTabSz="914225">
              <a:buFont typeface="Arial" panose="020B0604020202020204" pitchFamily="34" charset="0"/>
              <a:buChar char="•"/>
              <a:defRPr/>
            </a:pPr>
            <a:endParaRPr lang="en-US" sz="1765" dirty="0">
              <a:latin typeface="Segoe UI"/>
            </a:endParaRPr>
          </a:p>
        </p:txBody>
      </p:sp>
    </p:spTree>
    <p:extLst>
      <p:ext uri="{BB962C8B-B14F-4D97-AF65-F5344CB8AC3E}">
        <p14:creationId xmlns:p14="http://schemas.microsoft.com/office/powerpoint/2010/main" val="40577433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24EC2-D06B-404A-95B3-C54F1D0B2BEC}"/>
              </a:ext>
            </a:extLst>
          </p:cNvPr>
          <p:cNvSpPr>
            <a:spLocks noGrp="1"/>
          </p:cNvSpPr>
          <p:nvPr>
            <p:ph type="title"/>
          </p:nvPr>
        </p:nvSpPr>
        <p:spPr/>
        <p:txBody>
          <a:bodyPr/>
          <a:lstStyle/>
          <a:p>
            <a:r>
              <a:rPr lang="en-US" dirty="0">
                <a:latin typeface="Segoe Sans Text Semibold" pitchFamily="2" charset="0"/>
                <a:cs typeface="Segoe Sans Text Semibold" pitchFamily="2" charset="0"/>
              </a:rPr>
              <a:t>Important Decisions</a:t>
            </a:r>
          </a:p>
        </p:txBody>
      </p:sp>
      <p:sp>
        <p:nvSpPr>
          <p:cNvPr id="3" name="TextBox 2">
            <a:extLst>
              <a:ext uri="{FF2B5EF4-FFF2-40B4-BE49-F238E27FC236}">
                <a16:creationId xmlns:a16="http://schemas.microsoft.com/office/drawing/2014/main" id="{7F0FD0B9-C6E0-4034-BBD0-5D48022CBFE9}"/>
              </a:ext>
            </a:extLst>
          </p:cNvPr>
          <p:cNvSpPr txBox="1"/>
          <p:nvPr/>
        </p:nvSpPr>
        <p:spPr>
          <a:xfrm>
            <a:off x="717344" y="1569645"/>
            <a:ext cx="9815644" cy="4149598"/>
          </a:xfrm>
          <a:prstGeom prst="rect">
            <a:avLst/>
          </a:prstGeom>
          <a:noFill/>
        </p:spPr>
        <p:txBody>
          <a:bodyPr wrap="square" lIns="0" tIns="0" rIns="0" bIns="0" rtlCol="0">
            <a:spAutoFit/>
          </a:bodyPr>
          <a:lstStyle/>
          <a:p>
            <a:pPr marL="285695" indent="-285695" defTabSz="914225">
              <a:buFont typeface="Arial" panose="020B0604020202020204" pitchFamily="34" charset="0"/>
              <a:buChar char="•"/>
              <a:defRPr/>
            </a:pPr>
            <a:endParaRPr lang="en-US" sz="2800" dirty="0">
              <a:latin typeface="Segoe UI"/>
            </a:endParaRPr>
          </a:p>
          <a:p>
            <a:pPr marL="285695"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Identify Roles Who Will Be:</a:t>
            </a:r>
          </a:p>
          <a:p>
            <a:pPr marL="742808" lvl="1"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Subscription Owners</a:t>
            </a:r>
          </a:p>
          <a:p>
            <a:pPr marL="742808" lvl="1"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Other Access Models Such As Read Only</a:t>
            </a:r>
          </a:p>
          <a:p>
            <a:pPr marL="742808" lvl="1"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RBAC Options Further Defined When We Get To Azure AD &amp; Resource Groups Later</a:t>
            </a:r>
          </a:p>
          <a:p>
            <a:pPr marL="742808" lvl="1" indent="-285695"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Doesn’t need to be perfect out of the gates but does need to be pointed in the right direction.</a:t>
            </a:r>
            <a:endParaRPr lang="en-US" sz="2800" dirty="0">
              <a:latin typeface="Segoe UI"/>
            </a:endParaRPr>
          </a:p>
          <a:p>
            <a:pPr marL="742808" lvl="1" indent="-285695" defTabSz="914225">
              <a:buFont typeface="Arial" panose="020B0604020202020204" pitchFamily="34" charset="0"/>
              <a:buChar char="•"/>
              <a:defRPr/>
            </a:pPr>
            <a:endParaRPr lang="en-US" sz="2800" dirty="0">
              <a:highlight>
                <a:srgbClr val="FFFF00"/>
              </a:highlight>
              <a:latin typeface="Segoe UI"/>
            </a:endParaRPr>
          </a:p>
          <a:p>
            <a:pPr marL="285695" indent="-285695" defTabSz="914225">
              <a:buFont typeface="Arial" panose="020B0604020202020204" pitchFamily="34" charset="0"/>
              <a:buChar char="•"/>
              <a:defRPr/>
            </a:pPr>
            <a:endParaRPr lang="en-US" sz="1765" dirty="0">
              <a:latin typeface="Segoe UI"/>
            </a:endParaRPr>
          </a:p>
        </p:txBody>
      </p:sp>
    </p:spTree>
    <p:extLst>
      <p:ext uri="{BB962C8B-B14F-4D97-AF65-F5344CB8AC3E}">
        <p14:creationId xmlns:p14="http://schemas.microsoft.com/office/powerpoint/2010/main" val="36966226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24EC2-D06B-404A-95B3-C54F1D0B2BEC}"/>
              </a:ext>
            </a:extLst>
          </p:cNvPr>
          <p:cNvSpPr>
            <a:spLocks noGrp="1"/>
          </p:cNvSpPr>
          <p:nvPr>
            <p:ph type="title"/>
          </p:nvPr>
        </p:nvSpPr>
        <p:spPr/>
        <p:txBody>
          <a:bodyPr/>
          <a:lstStyle/>
          <a:p>
            <a:r>
              <a:rPr lang="en-US" dirty="0">
                <a:latin typeface="Segoe Sans Text Semibold" pitchFamily="2" charset="0"/>
                <a:cs typeface="Segoe Sans Text Semibold" pitchFamily="2" charset="0"/>
              </a:rPr>
              <a:t>Name and Tagging Best Practice</a:t>
            </a:r>
          </a:p>
        </p:txBody>
      </p:sp>
      <p:sp>
        <p:nvSpPr>
          <p:cNvPr id="3" name="TextBox 2">
            <a:extLst>
              <a:ext uri="{FF2B5EF4-FFF2-40B4-BE49-F238E27FC236}">
                <a16:creationId xmlns:a16="http://schemas.microsoft.com/office/drawing/2014/main" id="{7F0FD0B9-C6E0-4034-BBD0-5D48022CBFE9}"/>
              </a:ext>
            </a:extLst>
          </p:cNvPr>
          <p:cNvSpPr txBox="1"/>
          <p:nvPr/>
        </p:nvSpPr>
        <p:spPr>
          <a:xfrm>
            <a:off x="501445" y="1128091"/>
            <a:ext cx="11312373" cy="2154436"/>
          </a:xfrm>
          <a:prstGeom prst="rect">
            <a:avLst/>
          </a:prstGeom>
          <a:noFill/>
        </p:spPr>
        <p:txBody>
          <a:bodyPr wrap="square" lIns="0" tIns="0" rIns="0" bIns="0" rtlCol="0" anchor="t">
            <a:spAutoFit/>
          </a:bodyPr>
          <a:lstStyle/>
          <a:p>
            <a:pPr marL="285695" indent="-285695" defTabSz="914225">
              <a:buFont typeface="Arial" panose="020B0604020202020204" pitchFamily="34" charset="0"/>
              <a:buChar char="•"/>
              <a:defRPr/>
            </a:pPr>
            <a:endParaRPr lang="en-US" sz="2800" dirty="0">
              <a:latin typeface="Segoe UI"/>
            </a:endParaRPr>
          </a:p>
          <a:p>
            <a:pPr marL="457112" indent="-457112"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Using the </a:t>
            </a:r>
            <a:r>
              <a:rPr lang="en-US" sz="2800" dirty="0">
                <a:latin typeface="Segoe UI Light"/>
                <a:cs typeface="Segoe UI Light"/>
              </a:rPr>
              <a:t>best practices from Microsoft's website https://docs.microsoft.com/en-us/azure/architecture/best-practices/naming-conventions</a:t>
            </a:r>
            <a:endParaRPr lang="en-US" sz="2800" dirty="0">
              <a:latin typeface="Segoe UI"/>
              <a:cs typeface="Segoe UI"/>
            </a:endParaRPr>
          </a:p>
          <a:p>
            <a:pPr marL="457112" indent="-457112" defTabSz="914225">
              <a:buFont typeface="Arial" panose="020B0604020202020204" pitchFamily="34" charset="0"/>
              <a:buChar char="•"/>
              <a:defRPr/>
            </a:pPr>
            <a:endParaRPr lang="en-US" sz="2800" dirty="0">
              <a:latin typeface="Segoe UI Light"/>
              <a:cs typeface="Segoe UI Light"/>
            </a:endParaRPr>
          </a:p>
        </p:txBody>
      </p:sp>
      <p:pic>
        <p:nvPicPr>
          <p:cNvPr id="4" name="Picture 3">
            <a:extLst>
              <a:ext uri="{FF2B5EF4-FFF2-40B4-BE49-F238E27FC236}">
                <a16:creationId xmlns:a16="http://schemas.microsoft.com/office/drawing/2014/main" id="{75006971-4951-40E2-8FEC-C463AD589B62}"/>
              </a:ext>
            </a:extLst>
          </p:cNvPr>
          <p:cNvPicPr>
            <a:picLocks noChangeAspect="1"/>
          </p:cNvPicPr>
          <p:nvPr/>
        </p:nvPicPr>
        <p:blipFill>
          <a:blip r:embed="rId3"/>
          <a:stretch>
            <a:fillRect/>
          </a:stretch>
        </p:blipFill>
        <p:spPr>
          <a:xfrm>
            <a:off x="1445738" y="3130152"/>
            <a:ext cx="7700551" cy="3234600"/>
          </a:xfrm>
          <a:prstGeom prst="rect">
            <a:avLst/>
          </a:prstGeom>
        </p:spPr>
      </p:pic>
    </p:spTree>
    <p:extLst>
      <p:ext uri="{BB962C8B-B14F-4D97-AF65-F5344CB8AC3E}">
        <p14:creationId xmlns:p14="http://schemas.microsoft.com/office/powerpoint/2010/main" val="3151138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24EC2-D06B-404A-95B3-C54F1D0B2BEC}"/>
              </a:ext>
            </a:extLst>
          </p:cNvPr>
          <p:cNvSpPr>
            <a:spLocks noGrp="1"/>
          </p:cNvSpPr>
          <p:nvPr>
            <p:ph type="title"/>
          </p:nvPr>
        </p:nvSpPr>
        <p:spPr/>
        <p:txBody>
          <a:bodyPr>
            <a:normAutofit/>
          </a:bodyPr>
          <a:lstStyle/>
          <a:p>
            <a:r>
              <a:rPr lang="en-US" dirty="0">
                <a:latin typeface="Segoe Sans Text Semibold" pitchFamily="2" charset="0"/>
                <a:cs typeface="Segoe Sans Text Semibold" pitchFamily="2" charset="0"/>
              </a:rPr>
              <a:t>Why do we need Naming and Tagging Standards?</a:t>
            </a:r>
          </a:p>
        </p:txBody>
      </p:sp>
      <p:sp>
        <p:nvSpPr>
          <p:cNvPr id="3" name="TextBox 2">
            <a:extLst>
              <a:ext uri="{FF2B5EF4-FFF2-40B4-BE49-F238E27FC236}">
                <a16:creationId xmlns:a16="http://schemas.microsoft.com/office/drawing/2014/main" id="{7F0FD0B9-C6E0-4034-BBD0-5D48022CBFE9}"/>
              </a:ext>
            </a:extLst>
          </p:cNvPr>
          <p:cNvSpPr txBox="1"/>
          <p:nvPr/>
        </p:nvSpPr>
        <p:spPr>
          <a:xfrm>
            <a:off x="501444" y="1128091"/>
            <a:ext cx="9815644" cy="6734921"/>
          </a:xfrm>
          <a:prstGeom prst="rect">
            <a:avLst/>
          </a:prstGeom>
          <a:noFill/>
        </p:spPr>
        <p:txBody>
          <a:bodyPr wrap="square" lIns="0" tIns="0" rIns="0" bIns="0" rtlCol="0" anchor="t">
            <a:spAutoFit/>
          </a:bodyPr>
          <a:lstStyle/>
          <a:p>
            <a:pPr marL="285695" indent="-285695" defTabSz="914225">
              <a:buFont typeface="Arial" panose="020B0604020202020204" pitchFamily="34" charset="0"/>
              <a:buChar char="•"/>
              <a:defRPr/>
            </a:pPr>
            <a:endParaRPr lang="en-US" sz="2800" dirty="0">
              <a:latin typeface="Segoe UI"/>
            </a:endParaRPr>
          </a:p>
          <a:p>
            <a:pPr marL="914225" lvl="1" indent="-457112"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Consistent naming conventions make resources easier to locate. They can also indicate the role of a resource in a solution.</a:t>
            </a:r>
          </a:p>
          <a:p>
            <a:pPr marL="914225" lvl="1" indent="-457112"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Tags can help by adding additional metadata to give further information about the resource(s) e.g. Cost Center, Owner, Compliance requirements</a:t>
            </a:r>
          </a:p>
          <a:p>
            <a:pPr marL="914225" lvl="1" indent="-457112"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Tag Pairs will help audit and organize billing data for the organization.</a:t>
            </a:r>
          </a:p>
          <a:p>
            <a:pPr marL="914225" lvl="1" indent="-457112"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Can enable or help with Chargebacks/Back Billing</a:t>
            </a:r>
          </a:p>
          <a:p>
            <a:pPr marL="914225" lvl="1" indent="-457112" defTabSz="914225">
              <a:buFont typeface="Arial" panose="020B0604020202020204" pitchFamily="34" charset="0"/>
              <a:buChar char="•"/>
              <a:defRPr/>
            </a:pPr>
            <a:r>
              <a:rPr lang="en-US" sz="2800" dirty="0">
                <a:latin typeface="Segoe UI Light" panose="020B0502040204020203" pitchFamily="34" charset="0"/>
                <a:cs typeface="Segoe UI Light" panose="020B0502040204020203" pitchFamily="34" charset="0"/>
              </a:rPr>
              <a:t>Remember that some services have different naming restrictions (such as allowed characters or length)</a:t>
            </a:r>
          </a:p>
          <a:p>
            <a:pPr marL="457112" indent="-457112" defTabSz="914225">
              <a:buFont typeface="Arial" panose="020B0604020202020204" pitchFamily="34" charset="0"/>
              <a:buChar char="•"/>
              <a:defRPr/>
            </a:pPr>
            <a:endParaRPr lang="en-US" sz="2800" dirty="0">
              <a:latin typeface="Segoe UI Light" panose="020B0502040204020203" pitchFamily="34" charset="0"/>
              <a:cs typeface="Segoe UI Light" panose="020B0502040204020203" pitchFamily="34" charset="0"/>
            </a:endParaRPr>
          </a:p>
          <a:p>
            <a:pPr marL="457112" lvl="1" defTabSz="914225">
              <a:defRPr/>
            </a:pPr>
            <a:endParaRPr lang="en-US" sz="2800" dirty="0">
              <a:latin typeface="Segoe UI Light"/>
              <a:cs typeface="Segoe UI Light"/>
            </a:endParaRPr>
          </a:p>
          <a:p>
            <a:pPr marL="285695" indent="-285695" defTabSz="914225">
              <a:buFont typeface="Arial" panose="020B0604020202020204" pitchFamily="34" charset="0"/>
              <a:buChar char="•"/>
              <a:defRPr/>
            </a:pPr>
            <a:endParaRPr lang="en-US" sz="2800" dirty="0">
              <a:latin typeface="Segoe UI"/>
            </a:endParaRPr>
          </a:p>
          <a:p>
            <a:pPr marL="285695" indent="-285695" defTabSz="914225">
              <a:buFont typeface="Arial" panose="020B0604020202020204" pitchFamily="34" charset="0"/>
              <a:buChar char="•"/>
              <a:defRPr/>
            </a:pPr>
            <a:endParaRPr lang="en-US" sz="1765" dirty="0">
              <a:latin typeface="Segoe UI"/>
            </a:endParaRPr>
          </a:p>
        </p:txBody>
      </p:sp>
    </p:spTree>
    <p:extLst>
      <p:ext uri="{BB962C8B-B14F-4D97-AF65-F5344CB8AC3E}">
        <p14:creationId xmlns:p14="http://schemas.microsoft.com/office/powerpoint/2010/main" val="262254165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sitting at a table using a computer&#10;&#10;Description generated with high confidence">
            <a:extLst>
              <a:ext uri="{FF2B5EF4-FFF2-40B4-BE49-F238E27FC236}">
                <a16:creationId xmlns:a16="http://schemas.microsoft.com/office/drawing/2014/main" id="{B5F7B672-9B16-4984-9367-B362A45185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2964" y="1557197"/>
            <a:ext cx="5569865" cy="3642021"/>
          </a:xfrm>
          <a:prstGeom prst="rect">
            <a:avLst/>
          </a:prstGeom>
        </p:spPr>
      </p:pic>
      <p:sp>
        <p:nvSpPr>
          <p:cNvPr id="7" name="Equals 6">
            <a:extLst>
              <a:ext uri="{FF2B5EF4-FFF2-40B4-BE49-F238E27FC236}">
                <a16:creationId xmlns:a16="http://schemas.microsoft.com/office/drawing/2014/main" id="{04B3264D-6AE6-4A4A-A675-E9CAC072601D}"/>
              </a:ext>
            </a:extLst>
          </p:cNvPr>
          <p:cNvSpPr/>
          <p:nvPr/>
        </p:nvSpPr>
        <p:spPr bwMode="auto">
          <a:xfrm>
            <a:off x="5950878" y="3048054"/>
            <a:ext cx="1480247" cy="838261"/>
          </a:xfrm>
          <a:prstGeom prst="mathEqual">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 name="Picture 8">
            <a:extLst>
              <a:ext uri="{FF2B5EF4-FFF2-40B4-BE49-F238E27FC236}">
                <a16:creationId xmlns:a16="http://schemas.microsoft.com/office/drawing/2014/main" id="{A244D92D-8C97-4FDF-ABA1-7C678759C22B}"/>
              </a:ext>
            </a:extLst>
          </p:cNvPr>
          <p:cNvPicPr>
            <a:picLocks noChangeAspect="1"/>
          </p:cNvPicPr>
          <p:nvPr/>
        </p:nvPicPr>
        <p:blipFill>
          <a:blip r:embed="rId4"/>
          <a:stretch>
            <a:fillRect/>
          </a:stretch>
        </p:blipFill>
        <p:spPr>
          <a:xfrm>
            <a:off x="7573661" y="1849148"/>
            <a:ext cx="4206448" cy="1821284"/>
          </a:xfrm>
          <a:prstGeom prst="rect">
            <a:avLst/>
          </a:prstGeom>
        </p:spPr>
      </p:pic>
      <p:pic>
        <p:nvPicPr>
          <p:cNvPr id="11" name="Picture 10" descr="A close up of a sign&#10;&#10;Description generated with very high confidence">
            <a:extLst>
              <a:ext uri="{FF2B5EF4-FFF2-40B4-BE49-F238E27FC236}">
                <a16:creationId xmlns:a16="http://schemas.microsoft.com/office/drawing/2014/main" id="{5F571804-6E76-4DE9-8952-56BE124737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91079" y="4060461"/>
            <a:ext cx="1371610" cy="1312904"/>
          </a:xfrm>
          <a:prstGeom prst="rect">
            <a:avLst/>
          </a:prstGeom>
          <a:noFill/>
        </p:spPr>
      </p:pic>
      <p:sp>
        <p:nvSpPr>
          <p:cNvPr id="2" name="Title 1">
            <a:extLst>
              <a:ext uri="{FF2B5EF4-FFF2-40B4-BE49-F238E27FC236}">
                <a16:creationId xmlns:a16="http://schemas.microsoft.com/office/drawing/2014/main" id="{C68B7822-FD89-0216-8AD0-5601E3FC9DCD}"/>
              </a:ext>
            </a:extLst>
          </p:cNvPr>
          <p:cNvSpPr>
            <a:spLocks noGrp="1"/>
          </p:cNvSpPr>
          <p:nvPr>
            <p:ph type="title"/>
          </p:nvPr>
        </p:nvSpPr>
        <p:spPr/>
        <p:txBody>
          <a:bodyPr/>
          <a:lstStyle/>
          <a:p>
            <a:r>
              <a:rPr lang="en-US"/>
              <a:t>Standards are Everything!</a:t>
            </a:r>
          </a:p>
        </p:txBody>
      </p:sp>
    </p:spTree>
    <p:extLst>
      <p:ext uri="{BB962C8B-B14F-4D97-AF65-F5344CB8AC3E}">
        <p14:creationId xmlns:p14="http://schemas.microsoft.com/office/powerpoint/2010/main" val="370939451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agging is mandatory for better accountability</a:t>
            </a:r>
          </a:p>
        </p:txBody>
      </p:sp>
      <p:sp>
        <p:nvSpPr>
          <p:cNvPr id="5" name="TextBox 4">
            <a:extLst>
              <a:ext uri="{FF2B5EF4-FFF2-40B4-BE49-F238E27FC236}">
                <a16:creationId xmlns:a16="http://schemas.microsoft.com/office/drawing/2014/main" id="{3B212DFC-623D-419F-9202-4FAA20FCD27A}"/>
              </a:ext>
            </a:extLst>
          </p:cNvPr>
          <p:cNvSpPr txBox="1"/>
          <p:nvPr/>
        </p:nvSpPr>
        <p:spPr>
          <a:xfrm>
            <a:off x="335760" y="5754723"/>
            <a:ext cx="10678639" cy="616187"/>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25">
              <a:defRPr/>
            </a:pPr>
            <a:r>
              <a:rPr lang="en-US" sz="2353">
                <a:solidFill>
                  <a:srgbClr val="00B294"/>
                </a:solidFill>
                <a:cs typeface="Segoe UI" panose="020B0502040204020203" pitchFamily="34" charset="0"/>
              </a:rPr>
              <a:t>Tag your resources</a:t>
            </a:r>
          </a:p>
        </p:txBody>
      </p:sp>
      <p:sp>
        <p:nvSpPr>
          <p:cNvPr id="6" name="Text Placeholder 1">
            <a:extLst>
              <a:ext uri="{FF2B5EF4-FFF2-40B4-BE49-F238E27FC236}">
                <a16:creationId xmlns:a16="http://schemas.microsoft.com/office/drawing/2014/main" id="{E81FFCB2-98C3-404E-95CB-070EFCC2907E}"/>
              </a:ext>
            </a:extLst>
          </p:cNvPr>
          <p:cNvSpPr txBox="1">
            <a:spLocks/>
          </p:cNvSpPr>
          <p:nvPr/>
        </p:nvSpPr>
        <p:spPr>
          <a:xfrm>
            <a:off x="270894" y="1963667"/>
            <a:ext cx="3341362" cy="1446319"/>
          </a:xfrm>
          <a:prstGeom prst="rect">
            <a:avLst/>
          </a:prstGeom>
        </p:spPr>
        <p:txBody>
          <a:bodyPr vert="horz" wrap="square" lIns="146263"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1175"/>
              </a:spcBef>
              <a:buClr>
                <a:srgbClr val="505050"/>
              </a:buClr>
              <a:buNone/>
              <a:defRPr/>
            </a:pPr>
            <a:r>
              <a:rPr lang="en-US" sz="1961" dirty="0">
                <a:solidFill>
                  <a:srgbClr val="0070C0"/>
                </a:solidFill>
                <a:latin typeface="Segoe UI Semibold" panose="020B0702040204020203" pitchFamily="34" charset="0"/>
              </a:rPr>
              <a:t>Tags should be enforced by configuration policy</a:t>
            </a:r>
          </a:p>
          <a:p>
            <a:pPr marL="0" lvl="1" indent="0" defTabSz="932563">
              <a:spcBef>
                <a:spcPts val="1175"/>
              </a:spcBef>
              <a:buNone/>
              <a:defRPr/>
            </a:pPr>
            <a:r>
              <a:rPr lang="en-US" sz="1961" dirty="0">
                <a:solidFill>
                  <a:schemeClr val="tx1"/>
                </a:solidFill>
                <a:latin typeface="Segoe UI Semilight"/>
                <a:cs typeface="Segoe UI Light"/>
              </a:rPr>
              <a:t>Use Azure Policy to set and track ARM tagging policies </a:t>
            </a:r>
          </a:p>
        </p:txBody>
      </p:sp>
      <p:sp>
        <p:nvSpPr>
          <p:cNvPr id="8" name="Text Placeholder 1">
            <a:extLst>
              <a:ext uri="{FF2B5EF4-FFF2-40B4-BE49-F238E27FC236}">
                <a16:creationId xmlns:a16="http://schemas.microsoft.com/office/drawing/2014/main" id="{242FF1D6-832A-4103-96F8-11CC169B7DA4}"/>
              </a:ext>
            </a:extLst>
          </p:cNvPr>
          <p:cNvSpPr txBox="1">
            <a:spLocks/>
          </p:cNvSpPr>
          <p:nvPr/>
        </p:nvSpPr>
        <p:spPr>
          <a:xfrm>
            <a:off x="4036709" y="1963667"/>
            <a:ext cx="3341362" cy="3415810"/>
          </a:xfrm>
          <a:prstGeom prst="rect">
            <a:avLst/>
          </a:prstGeom>
        </p:spPr>
        <p:txBody>
          <a:bodyPr vert="horz" wrap="square" lIns="146263"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1175"/>
              </a:spcBef>
              <a:buClr>
                <a:srgbClr val="505050"/>
              </a:buClr>
              <a:buNone/>
              <a:defRPr/>
            </a:pPr>
            <a:r>
              <a:rPr lang="en-US" sz="1961" dirty="0">
                <a:solidFill>
                  <a:srgbClr val="0078D4"/>
                </a:solidFill>
                <a:latin typeface="Segoe UI Semibold" panose="020B0702040204020203" pitchFamily="34" charset="0"/>
              </a:rPr>
              <a:t>Tags should include 3 types of information</a:t>
            </a:r>
          </a:p>
          <a:p>
            <a:pPr marL="0" lvl="1" indent="0" defTabSz="932563">
              <a:spcBef>
                <a:spcPts val="1175"/>
              </a:spcBef>
              <a:buNone/>
              <a:defRPr/>
            </a:pPr>
            <a:r>
              <a:rPr lang="en-US" sz="1961" u="sng" dirty="0">
                <a:solidFill>
                  <a:schemeClr val="tx1"/>
                </a:solidFill>
                <a:latin typeface="Segoe UI Semilight"/>
                <a:cs typeface="Segoe UI Light"/>
              </a:rPr>
              <a:t>Billing information</a:t>
            </a:r>
            <a:r>
              <a:rPr lang="en-US" sz="1961" dirty="0">
                <a:solidFill>
                  <a:schemeClr val="tx1"/>
                </a:solidFill>
                <a:latin typeface="Segoe UI Semilight"/>
                <a:cs typeface="Segoe UI Light"/>
              </a:rPr>
              <a:t>: cost center, billing ID, etc.</a:t>
            </a:r>
          </a:p>
          <a:p>
            <a:pPr marL="0" lvl="1" indent="0" defTabSz="932563">
              <a:spcBef>
                <a:spcPts val="1175"/>
              </a:spcBef>
              <a:buNone/>
              <a:defRPr/>
            </a:pPr>
            <a:r>
              <a:rPr lang="en-US" sz="1961" u="sng" dirty="0">
                <a:solidFill>
                  <a:schemeClr val="tx1"/>
                </a:solidFill>
                <a:latin typeface="Segoe UI Semilight"/>
                <a:cs typeface="Segoe UI Light"/>
              </a:rPr>
              <a:t>Ownership information</a:t>
            </a:r>
            <a:r>
              <a:rPr lang="en-US" sz="1961" dirty="0">
                <a:solidFill>
                  <a:schemeClr val="tx1"/>
                </a:solidFill>
                <a:latin typeface="Segoe UI Semilight"/>
                <a:cs typeface="Segoe UI Light"/>
              </a:rPr>
              <a:t>: whom should be contacted when needed</a:t>
            </a:r>
          </a:p>
          <a:p>
            <a:pPr marL="0" lvl="1" indent="0" defTabSz="932563">
              <a:spcBef>
                <a:spcPts val="1175"/>
              </a:spcBef>
              <a:buNone/>
              <a:defRPr/>
            </a:pPr>
            <a:r>
              <a:rPr lang="en-US" sz="1961" u="sng" dirty="0">
                <a:solidFill>
                  <a:schemeClr val="tx1"/>
                </a:solidFill>
                <a:latin typeface="Segoe UI Semilight"/>
                <a:cs typeface="Segoe UI Light"/>
              </a:rPr>
              <a:t>Purpose information</a:t>
            </a:r>
            <a:r>
              <a:rPr lang="en-US" sz="1961" dirty="0">
                <a:solidFill>
                  <a:schemeClr val="tx1"/>
                </a:solidFill>
                <a:latin typeface="Segoe UI Semilight"/>
                <a:cs typeface="Segoe UI Light"/>
              </a:rPr>
              <a:t>: environment, application service, etc.</a:t>
            </a:r>
          </a:p>
        </p:txBody>
      </p:sp>
      <p:sp>
        <p:nvSpPr>
          <p:cNvPr id="9" name="Text Placeholder 1">
            <a:extLst>
              <a:ext uri="{FF2B5EF4-FFF2-40B4-BE49-F238E27FC236}">
                <a16:creationId xmlns:a16="http://schemas.microsoft.com/office/drawing/2014/main" id="{FF86AA7B-A70C-4665-84E8-0C2EBC49F00C}"/>
              </a:ext>
            </a:extLst>
          </p:cNvPr>
          <p:cNvSpPr txBox="1">
            <a:spLocks/>
          </p:cNvSpPr>
          <p:nvPr/>
        </p:nvSpPr>
        <p:spPr>
          <a:xfrm>
            <a:off x="7927410" y="1963666"/>
            <a:ext cx="3341362" cy="2984983"/>
          </a:xfrm>
          <a:prstGeom prst="rect">
            <a:avLst/>
          </a:prstGeom>
        </p:spPr>
        <p:txBody>
          <a:bodyPr vert="horz" wrap="square" lIns="146263"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1175"/>
              </a:spcBef>
              <a:buClr>
                <a:srgbClr val="505050"/>
              </a:buClr>
              <a:buNone/>
              <a:defRPr/>
            </a:pPr>
            <a:r>
              <a:rPr lang="en-US" sz="1961" dirty="0">
                <a:solidFill>
                  <a:srgbClr val="0078D4"/>
                </a:solidFill>
                <a:latin typeface="Segoe UI Semibold" panose="020B0702040204020203" pitchFamily="34" charset="0"/>
              </a:rPr>
              <a:t>Cost Management </a:t>
            </a:r>
            <a:br>
              <a:rPr lang="en-US" sz="1961" dirty="0">
                <a:solidFill>
                  <a:srgbClr val="0078D4"/>
                </a:solidFill>
                <a:latin typeface="Segoe UI Semibold" panose="020B0702040204020203" pitchFamily="34" charset="0"/>
              </a:rPr>
            </a:br>
            <a:r>
              <a:rPr lang="en-US" sz="1961" dirty="0">
                <a:solidFill>
                  <a:srgbClr val="0078D4"/>
                </a:solidFill>
                <a:latin typeface="Segoe UI Semibold" panose="020B0702040204020203" pitchFamily="34" charset="0"/>
              </a:rPr>
              <a:t>can help</a:t>
            </a:r>
          </a:p>
          <a:p>
            <a:pPr marL="0" lvl="1" indent="0" defTabSz="932563">
              <a:spcBef>
                <a:spcPts val="1175"/>
              </a:spcBef>
              <a:buNone/>
              <a:defRPr/>
            </a:pPr>
            <a:r>
              <a:rPr lang="en-US" sz="1961" dirty="0">
                <a:solidFill>
                  <a:schemeClr val="tx1"/>
                </a:solidFill>
                <a:latin typeface="Segoe UI Semilight"/>
                <a:cs typeface="Segoe UI Light"/>
              </a:rPr>
              <a:t>Discovers ARM Resource Group tags and automatically associate to underlying resources</a:t>
            </a:r>
          </a:p>
          <a:p>
            <a:pPr marL="0" lvl="1" indent="0" defTabSz="932563">
              <a:spcBef>
                <a:spcPts val="1175"/>
              </a:spcBef>
              <a:buNone/>
              <a:defRPr/>
            </a:pPr>
            <a:r>
              <a:rPr lang="en-US" sz="1961" dirty="0">
                <a:solidFill>
                  <a:schemeClr val="tx1"/>
                </a:solidFill>
                <a:latin typeface="Segoe UI Semilight"/>
                <a:cs typeface="Segoe UI Light"/>
              </a:rPr>
              <a:t>Has rules for standardizing, rewriting, adding meta-tag values</a:t>
            </a:r>
          </a:p>
        </p:txBody>
      </p:sp>
      <p:cxnSp>
        <p:nvCxnSpPr>
          <p:cNvPr id="11" name="Straight Connector 10">
            <a:extLst>
              <a:ext uri="{FF2B5EF4-FFF2-40B4-BE49-F238E27FC236}">
                <a16:creationId xmlns:a16="http://schemas.microsoft.com/office/drawing/2014/main" id="{E413831F-356D-4326-BC15-CDF82E793170}"/>
              </a:ext>
            </a:extLst>
          </p:cNvPr>
          <p:cNvCxnSpPr>
            <a:cxnSpLocks/>
          </p:cNvCxnSpPr>
          <p:nvPr/>
        </p:nvCxnSpPr>
        <p:spPr>
          <a:xfrm>
            <a:off x="3733777" y="1963666"/>
            <a:ext cx="0" cy="3543137"/>
          </a:xfrm>
          <a:prstGeom prst="line">
            <a:avLst/>
          </a:prstGeom>
          <a:ln w="15875">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331C16A-7469-4E4D-825C-094B72C42575}"/>
              </a:ext>
            </a:extLst>
          </p:cNvPr>
          <p:cNvCxnSpPr>
            <a:cxnSpLocks/>
          </p:cNvCxnSpPr>
          <p:nvPr/>
        </p:nvCxnSpPr>
        <p:spPr>
          <a:xfrm>
            <a:off x="7624477" y="1963666"/>
            <a:ext cx="0" cy="3543137"/>
          </a:xfrm>
          <a:prstGeom prst="line">
            <a:avLst/>
          </a:prstGeom>
          <a:ln w="15875">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921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D73D28-962F-8E43-5907-544A140D2750}"/>
              </a:ext>
            </a:extLst>
          </p:cNvPr>
          <p:cNvSpPr>
            <a:spLocks noGrp="1"/>
          </p:cNvSpPr>
          <p:nvPr>
            <p:ph type="title"/>
          </p:nvPr>
        </p:nvSpPr>
        <p:spPr/>
        <p:txBody>
          <a:bodyPr wrap="square" anchor="b">
            <a:normAutofit/>
          </a:bodyPr>
          <a:lstStyle/>
          <a:p>
            <a:pPr>
              <a:lnSpc>
                <a:spcPct val="90000"/>
              </a:lnSpc>
            </a:pPr>
            <a:r>
              <a:rPr lang="en-US" sz="2800" dirty="0"/>
              <a:t>Establishing a Baseline and Level Setting Expectations</a:t>
            </a:r>
          </a:p>
        </p:txBody>
      </p:sp>
    </p:spTree>
    <p:extLst>
      <p:ext uri="{BB962C8B-B14F-4D97-AF65-F5344CB8AC3E}">
        <p14:creationId xmlns:p14="http://schemas.microsoft.com/office/powerpoint/2010/main" val="227994271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9473" y="452805"/>
            <a:ext cx="10514108" cy="567104"/>
          </a:xfrm>
        </p:spPr>
        <p:txBody>
          <a:bodyPr>
            <a:normAutofit/>
          </a:bodyPr>
          <a:lstStyle/>
          <a:p>
            <a:r>
              <a:rPr lang="en-US" dirty="0"/>
              <a:t>Resource Tags</a:t>
            </a:r>
          </a:p>
        </p:txBody>
      </p:sp>
      <p:sp>
        <p:nvSpPr>
          <p:cNvPr id="3" name="Content Placeholder 2"/>
          <p:cNvSpPr>
            <a:spLocks noGrp="1"/>
          </p:cNvSpPr>
          <p:nvPr>
            <p:ph idx="1"/>
          </p:nvPr>
        </p:nvSpPr>
        <p:spPr>
          <a:xfrm>
            <a:off x="838946" y="2057595"/>
            <a:ext cx="10514108" cy="3871213"/>
          </a:xfrm>
        </p:spPr>
        <p:txBody>
          <a:bodyPr>
            <a:normAutofit lnSpcReduction="10000"/>
          </a:bodyPr>
          <a:lstStyle/>
          <a:p>
            <a:r>
              <a:rPr lang="en-US" sz="2200"/>
              <a:t>Maximum 15 per resource or resource group</a:t>
            </a:r>
          </a:p>
          <a:p>
            <a:r>
              <a:rPr lang="en-US" sz="2200"/>
              <a:t>Tags span resource groups, allowing you to link and correlate entities across disparate deployments.</a:t>
            </a:r>
          </a:p>
          <a:p>
            <a:r>
              <a:rPr lang="en-US" sz="2200"/>
              <a:t>Some of the common tagging use cases are:</a:t>
            </a:r>
          </a:p>
          <a:p>
            <a:pPr lvl="1"/>
            <a:r>
              <a:rPr lang="en-US" sz="2200" b="1"/>
              <a:t>Billing</a:t>
            </a:r>
            <a:r>
              <a:rPr lang="en-US" sz="2200"/>
              <a:t>; Grouping resources and associating them with billing or charge back codes.</a:t>
            </a:r>
          </a:p>
          <a:p>
            <a:pPr lvl="1"/>
            <a:r>
              <a:rPr lang="en-US" sz="2200" b="1"/>
              <a:t>Service Context Identification</a:t>
            </a:r>
            <a:r>
              <a:rPr lang="en-US" sz="2200"/>
              <a:t>; Identify groups of resources across Resource Groups for common operations and grouping</a:t>
            </a:r>
          </a:p>
          <a:p>
            <a:pPr lvl="1"/>
            <a:r>
              <a:rPr lang="en-US" sz="2200" b="1"/>
              <a:t>Access Control and Security Context</a:t>
            </a:r>
            <a:r>
              <a:rPr lang="en-US" sz="2200"/>
              <a:t>; Administrative role identification based on portfolio, system, service, app, instance, etc.</a:t>
            </a:r>
          </a:p>
          <a:p>
            <a:r>
              <a:rPr lang="en-US" sz="2200">
                <a:hlinkClick r:id="rId2"/>
              </a:rPr>
              <a:t>Using tags to organize your Azure resources</a:t>
            </a:r>
            <a:endParaRPr lang="en-US" sz="2200"/>
          </a:p>
          <a:p>
            <a:endParaRPr lang="en-US" sz="2200"/>
          </a:p>
        </p:txBody>
      </p:sp>
    </p:spTree>
    <p:extLst>
      <p:ext uri="{BB962C8B-B14F-4D97-AF65-F5344CB8AC3E}">
        <p14:creationId xmlns:p14="http://schemas.microsoft.com/office/powerpoint/2010/main" val="12894193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018137-0126-53E7-96C8-2F204D4E626A}"/>
              </a:ext>
            </a:extLst>
          </p:cNvPr>
          <p:cNvSpPr>
            <a:spLocks noGrp="1"/>
          </p:cNvSpPr>
          <p:nvPr>
            <p:ph type="title"/>
          </p:nvPr>
        </p:nvSpPr>
        <p:spPr/>
        <p:txBody>
          <a:bodyPr/>
          <a:lstStyle/>
          <a:p>
            <a:r>
              <a:rPr lang="en-US"/>
              <a:t>Azure Government</a:t>
            </a:r>
          </a:p>
        </p:txBody>
      </p:sp>
      <p:sp>
        <p:nvSpPr>
          <p:cNvPr id="4" name="Text Placeholder 3">
            <a:extLst>
              <a:ext uri="{FF2B5EF4-FFF2-40B4-BE49-F238E27FC236}">
                <a16:creationId xmlns:a16="http://schemas.microsoft.com/office/drawing/2014/main" id="{150CC451-B5A8-351B-13FD-E0D0EE2CE32C}"/>
              </a:ext>
            </a:extLst>
          </p:cNvPr>
          <p:cNvSpPr>
            <a:spLocks noGrp="1"/>
          </p:cNvSpPr>
          <p:nvPr>
            <p:ph type="body" sz="quarter" idx="12"/>
          </p:nvPr>
        </p:nvSpPr>
        <p:spPr/>
        <p:txBody>
          <a:bodyPr/>
          <a:lstStyle/>
          <a:p>
            <a:r>
              <a:rPr lang="en-US"/>
              <a:t>I Mean Governance</a:t>
            </a:r>
          </a:p>
        </p:txBody>
      </p:sp>
    </p:spTree>
    <p:extLst>
      <p:ext uri="{BB962C8B-B14F-4D97-AF65-F5344CB8AC3E}">
        <p14:creationId xmlns:p14="http://schemas.microsoft.com/office/powerpoint/2010/main" val="125056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723D5E-29B1-5733-90EF-AF8B867FB2E8}"/>
              </a:ext>
            </a:extLst>
          </p:cNvPr>
          <p:cNvSpPr>
            <a:spLocks noGrp="1"/>
          </p:cNvSpPr>
          <p:nvPr>
            <p:ph type="title"/>
          </p:nvPr>
        </p:nvSpPr>
        <p:spPr>
          <a:xfrm>
            <a:off x="585216" y="2918853"/>
            <a:ext cx="9144000" cy="615553"/>
          </a:xfrm>
        </p:spPr>
        <p:txBody>
          <a:bodyPr/>
          <a:lstStyle/>
          <a:p>
            <a:r>
              <a:rPr lang="en-US" dirty="0"/>
              <a:t>Automation Tools for Azure</a:t>
            </a:r>
          </a:p>
        </p:txBody>
      </p:sp>
    </p:spTree>
    <p:extLst>
      <p:ext uri="{BB962C8B-B14F-4D97-AF65-F5344CB8AC3E}">
        <p14:creationId xmlns:p14="http://schemas.microsoft.com/office/powerpoint/2010/main" val="365941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A0A7D4-8CE1-9CB1-F7FC-F99883E02DC8}"/>
              </a:ext>
            </a:extLst>
          </p:cNvPr>
          <p:cNvSpPr>
            <a:spLocks noGrp="1"/>
          </p:cNvSpPr>
          <p:nvPr>
            <p:ph type="title"/>
          </p:nvPr>
        </p:nvSpPr>
        <p:spPr>
          <a:xfrm>
            <a:off x="881886" y="457200"/>
            <a:ext cx="10436354" cy="553998"/>
          </a:xfrm>
        </p:spPr>
        <p:txBody>
          <a:bodyPr/>
          <a:lstStyle/>
          <a:p>
            <a:r>
              <a:rPr lang="en-US" dirty="0" err="1"/>
              <a:t>Infrastructre</a:t>
            </a:r>
            <a:r>
              <a:rPr lang="en-US" dirty="0"/>
              <a:t> as Code + Configuration as Code FTW</a:t>
            </a:r>
          </a:p>
        </p:txBody>
      </p:sp>
      <p:sp>
        <p:nvSpPr>
          <p:cNvPr id="4" name="Content Placeholder 3">
            <a:extLst>
              <a:ext uri="{FF2B5EF4-FFF2-40B4-BE49-F238E27FC236}">
                <a16:creationId xmlns:a16="http://schemas.microsoft.com/office/drawing/2014/main" id="{22BEF636-E0C6-4004-9F17-88416F53BE95}"/>
              </a:ext>
            </a:extLst>
          </p:cNvPr>
          <p:cNvSpPr>
            <a:spLocks noGrp="1"/>
          </p:cNvSpPr>
          <p:nvPr>
            <p:ph sz="quarter" idx="10"/>
          </p:nvPr>
        </p:nvSpPr>
        <p:spPr>
          <a:xfrm>
            <a:off x="584200" y="1435100"/>
            <a:ext cx="11018838" cy="4358116"/>
          </a:xfrm>
        </p:spPr>
        <p:txBody>
          <a:bodyPr/>
          <a:lstStyle/>
          <a:p>
            <a:r>
              <a:rPr lang="en-US" dirty="0"/>
              <a:t>Azure DevOps Pipelines</a:t>
            </a:r>
          </a:p>
          <a:p>
            <a:r>
              <a:rPr lang="en-US" dirty="0"/>
              <a:t>Azure Automation</a:t>
            </a:r>
          </a:p>
          <a:p>
            <a:r>
              <a:rPr lang="en-US" dirty="0"/>
              <a:t>Azure </a:t>
            </a:r>
            <a:r>
              <a:rPr lang="en-US" dirty="0" err="1"/>
              <a:t>LogicApps</a:t>
            </a:r>
            <a:endParaRPr lang="en-US" dirty="0"/>
          </a:p>
          <a:p>
            <a:r>
              <a:rPr lang="en-US" dirty="0"/>
              <a:t>Azure Functions</a:t>
            </a:r>
          </a:p>
          <a:p>
            <a:r>
              <a:rPr lang="en-US" dirty="0"/>
              <a:t>Azure PowerShell</a:t>
            </a:r>
          </a:p>
          <a:p>
            <a:r>
              <a:rPr lang="en-US" dirty="0"/>
              <a:t>Azure CLI</a:t>
            </a:r>
          </a:p>
          <a:p>
            <a:r>
              <a:rPr lang="en-US" dirty="0"/>
              <a:t>ARM Templates</a:t>
            </a:r>
          </a:p>
          <a:p>
            <a:r>
              <a:rPr lang="en-US" dirty="0"/>
              <a:t>Bicep</a:t>
            </a:r>
          </a:p>
          <a:p>
            <a:r>
              <a:rPr lang="en-US" dirty="0">
                <a:solidFill>
                  <a:srgbClr val="0078D4"/>
                </a:solidFill>
              </a:rPr>
              <a:t>Terraform*</a:t>
            </a:r>
          </a:p>
          <a:p>
            <a:r>
              <a:rPr lang="en-US" dirty="0">
                <a:solidFill>
                  <a:srgbClr val="0078D4"/>
                </a:solidFill>
              </a:rPr>
              <a:t>Ansible*</a:t>
            </a:r>
          </a:p>
        </p:txBody>
      </p:sp>
      <p:sp>
        <p:nvSpPr>
          <p:cNvPr id="5" name="TextBox 4">
            <a:extLst>
              <a:ext uri="{FF2B5EF4-FFF2-40B4-BE49-F238E27FC236}">
                <a16:creationId xmlns:a16="http://schemas.microsoft.com/office/drawing/2014/main" id="{E3E71DE2-C044-3C46-E436-7E9BC55A972E}"/>
              </a:ext>
            </a:extLst>
          </p:cNvPr>
          <p:cNvSpPr txBox="1"/>
          <p:nvPr/>
        </p:nvSpPr>
        <p:spPr>
          <a:xfrm>
            <a:off x="584200" y="6246911"/>
            <a:ext cx="10522945" cy="307777"/>
          </a:xfrm>
          <a:prstGeom prst="rect">
            <a:avLst/>
          </a:prstGeom>
          <a:noFill/>
        </p:spPr>
        <p:txBody>
          <a:bodyPr wrap="none" lIns="0" tIns="0" rIns="0" bIns="0" rtlCol="0">
            <a:spAutoFit/>
          </a:bodyPr>
          <a:lstStyle/>
          <a:p>
            <a:pPr algn="l"/>
            <a:r>
              <a:rPr lang="en-US" sz="2000" dirty="0">
                <a:solidFill>
                  <a:srgbClr val="0078D4"/>
                </a:solidFill>
              </a:rPr>
              <a:t>* Third Party Products that may require additional licensing outside of your Microsoft contract</a:t>
            </a:r>
          </a:p>
        </p:txBody>
      </p:sp>
    </p:spTree>
    <p:extLst>
      <p:ext uri="{BB962C8B-B14F-4D97-AF65-F5344CB8AC3E}">
        <p14:creationId xmlns:p14="http://schemas.microsoft.com/office/powerpoint/2010/main" val="230791750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5746E6-FC40-4889-9208-41F253827603}"/>
              </a:ext>
            </a:extLst>
          </p:cNvPr>
          <p:cNvSpPr>
            <a:spLocks noGrp="1"/>
          </p:cNvSpPr>
          <p:nvPr>
            <p:ph type="title"/>
          </p:nvPr>
        </p:nvSpPr>
        <p:spPr/>
        <p:txBody>
          <a:bodyPr/>
          <a:lstStyle/>
          <a:p>
            <a:r>
              <a:rPr lang="en-US"/>
              <a:t>Summary </a:t>
            </a:r>
          </a:p>
        </p:txBody>
      </p:sp>
      <p:sp>
        <p:nvSpPr>
          <p:cNvPr id="2" name="Content Placeholder 1">
            <a:extLst>
              <a:ext uri="{FF2B5EF4-FFF2-40B4-BE49-F238E27FC236}">
                <a16:creationId xmlns:a16="http://schemas.microsoft.com/office/drawing/2014/main" id="{2235A871-D646-472C-956A-9C5A21B08671}"/>
              </a:ext>
            </a:extLst>
          </p:cNvPr>
          <p:cNvSpPr>
            <a:spLocks noGrp="1"/>
          </p:cNvSpPr>
          <p:nvPr>
            <p:ph idx="1"/>
          </p:nvPr>
        </p:nvSpPr>
        <p:spPr/>
        <p:txBody>
          <a:bodyPr/>
          <a:lstStyle/>
          <a:p>
            <a:r>
              <a:rPr lang="en-US"/>
              <a:t>Imperative, ad-hoc </a:t>
            </a:r>
            <a:r>
              <a:rPr lang="en-US">
                <a:solidFill>
                  <a:srgbClr val="0078D4"/>
                </a:solidFill>
              </a:rPr>
              <a:t>cross-platform</a:t>
            </a:r>
            <a:r>
              <a:rPr lang="en-US"/>
              <a:t> scripting</a:t>
            </a:r>
          </a:p>
          <a:p>
            <a:pPr lvl="1"/>
            <a:r>
              <a:rPr lang="en-US"/>
              <a:t>Azure PowerShell and Azure CLI</a:t>
            </a:r>
          </a:p>
          <a:p>
            <a:endParaRPr lang="en-US"/>
          </a:p>
          <a:p>
            <a:r>
              <a:rPr lang="en-US"/>
              <a:t>Deployment using </a:t>
            </a:r>
            <a:r>
              <a:rPr lang="en-US">
                <a:solidFill>
                  <a:srgbClr val="0078D4"/>
                </a:solidFill>
              </a:rPr>
              <a:t>a declarative model </a:t>
            </a:r>
            <a:r>
              <a:rPr lang="en-US"/>
              <a:t>is the real deal</a:t>
            </a:r>
          </a:p>
          <a:p>
            <a:pPr lvl="1"/>
            <a:r>
              <a:rPr lang="en-US"/>
              <a:t>ARM templates, Terraform, Ansible, and Building Blocks (infrastructure management)</a:t>
            </a:r>
          </a:p>
          <a:p>
            <a:pPr lvl="1"/>
            <a:r>
              <a:rPr lang="en-US"/>
              <a:t>Chef, Puppet, Ansible, and DSC (VM configurations)</a:t>
            </a:r>
          </a:p>
          <a:p>
            <a:pPr lvl="1"/>
            <a:endParaRPr lang="en-US"/>
          </a:p>
          <a:p>
            <a:r>
              <a:rPr lang="en-US"/>
              <a:t>Use Azure Cloud Shell within Visual Studio Code</a:t>
            </a:r>
          </a:p>
        </p:txBody>
      </p:sp>
    </p:spTree>
    <p:extLst>
      <p:ext uri="{BB962C8B-B14F-4D97-AF65-F5344CB8AC3E}">
        <p14:creationId xmlns:p14="http://schemas.microsoft.com/office/powerpoint/2010/main" val="18738725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2BB545-079C-ABBB-FE18-033E8099B899}"/>
              </a:ext>
            </a:extLst>
          </p:cNvPr>
          <p:cNvSpPr>
            <a:spLocks noGrp="1"/>
          </p:cNvSpPr>
          <p:nvPr>
            <p:ph type="title"/>
          </p:nvPr>
        </p:nvSpPr>
        <p:spPr>
          <a:xfrm>
            <a:off x="585216" y="2916268"/>
            <a:ext cx="9144000" cy="615553"/>
          </a:xfrm>
        </p:spPr>
        <p:txBody>
          <a:bodyPr/>
          <a:lstStyle/>
          <a:p>
            <a:r>
              <a:rPr lang="en-US" dirty="0"/>
              <a:t>Automating the Cloud</a:t>
            </a:r>
          </a:p>
        </p:txBody>
      </p:sp>
      <p:sp>
        <p:nvSpPr>
          <p:cNvPr id="5" name="Text Placeholder 4">
            <a:extLst>
              <a:ext uri="{FF2B5EF4-FFF2-40B4-BE49-F238E27FC236}">
                <a16:creationId xmlns:a16="http://schemas.microsoft.com/office/drawing/2014/main" id="{4ECE522F-6409-FA35-1B71-2C828762C7B1}"/>
              </a:ext>
            </a:extLst>
          </p:cNvPr>
          <p:cNvSpPr>
            <a:spLocks noGrp="1"/>
          </p:cNvSpPr>
          <p:nvPr>
            <p:ph type="body" sz="quarter" idx="12"/>
          </p:nvPr>
        </p:nvSpPr>
        <p:spPr/>
        <p:txBody>
          <a:bodyPr/>
          <a:lstStyle/>
          <a:p>
            <a:r>
              <a:rPr lang="en-US" dirty="0"/>
              <a:t>Like cloud seeding, but less controversial…</a:t>
            </a:r>
          </a:p>
        </p:txBody>
      </p:sp>
    </p:spTree>
    <p:extLst>
      <p:ext uri="{BB962C8B-B14F-4D97-AF65-F5344CB8AC3E}">
        <p14:creationId xmlns:p14="http://schemas.microsoft.com/office/powerpoint/2010/main" val="345190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0AC657-93D6-8CC5-EF5C-216010D0211D}"/>
              </a:ext>
            </a:extLst>
          </p:cNvPr>
          <p:cNvSpPr>
            <a:spLocks noGrp="1"/>
          </p:cNvSpPr>
          <p:nvPr>
            <p:ph type="title"/>
          </p:nvPr>
        </p:nvSpPr>
        <p:spPr>
          <a:xfrm>
            <a:off x="585216" y="2918853"/>
            <a:ext cx="9144000" cy="615553"/>
          </a:xfrm>
        </p:spPr>
        <p:txBody>
          <a:bodyPr/>
          <a:lstStyle/>
          <a:p>
            <a:r>
              <a:rPr lang="en-US" dirty="0"/>
              <a:t>Security and Monitoring</a:t>
            </a:r>
          </a:p>
        </p:txBody>
      </p:sp>
    </p:spTree>
    <p:extLst>
      <p:ext uri="{BB962C8B-B14F-4D97-AF65-F5344CB8AC3E}">
        <p14:creationId xmlns:p14="http://schemas.microsoft.com/office/powerpoint/2010/main" val="344140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B5F09D4C-3941-445F-AA5B-0382C2CFC8E3}"/>
              </a:ext>
            </a:extLst>
          </p:cNvPr>
          <p:cNvSpPr>
            <a:spLocks/>
          </p:cNvSpPr>
          <p:nvPr/>
        </p:nvSpPr>
        <p:spPr bwMode="auto">
          <a:xfrm>
            <a:off x="6248699" y="5294484"/>
            <a:ext cx="1140338" cy="471767"/>
          </a:xfrm>
          <a:prstGeom prst="rect">
            <a:avLst/>
          </a:prstGeom>
          <a:noFill/>
          <a:ln w="12700">
            <a:noFill/>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146263" rIns="0" bIns="146263" numCol="1" spcCol="0" rtlCol="0" fromWordArt="0" anchor="t" anchorCtr="0" forceAA="0" compatLnSpc="1">
            <a:prstTxWarp prst="textNoShape">
              <a:avLst/>
            </a:prstTxWarp>
            <a:spAutoFit/>
          </a:bodyPr>
          <a:lstStyle/>
          <a:p>
            <a:pPr algn="ctr" defTabSz="838914">
              <a:lnSpc>
                <a:spcPct val="90000"/>
              </a:lnSpc>
              <a:defRPr/>
            </a:pPr>
            <a:r>
              <a:rPr lang="en-US" sz="1273">
                <a:solidFill>
                  <a:srgbClr val="0078D4"/>
                </a:solidFill>
                <a:latin typeface="Segoe UI"/>
              </a:rPr>
              <a:t>Built-in controls</a:t>
            </a:r>
          </a:p>
        </p:txBody>
      </p:sp>
      <p:sp>
        <p:nvSpPr>
          <p:cNvPr id="31" name="T&amp;S oval">
            <a:extLst>
              <a:ext uri="{FF2B5EF4-FFF2-40B4-BE49-F238E27FC236}">
                <a16:creationId xmlns:a16="http://schemas.microsoft.com/office/drawing/2014/main" id="{A92627DB-486D-4E73-91B6-CD99AF5515B0}"/>
              </a:ext>
            </a:extLst>
          </p:cNvPr>
          <p:cNvSpPr>
            <a:spLocks noChangeAspect="1"/>
          </p:cNvSpPr>
          <p:nvPr/>
        </p:nvSpPr>
        <p:spPr bwMode="auto">
          <a:xfrm>
            <a:off x="6676117" y="1887589"/>
            <a:ext cx="3265180" cy="3265180"/>
          </a:xfrm>
          <a:prstGeom prst="ellipse">
            <a:avLst/>
          </a:prstGeom>
          <a:noFill/>
          <a:ln w="1905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a:solidFill>
                <a:srgbClr val="0078D4"/>
              </a:solidFill>
              <a:latin typeface="Segoe UI Semilight"/>
              <a:cs typeface="Segoe UI" pitchFamily="34" charset="0"/>
            </a:endParaRPr>
          </a:p>
        </p:txBody>
      </p:sp>
      <p:sp>
        <p:nvSpPr>
          <p:cNvPr id="66" name="Trust &amp; Security">
            <a:extLst>
              <a:ext uri="{FF2B5EF4-FFF2-40B4-BE49-F238E27FC236}">
                <a16:creationId xmlns:a16="http://schemas.microsoft.com/office/drawing/2014/main" id="{12A64C21-E633-4AF5-96AE-99D8229DB45C}"/>
              </a:ext>
            </a:extLst>
          </p:cNvPr>
          <p:cNvSpPr/>
          <p:nvPr/>
        </p:nvSpPr>
        <p:spPr>
          <a:xfrm>
            <a:off x="7495058" y="3109553"/>
            <a:ext cx="1636520" cy="814661"/>
          </a:xfrm>
          <a:prstGeom prst="rect">
            <a:avLst/>
          </a:prstGeom>
        </p:spPr>
        <p:txBody>
          <a:bodyPr wrap="square" lIns="0" tIns="0" rIns="0" bIns="0" anchor="ctr">
            <a:spAutoFit/>
          </a:bodyPr>
          <a:lstStyle/>
          <a:p>
            <a:pPr algn="ctr" defTabSz="838914">
              <a:lnSpc>
                <a:spcPct val="90000"/>
              </a:lnSpc>
              <a:defRPr/>
            </a:pPr>
            <a:r>
              <a:rPr lang="en-US" sz="2941">
                <a:solidFill>
                  <a:srgbClr val="0078D4"/>
                </a:solidFill>
                <a:latin typeface="Segoe UI" panose="020B0502040204020203" pitchFamily="34" charset="0"/>
                <a:ea typeface="Times New Roman" panose="02020603050405020304" pitchFamily="18" charset="0"/>
                <a:cs typeface="Segoe UI" panose="020B0502040204020203" pitchFamily="34" charset="0"/>
              </a:rPr>
              <a:t>Azure Security</a:t>
            </a:r>
            <a:endParaRPr lang="en-US" sz="2941">
              <a:solidFill>
                <a:srgbClr val="0078D4"/>
              </a:solidFill>
              <a:latin typeface="Segoe UI" panose="020B0502040204020203" pitchFamily="34" charset="0"/>
              <a:cs typeface="Segoe UI" panose="020B0502040204020203" pitchFamily="34" charset="0"/>
            </a:endParaRPr>
          </a:p>
        </p:txBody>
      </p:sp>
      <p:sp>
        <p:nvSpPr>
          <p:cNvPr id="3" name="Title 2">
            <a:extLst>
              <a:ext uri="{FF2B5EF4-FFF2-40B4-BE49-F238E27FC236}">
                <a16:creationId xmlns:a16="http://schemas.microsoft.com/office/drawing/2014/main" id="{FC1C6480-721D-4C9A-B0DA-75480B59CF29}"/>
              </a:ext>
            </a:extLst>
          </p:cNvPr>
          <p:cNvSpPr>
            <a:spLocks noGrp="1"/>
          </p:cNvSpPr>
          <p:nvPr>
            <p:ph type="title"/>
          </p:nvPr>
        </p:nvSpPr>
        <p:spPr>
          <a:xfrm>
            <a:off x="455995" y="226050"/>
            <a:ext cx="4241726" cy="1192634"/>
          </a:xfrm>
        </p:spPr>
        <p:txBody>
          <a:bodyPr/>
          <a:lstStyle/>
          <a:p>
            <a:r>
              <a:rPr lang="en-US">
                <a:solidFill>
                  <a:srgbClr val="0078D4"/>
                </a:solidFill>
              </a:rPr>
              <a:t>Unmatched security across operations, technology, and partnerships</a:t>
            </a:r>
          </a:p>
        </p:txBody>
      </p:sp>
      <p:sp>
        <p:nvSpPr>
          <p:cNvPr id="2" name="Text Placeholder 1">
            <a:extLst>
              <a:ext uri="{FF2B5EF4-FFF2-40B4-BE49-F238E27FC236}">
                <a16:creationId xmlns:a16="http://schemas.microsoft.com/office/drawing/2014/main" id="{BC94A292-8D3C-431E-9CEA-006C3AD19277}"/>
              </a:ext>
            </a:extLst>
          </p:cNvPr>
          <p:cNvSpPr>
            <a:spLocks noGrp="1"/>
          </p:cNvSpPr>
          <p:nvPr>
            <p:ph type="body" sz="quarter" idx="4294967295"/>
          </p:nvPr>
        </p:nvSpPr>
        <p:spPr>
          <a:xfrm>
            <a:off x="0" y="2814638"/>
            <a:ext cx="4410075" cy="2413000"/>
          </a:xfrm>
        </p:spPr>
        <p:txBody>
          <a:bodyPr>
            <a:normAutofit lnSpcReduction="10000"/>
          </a:bodyPr>
          <a:lstStyle/>
          <a:p>
            <a:pPr>
              <a:spcBef>
                <a:spcPts val="2353"/>
              </a:spcBef>
            </a:pPr>
            <a:r>
              <a:rPr lang="en-US">
                <a:solidFill>
                  <a:schemeClr val="tx2"/>
                </a:solidFill>
                <a:cs typeface="Segoe UI bold" panose="020B0802040204020203" pitchFamily="34" charset="0"/>
              </a:rPr>
              <a:t>$1B </a:t>
            </a:r>
            <a:r>
              <a:rPr lang="en-US"/>
              <a:t>annual investment </a:t>
            </a:r>
            <a:br>
              <a:rPr lang="en-US"/>
            </a:br>
            <a:r>
              <a:rPr lang="en-US"/>
              <a:t>in cybersecurity</a:t>
            </a:r>
          </a:p>
          <a:p>
            <a:pPr>
              <a:spcBef>
                <a:spcPts val="2353"/>
              </a:spcBef>
            </a:pPr>
            <a:r>
              <a:rPr lang="en-US">
                <a:solidFill>
                  <a:schemeClr val="tx2"/>
                </a:solidFill>
                <a:cs typeface="Segoe UI bold" panose="020B0802040204020203" pitchFamily="34" charset="0"/>
              </a:rPr>
              <a:t>3500+ </a:t>
            </a:r>
            <a:r>
              <a:rPr lang="en-US"/>
              <a:t>global security experts</a:t>
            </a:r>
          </a:p>
          <a:p>
            <a:pPr>
              <a:spcBef>
                <a:spcPts val="2353"/>
              </a:spcBef>
            </a:pPr>
            <a:r>
              <a:rPr lang="en-US">
                <a:solidFill>
                  <a:schemeClr val="tx2"/>
                </a:solidFill>
                <a:cs typeface="Segoe UI bold" panose="020B0802040204020203" pitchFamily="34" charset="0"/>
              </a:rPr>
              <a:t>Trillions of </a:t>
            </a:r>
            <a:r>
              <a:rPr lang="en-US"/>
              <a:t>diverse signals for unique  intelligence </a:t>
            </a:r>
          </a:p>
        </p:txBody>
      </p:sp>
      <p:sp>
        <p:nvSpPr>
          <p:cNvPr id="32" name="Rectangle 31">
            <a:extLst>
              <a:ext uri="{FF2B5EF4-FFF2-40B4-BE49-F238E27FC236}">
                <a16:creationId xmlns:a16="http://schemas.microsoft.com/office/drawing/2014/main" id="{514A5B28-7FF5-467A-B92D-FDD24B164EAA}"/>
              </a:ext>
            </a:extLst>
          </p:cNvPr>
          <p:cNvSpPr>
            <a:spLocks/>
          </p:cNvSpPr>
          <p:nvPr/>
        </p:nvSpPr>
        <p:spPr bwMode="auto">
          <a:xfrm>
            <a:off x="9091789" y="4970412"/>
            <a:ext cx="1420261" cy="566932"/>
          </a:xfrm>
          <a:prstGeom prst="rect">
            <a:avLst/>
          </a:prstGeom>
          <a:noFill/>
          <a:ln w="12700">
            <a:noFill/>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146263" rIns="0" bIns="146263" numCol="1" spcCol="0" rtlCol="0" fromWordArt="0" anchor="t" anchorCtr="0" forceAA="0" compatLnSpc="1">
            <a:prstTxWarp prst="textNoShape">
              <a:avLst/>
            </a:prstTxWarp>
            <a:spAutoFit/>
          </a:bodyPr>
          <a:lstStyle/>
          <a:p>
            <a:pPr algn="ctr" defTabSz="838914">
              <a:lnSpc>
                <a:spcPct val="90000"/>
              </a:lnSpc>
              <a:defRPr/>
            </a:pPr>
            <a:r>
              <a:rPr lang="en-US" sz="1961">
                <a:solidFill>
                  <a:srgbClr val="0078D4"/>
                </a:solidFill>
                <a:latin typeface="Segoe UI Semibold"/>
              </a:rPr>
              <a:t>Partnerships</a:t>
            </a:r>
          </a:p>
        </p:txBody>
      </p:sp>
      <p:sp>
        <p:nvSpPr>
          <p:cNvPr id="34" name="Rectangle 33">
            <a:extLst>
              <a:ext uri="{FF2B5EF4-FFF2-40B4-BE49-F238E27FC236}">
                <a16:creationId xmlns:a16="http://schemas.microsoft.com/office/drawing/2014/main" id="{6FCC83FD-BFF3-4082-A049-02B166001032}"/>
              </a:ext>
            </a:extLst>
          </p:cNvPr>
          <p:cNvSpPr>
            <a:spLocks/>
          </p:cNvSpPr>
          <p:nvPr/>
        </p:nvSpPr>
        <p:spPr bwMode="auto">
          <a:xfrm>
            <a:off x="7690399" y="692851"/>
            <a:ext cx="1264770" cy="566932"/>
          </a:xfrm>
          <a:prstGeom prst="rect">
            <a:avLst/>
          </a:prstGeom>
          <a:noFill/>
          <a:ln w="12700">
            <a:noFill/>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146263" rIns="0" bIns="146263" numCol="1" spcCol="0" rtlCol="0" fromWordArt="0" anchor="b" anchorCtr="0" forceAA="0" compatLnSpc="1">
            <a:prstTxWarp prst="textNoShape">
              <a:avLst/>
            </a:prstTxWarp>
            <a:spAutoFit/>
          </a:bodyPr>
          <a:lstStyle/>
          <a:p>
            <a:pPr algn="ctr" defTabSz="838914">
              <a:lnSpc>
                <a:spcPct val="90000"/>
              </a:lnSpc>
              <a:defRPr/>
            </a:pPr>
            <a:r>
              <a:rPr lang="en-US" sz="1961">
                <a:solidFill>
                  <a:srgbClr val="0078D4"/>
                </a:solidFill>
                <a:latin typeface="Segoe UI Semibold"/>
              </a:rPr>
              <a:t>Operations</a:t>
            </a:r>
          </a:p>
        </p:txBody>
      </p:sp>
      <p:grpSp>
        <p:nvGrpSpPr>
          <p:cNvPr id="35" name="Group 1">
            <a:extLst>
              <a:ext uri="{FF2B5EF4-FFF2-40B4-BE49-F238E27FC236}">
                <a16:creationId xmlns:a16="http://schemas.microsoft.com/office/drawing/2014/main" id="{A68A34B4-973A-48BA-A8D6-9A477ADCBB13}"/>
              </a:ext>
            </a:extLst>
          </p:cNvPr>
          <p:cNvGrpSpPr>
            <a:grpSpLocks noChangeAspect="1"/>
          </p:cNvGrpSpPr>
          <p:nvPr/>
        </p:nvGrpSpPr>
        <p:grpSpPr>
          <a:xfrm>
            <a:off x="9243255" y="3867344"/>
            <a:ext cx="1085753" cy="1085753"/>
            <a:chOff x="3491934" y="3980755"/>
            <a:chExt cx="824835" cy="824835"/>
          </a:xfrm>
        </p:grpSpPr>
        <p:sp useBgFill="1">
          <p:nvSpPr>
            <p:cNvPr id="36" name="Oval 2">
              <a:extLst>
                <a:ext uri="{FF2B5EF4-FFF2-40B4-BE49-F238E27FC236}">
                  <a16:creationId xmlns:a16="http://schemas.microsoft.com/office/drawing/2014/main" id="{A6CE4AEA-5599-4592-B847-80E9401F527F}"/>
                </a:ext>
              </a:extLst>
            </p:cNvPr>
            <p:cNvSpPr/>
            <p:nvPr/>
          </p:nvSpPr>
          <p:spPr bwMode="auto">
            <a:xfrm>
              <a:off x="3491934" y="3980755"/>
              <a:ext cx="824835" cy="82483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793" rIns="0" bIns="42793" numCol="1" rtlCol="0" anchor="ctr" anchorCtr="0" compatLnSpc="1">
              <a:prstTxWarp prst="textNoShape">
                <a:avLst/>
              </a:prstTxWarp>
            </a:bodyPr>
            <a:lstStyle/>
            <a:p>
              <a:pPr algn="ctr" defTabSz="855495" fontAlgn="base">
                <a:spcBef>
                  <a:spcPct val="0"/>
                </a:spcBef>
                <a:spcAft>
                  <a:spcPct val="0"/>
                </a:spcAft>
                <a:defRPr/>
              </a:pPr>
              <a:endParaRPr lang="en-US" sz="1468">
                <a:solidFill>
                  <a:srgbClr val="0078D4"/>
                </a:solidFill>
                <a:latin typeface="Segoe UI"/>
              </a:endParaRPr>
            </a:p>
          </p:txBody>
        </p:sp>
        <p:grpSp>
          <p:nvGrpSpPr>
            <p:cNvPr id="37" name="Group 3">
              <a:extLst>
                <a:ext uri="{FF2B5EF4-FFF2-40B4-BE49-F238E27FC236}">
                  <a16:creationId xmlns:a16="http://schemas.microsoft.com/office/drawing/2014/main" id="{8CFE4BCF-7E28-4D08-BA17-6718EFC92CA6}"/>
                </a:ext>
              </a:extLst>
            </p:cNvPr>
            <p:cNvGrpSpPr/>
            <p:nvPr/>
          </p:nvGrpSpPr>
          <p:grpSpPr>
            <a:xfrm>
              <a:off x="3524775" y="4013594"/>
              <a:ext cx="761949" cy="761947"/>
              <a:chOff x="7123842" y="4156689"/>
              <a:chExt cx="1115570" cy="1115568"/>
            </a:xfrm>
          </p:grpSpPr>
          <p:sp>
            <p:nvSpPr>
              <p:cNvPr id="39" name="Oval 5">
                <a:extLst>
                  <a:ext uri="{FF2B5EF4-FFF2-40B4-BE49-F238E27FC236}">
                    <a16:creationId xmlns:a16="http://schemas.microsoft.com/office/drawing/2014/main" id="{57F349A7-7F0A-4FE6-943A-61E24410BFA4}"/>
                  </a:ext>
                </a:extLst>
              </p:cNvPr>
              <p:cNvSpPr/>
              <p:nvPr/>
            </p:nvSpPr>
            <p:spPr bwMode="auto">
              <a:xfrm>
                <a:off x="7123842" y="4156689"/>
                <a:ext cx="1115570" cy="1115568"/>
              </a:xfrm>
              <a:prstGeom prst="ellipse">
                <a:avLst/>
              </a:prstGeom>
              <a:solidFill>
                <a:schemeClr val="bg1"/>
              </a:solidFill>
              <a:ln>
                <a:noFill/>
              </a:ln>
              <a:effectLst>
                <a:outerShdw blurRad="254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defTabSz="932114" fontAlgn="base">
                  <a:spcBef>
                    <a:spcPct val="0"/>
                  </a:spcBef>
                  <a:spcAft>
                    <a:spcPct val="0"/>
                  </a:spcAft>
                  <a:defRPr/>
                </a:pPr>
                <a:endParaRPr lang="en-US" sz="2000">
                  <a:solidFill>
                    <a:srgbClr val="0078D4"/>
                  </a:solidFill>
                  <a:latin typeface="Segoe UI"/>
                  <a:cs typeface="Segoe UI" pitchFamily="34" charset="0"/>
                </a:endParaRPr>
              </a:p>
            </p:txBody>
          </p:sp>
          <p:pic>
            <p:nvPicPr>
              <p:cNvPr id="40" name="Graphic 39">
                <a:extLst>
                  <a:ext uri="{FF2B5EF4-FFF2-40B4-BE49-F238E27FC236}">
                    <a16:creationId xmlns:a16="http://schemas.microsoft.com/office/drawing/2014/main" id="{AD71E787-B13F-45D2-99F8-9A5357B4DE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13046" y="4453870"/>
                <a:ext cx="537154" cy="521200"/>
              </a:xfrm>
              <a:prstGeom prst="rect">
                <a:avLst/>
              </a:prstGeom>
            </p:spPr>
          </p:pic>
        </p:grpSp>
        <p:sp>
          <p:nvSpPr>
            <p:cNvPr id="38" name="Oval 102">
              <a:extLst>
                <a:ext uri="{FF2B5EF4-FFF2-40B4-BE49-F238E27FC236}">
                  <a16:creationId xmlns:a16="http://schemas.microsoft.com/office/drawing/2014/main" id="{F2B70689-E743-4D97-A29C-233BDA38970F}"/>
                </a:ext>
              </a:extLst>
            </p:cNvPr>
            <p:cNvSpPr>
              <a:spLocks noChangeArrowheads="1"/>
            </p:cNvSpPr>
            <p:nvPr/>
          </p:nvSpPr>
          <p:spPr bwMode="auto">
            <a:xfrm>
              <a:off x="3524774" y="4013592"/>
              <a:ext cx="761946" cy="761947"/>
            </a:xfrm>
            <a:prstGeom prst="ellipse">
              <a:avLst/>
            </a:prstGeom>
            <a:noFill/>
            <a:ln w="127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defTabSz="932114" fontAlgn="base">
                <a:spcBef>
                  <a:spcPct val="0"/>
                </a:spcBef>
                <a:spcAft>
                  <a:spcPct val="0"/>
                </a:spcAft>
                <a:defRPr/>
              </a:pPr>
              <a:endParaRPr lang="de-DE" sz="2000">
                <a:solidFill>
                  <a:srgbClr val="0078D4"/>
                </a:solidFill>
                <a:latin typeface="Segoe UI"/>
                <a:cs typeface="Segoe UI" pitchFamily="34" charset="0"/>
              </a:endParaRPr>
            </a:p>
          </p:txBody>
        </p:sp>
      </p:grpSp>
      <p:grpSp>
        <p:nvGrpSpPr>
          <p:cNvPr id="41" name="Group 40">
            <a:extLst>
              <a:ext uri="{FF2B5EF4-FFF2-40B4-BE49-F238E27FC236}">
                <a16:creationId xmlns:a16="http://schemas.microsoft.com/office/drawing/2014/main" id="{7A57132C-005E-4F28-B4F2-E1A09A18CA84}"/>
              </a:ext>
            </a:extLst>
          </p:cNvPr>
          <p:cNvGrpSpPr>
            <a:grpSpLocks noChangeAspect="1"/>
          </p:cNvGrpSpPr>
          <p:nvPr/>
        </p:nvGrpSpPr>
        <p:grpSpPr>
          <a:xfrm>
            <a:off x="6303284" y="3867343"/>
            <a:ext cx="1085753" cy="1085753"/>
            <a:chOff x="3857906" y="4109242"/>
            <a:chExt cx="1207008" cy="1207008"/>
          </a:xfrm>
        </p:grpSpPr>
        <p:sp useBgFill="1">
          <p:nvSpPr>
            <p:cNvPr id="42" name="Oval 41">
              <a:extLst>
                <a:ext uri="{FF2B5EF4-FFF2-40B4-BE49-F238E27FC236}">
                  <a16:creationId xmlns:a16="http://schemas.microsoft.com/office/drawing/2014/main" id="{8B5C0D30-85DC-47AE-AB16-F4EC9F9FCF18}"/>
                </a:ext>
              </a:extLst>
            </p:cNvPr>
            <p:cNvSpPr/>
            <p:nvPr/>
          </p:nvSpPr>
          <p:spPr bwMode="auto">
            <a:xfrm>
              <a:off x="3857906" y="4109242"/>
              <a:ext cx="1207008" cy="1207008"/>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793" rIns="0" bIns="42793" numCol="1" rtlCol="0" anchor="ctr" anchorCtr="0" compatLnSpc="1">
              <a:prstTxWarp prst="textNoShape">
                <a:avLst/>
              </a:prstTxWarp>
            </a:bodyPr>
            <a:lstStyle/>
            <a:p>
              <a:pPr algn="ctr" defTabSz="855495" fontAlgn="base">
                <a:spcBef>
                  <a:spcPct val="0"/>
                </a:spcBef>
                <a:spcAft>
                  <a:spcPct val="0"/>
                </a:spcAft>
                <a:defRPr/>
              </a:pPr>
              <a:endParaRPr lang="en-US" sz="1468">
                <a:solidFill>
                  <a:srgbClr val="0078D4"/>
                </a:solidFill>
                <a:latin typeface="Segoe UI"/>
              </a:endParaRPr>
            </a:p>
          </p:txBody>
        </p:sp>
        <p:sp>
          <p:nvSpPr>
            <p:cNvPr id="43" name="Oval 42">
              <a:extLst>
                <a:ext uri="{FF2B5EF4-FFF2-40B4-BE49-F238E27FC236}">
                  <a16:creationId xmlns:a16="http://schemas.microsoft.com/office/drawing/2014/main" id="{3664B67A-2CB8-4E73-A30C-F3133D832A24}"/>
                </a:ext>
              </a:extLst>
            </p:cNvPr>
            <p:cNvSpPr/>
            <p:nvPr/>
          </p:nvSpPr>
          <p:spPr bwMode="auto">
            <a:xfrm>
              <a:off x="3903918" y="4155255"/>
              <a:ext cx="1114985" cy="1114982"/>
            </a:xfrm>
            <a:prstGeom prst="ellipse">
              <a:avLst/>
            </a:prstGeom>
            <a:solidFill>
              <a:schemeClr val="bg1"/>
            </a:solidFill>
            <a:ln>
              <a:noFill/>
            </a:ln>
            <a:effectLst>
              <a:outerShdw blurRad="254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defTabSz="932114" fontAlgn="base">
                <a:spcBef>
                  <a:spcPct val="0"/>
                </a:spcBef>
                <a:spcAft>
                  <a:spcPct val="0"/>
                </a:spcAft>
                <a:defRPr/>
              </a:pPr>
              <a:endParaRPr lang="en-US" sz="2000">
                <a:solidFill>
                  <a:srgbClr val="0078D4"/>
                </a:solidFill>
                <a:latin typeface="Segoe UI"/>
                <a:cs typeface="Segoe UI" pitchFamily="34" charset="0"/>
              </a:endParaRPr>
            </a:p>
          </p:txBody>
        </p:sp>
        <p:grpSp>
          <p:nvGrpSpPr>
            <p:cNvPr id="44" name="Group 43">
              <a:extLst>
                <a:ext uri="{FF2B5EF4-FFF2-40B4-BE49-F238E27FC236}">
                  <a16:creationId xmlns:a16="http://schemas.microsoft.com/office/drawing/2014/main" id="{D2C01E94-30B9-4B4C-BF04-3895E864DD96}"/>
                </a:ext>
              </a:extLst>
            </p:cNvPr>
            <p:cNvGrpSpPr/>
            <p:nvPr/>
          </p:nvGrpSpPr>
          <p:grpSpPr>
            <a:xfrm>
              <a:off x="4228351" y="4464845"/>
              <a:ext cx="436492" cy="533904"/>
              <a:chOff x="2218709" y="3161224"/>
              <a:chExt cx="455546" cy="557213"/>
            </a:xfrm>
          </p:grpSpPr>
          <p:sp>
            <p:nvSpPr>
              <p:cNvPr id="46" name="Freeform: Shape 45">
                <a:extLst>
                  <a:ext uri="{FF2B5EF4-FFF2-40B4-BE49-F238E27FC236}">
                    <a16:creationId xmlns:a16="http://schemas.microsoft.com/office/drawing/2014/main" id="{D747B9F3-CFDC-4019-B1EA-5B77E9B77A97}"/>
                  </a:ext>
                </a:extLst>
              </p:cNvPr>
              <p:cNvSpPr/>
              <p:nvPr/>
            </p:nvSpPr>
            <p:spPr>
              <a:xfrm>
                <a:off x="2361434" y="3161224"/>
                <a:ext cx="312821" cy="557213"/>
              </a:xfrm>
              <a:custGeom>
                <a:avLst/>
                <a:gdLst>
                  <a:gd name="connsiteX0" fmla="*/ 267768 w 312821"/>
                  <a:gd name="connsiteY0" fmla="*/ 79097 h 557213"/>
                  <a:gd name="connsiteX1" fmla="*/ 106469 w 312821"/>
                  <a:gd name="connsiteY1" fmla="*/ 1870 h 557213"/>
                  <a:gd name="connsiteX2" fmla="*/ 68344 w 312821"/>
                  <a:gd name="connsiteY2" fmla="*/ 1870 h 557213"/>
                  <a:gd name="connsiteX3" fmla="*/ 1870 w 312821"/>
                  <a:gd name="connsiteY3" fmla="*/ 276566 h 557213"/>
                  <a:gd name="connsiteX4" fmla="*/ 68344 w 312821"/>
                  <a:gd name="connsiteY4" fmla="*/ 558594 h 557213"/>
                  <a:gd name="connsiteX5" fmla="*/ 313224 w 312821"/>
                  <a:gd name="connsiteY5" fmla="*/ 236486 h 557213"/>
                  <a:gd name="connsiteX6" fmla="*/ 313224 w 312821"/>
                  <a:gd name="connsiteY6" fmla="*/ 79097 h 557213"/>
                  <a:gd name="connsiteX7" fmla="*/ 267768 w 312821"/>
                  <a:gd name="connsiteY7" fmla="*/ 79097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821" h="557213">
                    <a:moveTo>
                      <a:pt x="267768" y="79097"/>
                    </a:moveTo>
                    <a:cubicBezTo>
                      <a:pt x="205203" y="79097"/>
                      <a:pt x="145572" y="50748"/>
                      <a:pt x="106469" y="1870"/>
                    </a:cubicBezTo>
                    <a:lnTo>
                      <a:pt x="68344" y="1870"/>
                    </a:lnTo>
                    <a:lnTo>
                      <a:pt x="1870" y="276566"/>
                    </a:lnTo>
                    <a:lnTo>
                      <a:pt x="68344" y="558594"/>
                    </a:lnTo>
                    <a:cubicBezTo>
                      <a:pt x="156325" y="521935"/>
                      <a:pt x="313224" y="419779"/>
                      <a:pt x="313224" y="236486"/>
                    </a:cubicBezTo>
                    <a:cubicBezTo>
                      <a:pt x="313224" y="112823"/>
                      <a:pt x="313224" y="79097"/>
                      <a:pt x="313224" y="79097"/>
                    </a:cubicBezTo>
                    <a:lnTo>
                      <a:pt x="267768" y="79097"/>
                    </a:lnTo>
                    <a:close/>
                  </a:path>
                </a:pathLst>
              </a:custGeom>
              <a:solidFill>
                <a:srgbClr val="0064B5"/>
              </a:solidFill>
              <a:ln w="4858" cap="flat">
                <a:noFill/>
                <a:prstDash val="solid"/>
                <a:miter/>
              </a:ln>
            </p:spPr>
            <p:txBody>
              <a:bodyPr rtlCol="0" anchor="ctr"/>
              <a:lstStyle/>
              <a:p>
                <a:pPr defTabSz="914367">
                  <a:defRPr/>
                </a:pPr>
                <a:endParaRPr lang="en-US">
                  <a:solidFill>
                    <a:srgbClr val="0078D4"/>
                  </a:solidFill>
                  <a:latin typeface="Segoe UI"/>
                </a:endParaRPr>
              </a:p>
            </p:txBody>
          </p:sp>
          <p:sp>
            <p:nvSpPr>
              <p:cNvPr id="47" name="Freeform: Shape 46">
                <a:extLst>
                  <a:ext uri="{FF2B5EF4-FFF2-40B4-BE49-F238E27FC236}">
                    <a16:creationId xmlns:a16="http://schemas.microsoft.com/office/drawing/2014/main" id="{1F6C2E0C-36CB-4031-849F-E3A1D4FCD4B3}"/>
                  </a:ext>
                </a:extLst>
              </p:cNvPr>
              <p:cNvSpPr/>
              <p:nvPr/>
            </p:nvSpPr>
            <p:spPr>
              <a:xfrm>
                <a:off x="2218709" y="3161224"/>
                <a:ext cx="244392" cy="557213"/>
              </a:xfrm>
              <a:custGeom>
                <a:avLst/>
                <a:gdLst>
                  <a:gd name="connsiteX0" fmla="*/ 208625 w 244391"/>
                  <a:gd name="connsiteY0" fmla="*/ 1870 h 557213"/>
                  <a:gd name="connsiteX1" fmla="*/ 47326 w 244391"/>
                  <a:gd name="connsiteY1" fmla="*/ 79097 h 557213"/>
                  <a:gd name="connsiteX2" fmla="*/ 1870 w 244391"/>
                  <a:gd name="connsiteY2" fmla="*/ 79097 h 557213"/>
                  <a:gd name="connsiteX3" fmla="*/ 1870 w 244391"/>
                  <a:gd name="connsiteY3" fmla="*/ 236486 h 557213"/>
                  <a:gd name="connsiteX4" fmla="*/ 246750 w 244391"/>
                  <a:gd name="connsiteY4" fmla="*/ 558594 h 557213"/>
                  <a:gd name="connsiteX5" fmla="*/ 246750 w 244391"/>
                  <a:gd name="connsiteY5" fmla="*/ 1870 h 557213"/>
                  <a:gd name="connsiteX6" fmla="*/ 208625 w 244391"/>
                  <a:gd name="connsiteY6" fmla="*/ 187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91" h="557213">
                    <a:moveTo>
                      <a:pt x="208625" y="1870"/>
                    </a:moveTo>
                    <a:cubicBezTo>
                      <a:pt x="169522" y="50748"/>
                      <a:pt x="109891" y="79097"/>
                      <a:pt x="47326" y="79097"/>
                    </a:cubicBezTo>
                    <a:lnTo>
                      <a:pt x="1870" y="79097"/>
                    </a:lnTo>
                    <a:cubicBezTo>
                      <a:pt x="1870" y="79097"/>
                      <a:pt x="1870" y="112823"/>
                      <a:pt x="1870" y="236486"/>
                    </a:cubicBezTo>
                    <a:cubicBezTo>
                      <a:pt x="1870" y="419779"/>
                      <a:pt x="158769" y="521935"/>
                      <a:pt x="246750" y="558594"/>
                    </a:cubicBezTo>
                    <a:lnTo>
                      <a:pt x="246750" y="1870"/>
                    </a:lnTo>
                    <a:lnTo>
                      <a:pt x="208625" y="1870"/>
                    </a:lnTo>
                    <a:close/>
                  </a:path>
                </a:pathLst>
              </a:custGeom>
              <a:solidFill>
                <a:srgbClr val="0078D7"/>
              </a:solidFill>
              <a:ln w="4858" cap="flat">
                <a:noFill/>
                <a:prstDash val="solid"/>
                <a:miter/>
              </a:ln>
            </p:spPr>
            <p:txBody>
              <a:bodyPr rtlCol="0" anchor="ctr"/>
              <a:lstStyle/>
              <a:p>
                <a:pPr defTabSz="914367">
                  <a:defRPr/>
                </a:pPr>
                <a:endParaRPr lang="en-US">
                  <a:solidFill>
                    <a:srgbClr val="0078D4"/>
                  </a:solidFill>
                  <a:latin typeface="Segoe UI"/>
                </a:endParaRPr>
              </a:p>
            </p:txBody>
          </p:sp>
          <p:sp>
            <p:nvSpPr>
              <p:cNvPr id="48" name="Freeform: Shape 47">
                <a:extLst>
                  <a:ext uri="{FF2B5EF4-FFF2-40B4-BE49-F238E27FC236}">
                    <a16:creationId xmlns:a16="http://schemas.microsoft.com/office/drawing/2014/main" id="{DD19B463-4A92-46AA-89E1-4A942A3FAD09}"/>
                  </a:ext>
                </a:extLst>
              </p:cNvPr>
              <p:cNvSpPr/>
              <p:nvPr/>
            </p:nvSpPr>
            <p:spPr>
              <a:xfrm>
                <a:off x="2287628" y="3242851"/>
                <a:ext cx="386139" cy="371475"/>
              </a:xfrm>
              <a:custGeom>
                <a:avLst/>
                <a:gdLst>
                  <a:gd name="connsiteX0" fmla="*/ 330821 w 386138"/>
                  <a:gd name="connsiteY0" fmla="*/ 73721 h 371475"/>
                  <a:gd name="connsiteX1" fmla="*/ 277054 w 386138"/>
                  <a:gd name="connsiteY1" fmla="*/ 127487 h 371475"/>
                  <a:gd name="connsiteX2" fmla="*/ 283897 w 386138"/>
                  <a:gd name="connsiteY2" fmla="*/ 153881 h 371475"/>
                  <a:gd name="connsiteX3" fmla="*/ 233553 w 386138"/>
                  <a:gd name="connsiteY3" fmla="*/ 204226 h 371475"/>
                  <a:gd name="connsiteX4" fmla="*/ 104514 w 386138"/>
                  <a:gd name="connsiteY4" fmla="*/ 204226 h 371475"/>
                  <a:gd name="connsiteX5" fmla="*/ 104514 w 386138"/>
                  <a:gd name="connsiteY5" fmla="*/ 149482 h 371475"/>
                  <a:gd name="connsiteX6" fmla="*/ 151437 w 386138"/>
                  <a:gd name="connsiteY6" fmla="*/ 102559 h 371475"/>
                  <a:gd name="connsiteX7" fmla="*/ 177831 w 386138"/>
                  <a:gd name="connsiteY7" fmla="*/ 109402 h 371475"/>
                  <a:gd name="connsiteX8" fmla="*/ 231598 w 386138"/>
                  <a:gd name="connsiteY8" fmla="*/ 55636 h 371475"/>
                  <a:gd name="connsiteX9" fmla="*/ 177831 w 386138"/>
                  <a:gd name="connsiteY9" fmla="*/ 1870 h 371475"/>
                  <a:gd name="connsiteX10" fmla="*/ 124065 w 386138"/>
                  <a:gd name="connsiteY10" fmla="*/ 55636 h 371475"/>
                  <a:gd name="connsiteX11" fmla="*/ 130908 w 386138"/>
                  <a:gd name="connsiteY11" fmla="*/ 82030 h 371475"/>
                  <a:gd name="connsiteX12" fmla="*/ 75187 w 386138"/>
                  <a:gd name="connsiteY12" fmla="*/ 137751 h 371475"/>
                  <a:gd name="connsiteX13" fmla="*/ 75187 w 386138"/>
                  <a:gd name="connsiteY13" fmla="*/ 274611 h 371475"/>
                  <a:gd name="connsiteX14" fmla="*/ 1870 w 386138"/>
                  <a:gd name="connsiteY14" fmla="*/ 347928 h 371475"/>
                  <a:gd name="connsiteX15" fmla="*/ 20932 w 386138"/>
                  <a:gd name="connsiteY15" fmla="*/ 369923 h 371475"/>
                  <a:gd name="connsiteX16" fmla="*/ 104025 w 386138"/>
                  <a:gd name="connsiteY16" fmla="*/ 286830 h 371475"/>
                  <a:gd name="connsiteX17" fmla="*/ 104025 w 386138"/>
                  <a:gd name="connsiteY17" fmla="*/ 233553 h 371475"/>
                  <a:gd name="connsiteX18" fmla="*/ 245772 w 386138"/>
                  <a:gd name="connsiteY18" fmla="*/ 233553 h 371475"/>
                  <a:gd name="connsiteX19" fmla="*/ 304426 w 386138"/>
                  <a:gd name="connsiteY19" fmla="*/ 174410 h 371475"/>
                  <a:gd name="connsiteX20" fmla="*/ 330821 w 386138"/>
                  <a:gd name="connsiteY20" fmla="*/ 181253 h 371475"/>
                  <a:gd name="connsiteX21" fmla="*/ 384587 w 386138"/>
                  <a:gd name="connsiteY21" fmla="*/ 127487 h 371475"/>
                  <a:gd name="connsiteX22" fmla="*/ 330821 w 386138"/>
                  <a:gd name="connsiteY22" fmla="*/ 73721 h 371475"/>
                  <a:gd name="connsiteX23" fmla="*/ 177831 w 386138"/>
                  <a:gd name="connsiteY23" fmla="*/ 31197 h 371475"/>
                  <a:gd name="connsiteX24" fmla="*/ 202271 w 386138"/>
                  <a:gd name="connsiteY24" fmla="*/ 55636 h 371475"/>
                  <a:gd name="connsiteX25" fmla="*/ 177831 w 386138"/>
                  <a:gd name="connsiteY25" fmla="*/ 80075 h 371475"/>
                  <a:gd name="connsiteX26" fmla="*/ 153392 w 386138"/>
                  <a:gd name="connsiteY26" fmla="*/ 55636 h 371475"/>
                  <a:gd name="connsiteX27" fmla="*/ 177831 w 386138"/>
                  <a:gd name="connsiteY27" fmla="*/ 31197 h 371475"/>
                  <a:gd name="connsiteX28" fmla="*/ 330821 w 386138"/>
                  <a:gd name="connsiteY28" fmla="*/ 151926 h 371475"/>
                  <a:gd name="connsiteX29" fmla="*/ 306381 w 386138"/>
                  <a:gd name="connsiteY29" fmla="*/ 127487 h 371475"/>
                  <a:gd name="connsiteX30" fmla="*/ 330821 w 386138"/>
                  <a:gd name="connsiteY30" fmla="*/ 103048 h 371475"/>
                  <a:gd name="connsiteX31" fmla="*/ 355260 w 386138"/>
                  <a:gd name="connsiteY31" fmla="*/ 127487 h 371475"/>
                  <a:gd name="connsiteX32" fmla="*/ 330821 w 386138"/>
                  <a:gd name="connsiteY32" fmla="*/ 15192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6138" h="371475">
                    <a:moveTo>
                      <a:pt x="330821" y="73721"/>
                    </a:moveTo>
                    <a:cubicBezTo>
                      <a:pt x="301005" y="73721"/>
                      <a:pt x="277054" y="97671"/>
                      <a:pt x="277054" y="127487"/>
                    </a:cubicBezTo>
                    <a:cubicBezTo>
                      <a:pt x="277054" y="136774"/>
                      <a:pt x="279498" y="146061"/>
                      <a:pt x="283897" y="153881"/>
                    </a:cubicBezTo>
                    <a:lnTo>
                      <a:pt x="233553" y="204226"/>
                    </a:lnTo>
                    <a:lnTo>
                      <a:pt x="104514" y="204226"/>
                    </a:lnTo>
                    <a:lnTo>
                      <a:pt x="104514" y="149482"/>
                    </a:lnTo>
                    <a:lnTo>
                      <a:pt x="151437" y="102559"/>
                    </a:lnTo>
                    <a:cubicBezTo>
                      <a:pt x="159258" y="106958"/>
                      <a:pt x="168056" y="109402"/>
                      <a:pt x="177831" y="109402"/>
                    </a:cubicBezTo>
                    <a:cubicBezTo>
                      <a:pt x="207647" y="109402"/>
                      <a:pt x="231598" y="85452"/>
                      <a:pt x="231598" y="55636"/>
                    </a:cubicBezTo>
                    <a:cubicBezTo>
                      <a:pt x="231598" y="25820"/>
                      <a:pt x="207647" y="1870"/>
                      <a:pt x="177831" y="1870"/>
                    </a:cubicBezTo>
                    <a:cubicBezTo>
                      <a:pt x="148016" y="1870"/>
                      <a:pt x="124065" y="25820"/>
                      <a:pt x="124065" y="55636"/>
                    </a:cubicBezTo>
                    <a:cubicBezTo>
                      <a:pt x="124065" y="64923"/>
                      <a:pt x="126509" y="74210"/>
                      <a:pt x="130908" y="82030"/>
                    </a:cubicBezTo>
                    <a:lnTo>
                      <a:pt x="75187" y="137751"/>
                    </a:lnTo>
                    <a:lnTo>
                      <a:pt x="75187" y="274611"/>
                    </a:lnTo>
                    <a:lnTo>
                      <a:pt x="1870" y="347928"/>
                    </a:lnTo>
                    <a:cubicBezTo>
                      <a:pt x="8224" y="355749"/>
                      <a:pt x="14578" y="363080"/>
                      <a:pt x="20932" y="369923"/>
                    </a:cubicBezTo>
                    <a:lnTo>
                      <a:pt x="104025" y="286830"/>
                    </a:lnTo>
                    <a:lnTo>
                      <a:pt x="104025" y="233553"/>
                    </a:lnTo>
                    <a:lnTo>
                      <a:pt x="245772" y="233553"/>
                    </a:lnTo>
                    <a:lnTo>
                      <a:pt x="304426" y="174410"/>
                    </a:lnTo>
                    <a:cubicBezTo>
                      <a:pt x="312247" y="178809"/>
                      <a:pt x="321045" y="181253"/>
                      <a:pt x="330821" y="181253"/>
                    </a:cubicBezTo>
                    <a:cubicBezTo>
                      <a:pt x="360636" y="181253"/>
                      <a:pt x="384587" y="157303"/>
                      <a:pt x="384587" y="127487"/>
                    </a:cubicBezTo>
                    <a:cubicBezTo>
                      <a:pt x="384587" y="97671"/>
                      <a:pt x="360636" y="73721"/>
                      <a:pt x="330821" y="73721"/>
                    </a:cubicBezTo>
                    <a:close/>
                    <a:moveTo>
                      <a:pt x="177831" y="31197"/>
                    </a:moveTo>
                    <a:cubicBezTo>
                      <a:pt x="191517" y="31197"/>
                      <a:pt x="202271" y="41950"/>
                      <a:pt x="202271" y="55636"/>
                    </a:cubicBezTo>
                    <a:cubicBezTo>
                      <a:pt x="202271" y="69322"/>
                      <a:pt x="191517" y="80075"/>
                      <a:pt x="177831" y="80075"/>
                    </a:cubicBezTo>
                    <a:cubicBezTo>
                      <a:pt x="164146" y="80075"/>
                      <a:pt x="153392" y="69322"/>
                      <a:pt x="153392" y="55636"/>
                    </a:cubicBezTo>
                    <a:cubicBezTo>
                      <a:pt x="153392" y="41950"/>
                      <a:pt x="164634" y="31197"/>
                      <a:pt x="177831" y="31197"/>
                    </a:cubicBezTo>
                    <a:close/>
                    <a:moveTo>
                      <a:pt x="330821" y="151926"/>
                    </a:moveTo>
                    <a:cubicBezTo>
                      <a:pt x="317135" y="151926"/>
                      <a:pt x="306381" y="141173"/>
                      <a:pt x="306381" y="127487"/>
                    </a:cubicBezTo>
                    <a:cubicBezTo>
                      <a:pt x="306381" y="113801"/>
                      <a:pt x="317135" y="103048"/>
                      <a:pt x="330821" y="103048"/>
                    </a:cubicBezTo>
                    <a:cubicBezTo>
                      <a:pt x="344506" y="103048"/>
                      <a:pt x="355260" y="113801"/>
                      <a:pt x="355260" y="127487"/>
                    </a:cubicBezTo>
                    <a:cubicBezTo>
                      <a:pt x="355260" y="141173"/>
                      <a:pt x="344506" y="151926"/>
                      <a:pt x="330821" y="151926"/>
                    </a:cubicBezTo>
                    <a:close/>
                  </a:path>
                </a:pathLst>
              </a:custGeom>
              <a:solidFill>
                <a:srgbClr val="00BCF2"/>
              </a:solidFill>
              <a:ln w="4858" cap="flat">
                <a:noFill/>
                <a:prstDash val="solid"/>
                <a:miter/>
              </a:ln>
            </p:spPr>
            <p:txBody>
              <a:bodyPr rtlCol="0" anchor="ctr"/>
              <a:lstStyle/>
              <a:p>
                <a:pPr defTabSz="914367">
                  <a:defRPr/>
                </a:pPr>
                <a:endParaRPr lang="en-US">
                  <a:solidFill>
                    <a:srgbClr val="0078D4"/>
                  </a:solidFill>
                  <a:latin typeface="Segoe UI"/>
                </a:endParaRPr>
              </a:p>
            </p:txBody>
          </p:sp>
          <p:sp>
            <p:nvSpPr>
              <p:cNvPr id="50" name="Freeform: Shape 49">
                <a:extLst>
                  <a:ext uri="{FF2B5EF4-FFF2-40B4-BE49-F238E27FC236}">
                    <a16:creationId xmlns:a16="http://schemas.microsoft.com/office/drawing/2014/main" id="{C12E7EF4-1411-4A75-AB1A-AA66FB93D80E}"/>
                  </a:ext>
                </a:extLst>
              </p:cNvPr>
              <p:cNvSpPr/>
              <p:nvPr/>
            </p:nvSpPr>
            <p:spPr>
              <a:xfrm>
                <a:off x="2366322" y="3532700"/>
                <a:ext cx="151523" cy="146635"/>
              </a:xfrm>
              <a:custGeom>
                <a:avLst/>
                <a:gdLst>
                  <a:gd name="connsiteX0" fmla="*/ 99137 w 151522"/>
                  <a:gd name="connsiteY0" fmla="*/ 1870 h 146635"/>
                  <a:gd name="connsiteX1" fmla="*/ 45371 w 151522"/>
                  <a:gd name="connsiteY1" fmla="*/ 55636 h 146635"/>
                  <a:gd name="connsiteX2" fmla="*/ 52214 w 151522"/>
                  <a:gd name="connsiteY2" fmla="*/ 82030 h 146635"/>
                  <a:gd name="connsiteX3" fmla="*/ 1870 w 151522"/>
                  <a:gd name="connsiteY3" fmla="*/ 132375 h 146635"/>
                  <a:gd name="connsiteX4" fmla="*/ 26309 w 151522"/>
                  <a:gd name="connsiteY4" fmla="*/ 148993 h 146635"/>
                  <a:gd name="connsiteX5" fmla="*/ 72743 w 151522"/>
                  <a:gd name="connsiteY5" fmla="*/ 102559 h 146635"/>
                  <a:gd name="connsiteX6" fmla="*/ 99137 w 151522"/>
                  <a:gd name="connsiteY6" fmla="*/ 109402 h 146635"/>
                  <a:gd name="connsiteX7" fmla="*/ 152904 w 151522"/>
                  <a:gd name="connsiteY7" fmla="*/ 55636 h 146635"/>
                  <a:gd name="connsiteX8" fmla="*/ 99137 w 151522"/>
                  <a:gd name="connsiteY8" fmla="*/ 1870 h 146635"/>
                  <a:gd name="connsiteX9" fmla="*/ 99137 w 151522"/>
                  <a:gd name="connsiteY9" fmla="*/ 80075 h 146635"/>
                  <a:gd name="connsiteX10" fmla="*/ 74698 w 151522"/>
                  <a:gd name="connsiteY10" fmla="*/ 55636 h 146635"/>
                  <a:gd name="connsiteX11" fmla="*/ 99137 w 151522"/>
                  <a:gd name="connsiteY11" fmla="*/ 31197 h 146635"/>
                  <a:gd name="connsiteX12" fmla="*/ 123577 w 151522"/>
                  <a:gd name="connsiteY12" fmla="*/ 55636 h 146635"/>
                  <a:gd name="connsiteX13" fmla="*/ 99137 w 151522"/>
                  <a:gd name="connsiteY13" fmla="*/ 80075 h 146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522" h="146635">
                    <a:moveTo>
                      <a:pt x="99137" y="1870"/>
                    </a:moveTo>
                    <a:cubicBezTo>
                      <a:pt x="69322" y="1870"/>
                      <a:pt x="45371" y="25820"/>
                      <a:pt x="45371" y="55636"/>
                    </a:cubicBezTo>
                    <a:cubicBezTo>
                      <a:pt x="45371" y="64923"/>
                      <a:pt x="47815" y="74210"/>
                      <a:pt x="52214" y="82030"/>
                    </a:cubicBezTo>
                    <a:lnTo>
                      <a:pt x="1870" y="132375"/>
                    </a:lnTo>
                    <a:cubicBezTo>
                      <a:pt x="10179" y="138240"/>
                      <a:pt x="18488" y="144106"/>
                      <a:pt x="26309" y="148993"/>
                    </a:cubicBezTo>
                    <a:lnTo>
                      <a:pt x="72743" y="102559"/>
                    </a:lnTo>
                    <a:cubicBezTo>
                      <a:pt x="80564" y="106958"/>
                      <a:pt x="89362" y="109402"/>
                      <a:pt x="99137" y="109402"/>
                    </a:cubicBezTo>
                    <a:cubicBezTo>
                      <a:pt x="128953" y="109402"/>
                      <a:pt x="152904" y="85452"/>
                      <a:pt x="152904" y="55636"/>
                    </a:cubicBezTo>
                    <a:cubicBezTo>
                      <a:pt x="152904" y="25820"/>
                      <a:pt x="128953" y="1870"/>
                      <a:pt x="99137" y="1870"/>
                    </a:cubicBezTo>
                    <a:close/>
                    <a:moveTo>
                      <a:pt x="99137" y="80075"/>
                    </a:moveTo>
                    <a:cubicBezTo>
                      <a:pt x="85451" y="80075"/>
                      <a:pt x="74698" y="69322"/>
                      <a:pt x="74698" y="55636"/>
                    </a:cubicBezTo>
                    <a:cubicBezTo>
                      <a:pt x="74698" y="41950"/>
                      <a:pt x="85451" y="31197"/>
                      <a:pt x="99137" y="31197"/>
                    </a:cubicBezTo>
                    <a:cubicBezTo>
                      <a:pt x="112823" y="31197"/>
                      <a:pt x="123577" y="41950"/>
                      <a:pt x="123577" y="55636"/>
                    </a:cubicBezTo>
                    <a:cubicBezTo>
                      <a:pt x="123577" y="69322"/>
                      <a:pt x="112823" y="80075"/>
                      <a:pt x="99137" y="80075"/>
                    </a:cubicBezTo>
                    <a:close/>
                  </a:path>
                </a:pathLst>
              </a:custGeom>
              <a:solidFill>
                <a:srgbClr val="00BCF2"/>
              </a:solidFill>
              <a:ln w="4858" cap="flat">
                <a:noFill/>
                <a:prstDash val="solid"/>
                <a:miter/>
              </a:ln>
            </p:spPr>
            <p:txBody>
              <a:bodyPr rtlCol="0" anchor="ctr"/>
              <a:lstStyle/>
              <a:p>
                <a:pPr defTabSz="914367">
                  <a:defRPr/>
                </a:pPr>
                <a:endParaRPr lang="en-US">
                  <a:solidFill>
                    <a:srgbClr val="0078D4"/>
                  </a:solidFill>
                  <a:latin typeface="Segoe UI"/>
                </a:endParaRPr>
              </a:p>
            </p:txBody>
          </p:sp>
        </p:grpSp>
        <p:sp>
          <p:nvSpPr>
            <p:cNvPr id="45" name="Oval 102">
              <a:extLst>
                <a:ext uri="{FF2B5EF4-FFF2-40B4-BE49-F238E27FC236}">
                  <a16:creationId xmlns:a16="http://schemas.microsoft.com/office/drawing/2014/main" id="{962AACFF-677E-4F6A-A6AB-BA4DBE7E5B63}"/>
                </a:ext>
              </a:extLst>
            </p:cNvPr>
            <p:cNvSpPr>
              <a:spLocks noChangeArrowheads="1"/>
            </p:cNvSpPr>
            <p:nvPr/>
          </p:nvSpPr>
          <p:spPr bwMode="auto">
            <a:xfrm>
              <a:off x="3903920" y="4155255"/>
              <a:ext cx="1114982" cy="1114982"/>
            </a:xfrm>
            <a:prstGeom prst="ellipse">
              <a:avLst/>
            </a:prstGeom>
            <a:noFill/>
            <a:ln w="127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defTabSz="932114" fontAlgn="base">
                <a:spcBef>
                  <a:spcPct val="0"/>
                </a:spcBef>
                <a:spcAft>
                  <a:spcPct val="0"/>
                </a:spcAft>
                <a:defRPr/>
              </a:pPr>
              <a:endParaRPr lang="de-DE" sz="2000">
                <a:solidFill>
                  <a:srgbClr val="0078D4"/>
                </a:solidFill>
                <a:latin typeface="Segoe UI"/>
                <a:cs typeface="Segoe UI" pitchFamily="34" charset="0"/>
              </a:endParaRPr>
            </a:p>
          </p:txBody>
        </p:sp>
      </p:grpSp>
      <p:grpSp>
        <p:nvGrpSpPr>
          <p:cNvPr id="51" name="Group 50">
            <a:extLst>
              <a:ext uri="{FF2B5EF4-FFF2-40B4-BE49-F238E27FC236}">
                <a16:creationId xmlns:a16="http://schemas.microsoft.com/office/drawing/2014/main" id="{BA1F146E-54D1-489E-A6E1-0929F0A3A5AA}"/>
              </a:ext>
            </a:extLst>
          </p:cNvPr>
          <p:cNvGrpSpPr>
            <a:grpSpLocks noChangeAspect="1"/>
          </p:cNvGrpSpPr>
          <p:nvPr/>
        </p:nvGrpSpPr>
        <p:grpSpPr>
          <a:xfrm>
            <a:off x="7779907" y="1441271"/>
            <a:ext cx="1085753" cy="1085753"/>
            <a:chOff x="5466464" y="1399081"/>
            <a:chExt cx="1207008" cy="1207008"/>
          </a:xfrm>
        </p:grpSpPr>
        <p:sp useBgFill="1">
          <p:nvSpPr>
            <p:cNvPr id="53" name="Oval 52">
              <a:extLst>
                <a:ext uri="{FF2B5EF4-FFF2-40B4-BE49-F238E27FC236}">
                  <a16:creationId xmlns:a16="http://schemas.microsoft.com/office/drawing/2014/main" id="{6FFD5FC9-568D-42CC-AB36-3595D0B1D9CD}"/>
                </a:ext>
              </a:extLst>
            </p:cNvPr>
            <p:cNvSpPr/>
            <p:nvPr/>
          </p:nvSpPr>
          <p:spPr bwMode="auto">
            <a:xfrm>
              <a:off x="5466464" y="1399081"/>
              <a:ext cx="1207008" cy="1207008"/>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793" rIns="0" bIns="42793" numCol="1" rtlCol="0" anchor="ctr" anchorCtr="0" compatLnSpc="1">
              <a:prstTxWarp prst="textNoShape">
                <a:avLst/>
              </a:prstTxWarp>
            </a:bodyPr>
            <a:lstStyle/>
            <a:p>
              <a:pPr algn="ctr" defTabSz="855495" fontAlgn="base">
                <a:spcBef>
                  <a:spcPct val="0"/>
                </a:spcBef>
                <a:spcAft>
                  <a:spcPct val="0"/>
                </a:spcAft>
                <a:defRPr/>
              </a:pPr>
              <a:endParaRPr lang="en-US" sz="1468">
                <a:solidFill>
                  <a:srgbClr val="0078D4"/>
                </a:solidFill>
                <a:latin typeface="Segoe UI"/>
              </a:endParaRPr>
            </a:p>
          </p:txBody>
        </p:sp>
        <p:sp>
          <p:nvSpPr>
            <p:cNvPr id="54" name="Oval 53">
              <a:extLst>
                <a:ext uri="{FF2B5EF4-FFF2-40B4-BE49-F238E27FC236}">
                  <a16:creationId xmlns:a16="http://schemas.microsoft.com/office/drawing/2014/main" id="{4E92B05D-9D06-456B-BFCD-F82DB571BA69}"/>
                </a:ext>
              </a:extLst>
            </p:cNvPr>
            <p:cNvSpPr/>
            <p:nvPr/>
          </p:nvSpPr>
          <p:spPr bwMode="auto">
            <a:xfrm>
              <a:off x="5512476" y="1445094"/>
              <a:ext cx="1114984" cy="1114982"/>
            </a:xfrm>
            <a:prstGeom prst="ellipse">
              <a:avLst/>
            </a:prstGeom>
            <a:solidFill>
              <a:schemeClr val="bg1"/>
            </a:solidFill>
            <a:ln>
              <a:noFill/>
            </a:ln>
            <a:effectLst>
              <a:outerShdw blurRad="2540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defTabSz="932114" fontAlgn="base">
                <a:spcBef>
                  <a:spcPct val="0"/>
                </a:spcBef>
                <a:spcAft>
                  <a:spcPct val="0"/>
                </a:spcAft>
                <a:defRPr/>
              </a:pPr>
              <a:endParaRPr lang="en-US" sz="2000">
                <a:solidFill>
                  <a:srgbClr val="0078D4"/>
                </a:solidFill>
                <a:latin typeface="Segoe UI"/>
                <a:cs typeface="Segoe UI" pitchFamily="34" charset="0"/>
              </a:endParaRPr>
            </a:p>
          </p:txBody>
        </p:sp>
        <p:grpSp>
          <p:nvGrpSpPr>
            <p:cNvPr id="55" name="Group 54">
              <a:extLst>
                <a:ext uri="{FF2B5EF4-FFF2-40B4-BE49-F238E27FC236}">
                  <a16:creationId xmlns:a16="http://schemas.microsoft.com/office/drawing/2014/main" id="{0566DDCB-3E27-483D-BF4C-981440844CC2}"/>
                </a:ext>
              </a:extLst>
            </p:cNvPr>
            <p:cNvGrpSpPr>
              <a:grpSpLocks noChangeAspect="1"/>
            </p:cNvGrpSpPr>
            <p:nvPr/>
          </p:nvGrpSpPr>
          <p:grpSpPr>
            <a:xfrm>
              <a:off x="5869360" y="1685124"/>
              <a:ext cx="401216" cy="596818"/>
              <a:chOff x="8378599" y="3288758"/>
              <a:chExt cx="781198" cy="1162051"/>
            </a:xfrm>
          </p:grpSpPr>
          <p:sp>
            <p:nvSpPr>
              <p:cNvPr id="57" name="Freeform: Shape 56">
                <a:extLst>
                  <a:ext uri="{FF2B5EF4-FFF2-40B4-BE49-F238E27FC236}">
                    <a16:creationId xmlns:a16="http://schemas.microsoft.com/office/drawing/2014/main" id="{1AEF47F4-5FF8-4ACE-AA2A-3F37BC427299}"/>
                  </a:ext>
                </a:extLst>
              </p:cNvPr>
              <p:cNvSpPr/>
              <p:nvPr/>
            </p:nvSpPr>
            <p:spPr>
              <a:xfrm>
                <a:off x="8558770" y="3288758"/>
                <a:ext cx="485775" cy="590550"/>
              </a:xfrm>
              <a:custGeom>
                <a:avLst/>
                <a:gdLst>
                  <a:gd name="connsiteX0" fmla="*/ 111919 w 485775"/>
                  <a:gd name="connsiteY0" fmla="*/ 590074 h 590550"/>
                  <a:gd name="connsiteX1" fmla="*/ 7144 w 485775"/>
                  <a:gd name="connsiteY1" fmla="*/ 590074 h 590550"/>
                  <a:gd name="connsiteX2" fmla="*/ 7144 w 485775"/>
                  <a:gd name="connsiteY2" fmla="*/ 245269 h 590550"/>
                  <a:gd name="connsiteX3" fmla="*/ 245269 w 485775"/>
                  <a:gd name="connsiteY3" fmla="*/ 7144 h 590550"/>
                  <a:gd name="connsiteX4" fmla="*/ 483394 w 485775"/>
                  <a:gd name="connsiteY4" fmla="*/ 245269 h 590550"/>
                  <a:gd name="connsiteX5" fmla="*/ 483394 w 485775"/>
                  <a:gd name="connsiteY5" fmla="*/ 350996 h 590550"/>
                  <a:gd name="connsiteX6" fmla="*/ 377666 w 485775"/>
                  <a:gd name="connsiteY6" fmla="*/ 350996 h 590550"/>
                  <a:gd name="connsiteX7" fmla="*/ 377666 w 485775"/>
                  <a:gd name="connsiteY7" fmla="*/ 245269 h 590550"/>
                  <a:gd name="connsiteX8" fmla="*/ 244316 w 485775"/>
                  <a:gd name="connsiteY8" fmla="*/ 111919 h 590550"/>
                  <a:gd name="connsiteX9" fmla="*/ 110966 w 485775"/>
                  <a:gd name="connsiteY9" fmla="*/ 245269 h 590550"/>
                  <a:gd name="connsiteX10" fmla="*/ 110966 w 485775"/>
                  <a:gd name="connsiteY10" fmla="*/ 590074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775" h="590550">
                    <a:moveTo>
                      <a:pt x="111919" y="590074"/>
                    </a:moveTo>
                    <a:lnTo>
                      <a:pt x="7144" y="590074"/>
                    </a:lnTo>
                    <a:lnTo>
                      <a:pt x="7144" y="245269"/>
                    </a:lnTo>
                    <a:cubicBezTo>
                      <a:pt x="7144" y="113824"/>
                      <a:pt x="113824" y="7144"/>
                      <a:pt x="245269" y="7144"/>
                    </a:cubicBezTo>
                    <a:cubicBezTo>
                      <a:pt x="376714" y="7144"/>
                      <a:pt x="483394" y="113824"/>
                      <a:pt x="483394" y="245269"/>
                    </a:cubicBezTo>
                    <a:lnTo>
                      <a:pt x="483394" y="350996"/>
                    </a:lnTo>
                    <a:lnTo>
                      <a:pt x="377666" y="350996"/>
                    </a:lnTo>
                    <a:lnTo>
                      <a:pt x="377666" y="245269"/>
                    </a:lnTo>
                    <a:cubicBezTo>
                      <a:pt x="377666" y="171926"/>
                      <a:pt x="317659" y="111919"/>
                      <a:pt x="244316" y="111919"/>
                    </a:cubicBezTo>
                    <a:cubicBezTo>
                      <a:pt x="170974" y="111919"/>
                      <a:pt x="110966" y="171926"/>
                      <a:pt x="110966" y="245269"/>
                    </a:cubicBezTo>
                    <a:lnTo>
                      <a:pt x="110966" y="590074"/>
                    </a:lnTo>
                    <a:close/>
                  </a:path>
                </a:pathLst>
              </a:custGeom>
              <a:solidFill>
                <a:srgbClr val="0078D7"/>
              </a:solidFill>
              <a:ln w="9525" cap="flat">
                <a:noFill/>
                <a:prstDash val="solid"/>
                <a:miter/>
              </a:ln>
            </p:spPr>
            <p:txBody>
              <a:bodyPr rtlCol="0" anchor="ctr"/>
              <a:lstStyle/>
              <a:p>
                <a:pPr defTabSz="914367">
                  <a:defRPr/>
                </a:pPr>
                <a:endParaRPr lang="en-US">
                  <a:solidFill>
                    <a:srgbClr val="0078D4"/>
                  </a:solidFill>
                  <a:latin typeface="Segoe UI"/>
                </a:endParaRPr>
              </a:p>
            </p:txBody>
          </p:sp>
          <p:sp>
            <p:nvSpPr>
              <p:cNvPr id="58" name="Freeform: Shape 57">
                <a:extLst>
                  <a:ext uri="{FF2B5EF4-FFF2-40B4-BE49-F238E27FC236}">
                    <a16:creationId xmlns:a16="http://schemas.microsoft.com/office/drawing/2014/main" id="{88AF83E5-EDAC-4CE3-8472-3B68376F8CE8}"/>
                  </a:ext>
                </a:extLst>
              </p:cNvPr>
              <p:cNvSpPr/>
              <p:nvPr/>
            </p:nvSpPr>
            <p:spPr>
              <a:xfrm>
                <a:off x="8378599" y="3803109"/>
                <a:ext cx="781198" cy="647700"/>
              </a:xfrm>
              <a:custGeom>
                <a:avLst/>
                <a:gdLst>
                  <a:gd name="connsiteX0" fmla="*/ 7144 w 819150"/>
                  <a:gd name="connsiteY0" fmla="*/ 7144 h 647700"/>
                  <a:gd name="connsiteX1" fmla="*/ 813911 w 819150"/>
                  <a:gd name="connsiteY1" fmla="*/ 7144 h 647700"/>
                  <a:gd name="connsiteX2" fmla="*/ 813911 w 819150"/>
                  <a:gd name="connsiteY2" fmla="*/ 645319 h 647700"/>
                  <a:gd name="connsiteX3" fmla="*/ 7144 w 819150"/>
                  <a:gd name="connsiteY3" fmla="*/ 645319 h 647700"/>
                </a:gdLst>
                <a:ahLst/>
                <a:cxnLst>
                  <a:cxn ang="0">
                    <a:pos x="connsiteX0" y="connsiteY0"/>
                  </a:cxn>
                  <a:cxn ang="0">
                    <a:pos x="connsiteX1" y="connsiteY1"/>
                  </a:cxn>
                  <a:cxn ang="0">
                    <a:pos x="connsiteX2" y="connsiteY2"/>
                  </a:cxn>
                  <a:cxn ang="0">
                    <a:pos x="connsiteX3" y="connsiteY3"/>
                  </a:cxn>
                </a:cxnLst>
                <a:rect l="l" t="t" r="r" b="b"/>
                <a:pathLst>
                  <a:path w="819150" h="647700">
                    <a:moveTo>
                      <a:pt x="7144" y="7144"/>
                    </a:moveTo>
                    <a:lnTo>
                      <a:pt x="813911" y="7144"/>
                    </a:lnTo>
                    <a:lnTo>
                      <a:pt x="813911" y="645319"/>
                    </a:lnTo>
                    <a:lnTo>
                      <a:pt x="7144" y="645319"/>
                    </a:lnTo>
                    <a:close/>
                  </a:path>
                </a:pathLst>
              </a:custGeom>
              <a:solidFill>
                <a:srgbClr val="0078D7"/>
              </a:solidFill>
              <a:ln w="9525" cap="flat">
                <a:noFill/>
                <a:prstDash val="solid"/>
                <a:miter/>
              </a:ln>
            </p:spPr>
            <p:txBody>
              <a:bodyPr rtlCol="0" anchor="ctr"/>
              <a:lstStyle/>
              <a:p>
                <a:pPr defTabSz="914367">
                  <a:defRPr/>
                </a:pPr>
                <a:endParaRPr lang="en-US">
                  <a:solidFill>
                    <a:srgbClr val="0078D4"/>
                  </a:solidFill>
                  <a:latin typeface="Segoe UI"/>
                </a:endParaRPr>
              </a:p>
            </p:txBody>
          </p:sp>
          <p:sp>
            <p:nvSpPr>
              <p:cNvPr id="59" name="Freeform: Shape 58">
                <a:extLst>
                  <a:ext uri="{FF2B5EF4-FFF2-40B4-BE49-F238E27FC236}">
                    <a16:creationId xmlns:a16="http://schemas.microsoft.com/office/drawing/2014/main" id="{C9763441-3346-4882-9E58-369CB137B7AE}"/>
                  </a:ext>
                </a:extLst>
              </p:cNvPr>
              <p:cNvSpPr/>
              <p:nvPr/>
            </p:nvSpPr>
            <p:spPr>
              <a:xfrm>
                <a:off x="8378599" y="3803109"/>
                <a:ext cx="190648" cy="647700"/>
              </a:xfrm>
              <a:custGeom>
                <a:avLst/>
                <a:gdLst>
                  <a:gd name="connsiteX0" fmla="*/ 7144 w 228600"/>
                  <a:gd name="connsiteY0" fmla="*/ 7144 h 647700"/>
                  <a:gd name="connsiteX1" fmla="*/ 225266 w 228600"/>
                  <a:gd name="connsiteY1" fmla="*/ 7144 h 647700"/>
                  <a:gd name="connsiteX2" fmla="*/ 225266 w 228600"/>
                  <a:gd name="connsiteY2" fmla="*/ 645319 h 647700"/>
                  <a:gd name="connsiteX3" fmla="*/ 7144 w 228600"/>
                  <a:gd name="connsiteY3" fmla="*/ 645319 h 647700"/>
                </a:gdLst>
                <a:ahLst/>
                <a:cxnLst>
                  <a:cxn ang="0">
                    <a:pos x="connsiteX0" y="connsiteY0"/>
                  </a:cxn>
                  <a:cxn ang="0">
                    <a:pos x="connsiteX1" y="connsiteY1"/>
                  </a:cxn>
                  <a:cxn ang="0">
                    <a:pos x="connsiteX2" y="connsiteY2"/>
                  </a:cxn>
                  <a:cxn ang="0">
                    <a:pos x="connsiteX3" y="connsiteY3"/>
                  </a:cxn>
                </a:cxnLst>
                <a:rect l="l" t="t" r="r" b="b"/>
                <a:pathLst>
                  <a:path w="228600" h="647700">
                    <a:moveTo>
                      <a:pt x="7144" y="7144"/>
                    </a:moveTo>
                    <a:lnTo>
                      <a:pt x="225266" y="7144"/>
                    </a:lnTo>
                    <a:lnTo>
                      <a:pt x="225266" y="645319"/>
                    </a:lnTo>
                    <a:lnTo>
                      <a:pt x="7144" y="645319"/>
                    </a:lnTo>
                    <a:close/>
                  </a:path>
                </a:pathLst>
              </a:custGeom>
              <a:solidFill>
                <a:srgbClr val="0064B5"/>
              </a:solidFill>
              <a:ln w="9525" cap="flat">
                <a:noFill/>
                <a:prstDash val="solid"/>
                <a:miter/>
              </a:ln>
            </p:spPr>
            <p:txBody>
              <a:bodyPr rtlCol="0" anchor="ctr"/>
              <a:lstStyle/>
              <a:p>
                <a:pPr defTabSz="914367">
                  <a:defRPr/>
                </a:pPr>
                <a:endParaRPr lang="en-US">
                  <a:solidFill>
                    <a:srgbClr val="0078D4"/>
                  </a:solidFill>
                  <a:latin typeface="Segoe UI"/>
                </a:endParaRPr>
              </a:p>
            </p:txBody>
          </p:sp>
          <p:grpSp>
            <p:nvGrpSpPr>
              <p:cNvPr id="60" name="Group 59">
                <a:extLst>
                  <a:ext uri="{FF2B5EF4-FFF2-40B4-BE49-F238E27FC236}">
                    <a16:creationId xmlns:a16="http://schemas.microsoft.com/office/drawing/2014/main" id="{42D972F4-7238-4CBF-9316-A46E6D15242F}"/>
                  </a:ext>
                </a:extLst>
              </p:cNvPr>
              <p:cNvGrpSpPr/>
              <p:nvPr/>
            </p:nvGrpSpPr>
            <p:grpSpPr>
              <a:xfrm>
                <a:off x="8663783" y="3932889"/>
                <a:ext cx="388142" cy="388140"/>
                <a:chOff x="9357768" y="3766370"/>
                <a:chExt cx="426260" cy="426259"/>
              </a:xfrm>
            </p:grpSpPr>
            <p:sp>
              <p:nvSpPr>
                <p:cNvPr id="61" name="Freeform: Shape 60">
                  <a:extLst>
                    <a:ext uri="{FF2B5EF4-FFF2-40B4-BE49-F238E27FC236}">
                      <a16:creationId xmlns:a16="http://schemas.microsoft.com/office/drawing/2014/main" id="{B081A7D9-1371-4985-9BD1-67610F934F4C}"/>
                    </a:ext>
                  </a:extLst>
                </p:cNvPr>
                <p:cNvSpPr/>
                <p:nvPr/>
              </p:nvSpPr>
              <p:spPr>
                <a:xfrm>
                  <a:off x="9357768" y="3766370"/>
                  <a:ext cx="426260" cy="426259"/>
                </a:xfrm>
                <a:custGeom>
                  <a:avLst/>
                  <a:gdLst>
                    <a:gd name="connsiteX0" fmla="*/ 370257 w 426259"/>
                    <a:gd name="connsiteY0" fmla="*/ 192950 h 426258"/>
                    <a:gd name="connsiteX1" fmla="*/ 425126 w 426259"/>
                    <a:gd name="connsiteY1" fmla="*/ 159394 h 426258"/>
                    <a:gd name="connsiteX2" fmla="*/ 402453 w 426259"/>
                    <a:gd name="connsiteY2" fmla="*/ 104978 h 426258"/>
                    <a:gd name="connsiteX3" fmla="*/ 339421 w 426259"/>
                    <a:gd name="connsiteY3" fmla="*/ 119942 h 426258"/>
                    <a:gd name="connsiteX4" fmla="*/ 309038 w 426259"/>
                    <a:gd name="connsiteY4" fmla="*/ 90013 h 426258"/>
                    <a:gd name="connsiteX5" fmla="*/ 324456 w 426259"/>
                    <a:gd name="connsiteY5" fmla="*/ 26528 h 426258"/>
                    <a:gd name="connsiteX6" fmla="*/ 270040 w 426259"/>
                    <a:gd name="connsiteY6" fmla="*/ 3854 h 426258"/>
                    <a:gd name="connsiteX7" fmla="*/ 236030 w 426259"/>
                    <a:gd name="connsiteY7" fmla="*/ 59177 h 426258"/>
                    <a:gd name="connsiteX8" fmla="*/ 213810 w 426259"/>
                    <a:gd name="connsiteY8" fmla="*/ 57364 h 426258"/>
                    <a:gd name="connsiteX9" fmla="*/ 193404 w 426259"/>
                    <a:gd name="connsiteY9" fmla="*/ 58724 h 426258"/>
                    <a:gd name="connsiteX10" fmla="*/ 159394 w 426259"/>
                    <a:gd name="connsiteY10" fmla="*/ 3401 h 426258"/>
                    <a:gd name="connsiteX11" fmla="*/ 104978 w 426259"/>
                    <a:gd name="connsiteY11" fmla="*/ 26074 h 426258"/>
                    <a:gd name="connsiteX12" fmla="*/ 119942 w 426259"/>
                    <a:gd name="connsiteY12" fmla="*/ 88653 h 426258"/>
                    <a:gd name="connsiteX13" fmla="*/ 88653 w 426259"/>
                    <a:gd name="connsiteY13" fmla="*/ 119035 h 426258"/>
                    <a:gd name="connsiteX14" fmla="*/ 26528 w 426259"/>
                    <a:gd name="connsiteY14" fmla="*/ 104071 h 426258"/>
                    <a:gd name="connsiteX15" fmla="*/ 3854 w 426259"/>
                    <a:gd name="connsiteY15" fmla="*/ 158487 h 426258"/>
                    <a:gd name="connsiteX16" fmla="*/ 57364 w 426259"/>
                    <a:gd name="connsiteY16" fmla="*/ 191590 h 426258"/>
                    <a:gd name="connsiteX17" fmla="*/ 56910 w 426259"/>
                    <a:gd name="connsiteY17" fmla="*/ 236936 h 426258"/>
                    <a:gd name="connsiteX18" fmla="*/ 3401 w 426259"/>
                    <a:gd name="connsiteY18" fmla="*/ 269133 h 426258"/>
                    <a:gd name="connsiteX19" fmla="*/ 26074 w 426259"/>
                    <a:gd name="connsiteY19" fmla="*/ 323549 h 426258"/>
                    <a:gd name="connsiteX20" fmla="*/ 86386 w 426259"/>
                    <a:gd name="connsiteY20" fmla="*/ 309491 h 426258"/>
                    <a:gd name="connsiteX21" fmla="*/ 119035 w 426259"/>
                    <a:gd name="connsiteY21" fmla="*/ 342141 h 426258"/>
                    <a:gd name="connsiteX22" fmla="*/ 104071 w 426259"/>
                    <a:gd name="connsiteY22" fmla="*/ 402452 h 426258"/>
                    <a:gd name="connsiteX23" fmla="*/ 158487 w 426259"/>
                    <a:gd name="connsiteY23" fmla="*/ 425125 h 426258"/>
                    <a:gd name="connsiteX24" fmla="*/ 190683 w 426259"/>
                    <a:gd name="connsiteY24" fmla="*/ 372523 h 426258"/>
                    <a:gd name="connsiteX25" fmla="*/ 213357 w 426259"/>
                    <a:gd name="connsiteY25" fmla="*/ 374337 h 426258"/>
                    <a:gd name="connsiteX26" fmla="*/ 236937 w 426259"/>
                    <a:gd name="connsiteY26" fmla="*/ 372523 h 426258"/>
                    <a:gd name="connsiteX27" fmla="*/ 269133 w 426259"/>
                    <a:gd name="connsiteY27" fmla="*/ 425125 h 426258"/>
                    <a:gd name="connsiteX28" fmla="*/ 323549 w 426259"/>
                    <a:gd name="connsiteY28" fmla="*/ 402452 h 426258"/>
                    <a:gd name="connsiteX29" fmla="*/ 309038 w 426259"/>
                    <a:gd name="connsiteY29" fmla="*/ 341687 h 426258"/>
                    <a:gd name="connsiteX30" fmla="*/ 340781 w 426259"/>
                    <a:gd name="connsiteY30" fmla="*/ 309491 h 426258"/>
                    <a:gd name="connsiteX31" fmla="*/ 402453 w 426259"/>
                    <a:gd name="connsiteY31" fmla="*/ 324456 h 426258"/>
                    <a:gd name="connsiteX32" fmla="*/ 425126 w 426259"/>
                    <a:gd name="connsiteY32" fmla="*/ 270040 h 426258"/>
                    <a:gd name="connsiteX33" fmla="*/ 370710 w 426259"/>
                    <a:gd name="connsiteY33" fmla="*/ 236483 h 426258"/>
                    <a:gd name="connsiteX34" fmla="*/ 370257 w 426259"/>
                    <a:gd name="connsiteY34" fmla="*/ 192950 h 426258"/>
                    <a:gd name="connsiteX35" fmla="*/ 214264 w 426259"/>
                    <a:gd name="connsiteY35" fmla="*/ 306770 h 426258"/>
                    <a:gd name="connsiteX36" fmla="*/ 122210 w 426259"/>
                    <a:gd name="connsiteY36" fmla="*/ 214717 h 426258"/>
                    <a:gd name="connsiteX37" fmla="*/ 214264 w 426259"/>
                    <a:gd name="connsiteY37" fmla="*/ 122663 h 426258"/>
                    <a:gd name="connsiteX38" fmla="*/ 306318 w 426259"/>
                    <a:gd name="connsiteY38" fmla="*/ 214717 h 426258"/>
                    <a:gd name="connsiteX39" fmla="*/ 214264 w 426259"/>
                    <a:gd name="connsiteY39" fmla="*/ 306770 h 42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26259" h="426258">
                      <a:moveTo>
                        <a:pt x="370257" y="192950"/>
                      </a:moveTo>
                      <a:lnTo>
                        <a:pt x="425126" y="159394"/>
                      </a:lnTo>
                      <a:lnTo>
                        <a:pt x="402453" y="104978"/>
                      </a:lnTo>
                      <a:lnTo>
                        <a:pt x="339421" y="119942"/>
                      </a:lnTo>
                      <a:cubicBezTo>
                        <a:pt x="330805" y="108605"/>
                        <a:pt x="320829" y="98629"/>
                        <a:pt x="309038" y="90013"/>
                      </a:cubicBezTo>
                      <a:lnTo>
                        <a:pt x="324456" y="26528"/>
                      </a:lnTo>
                      <a:lnTo>
                        <a:pt x="270040" y="3854"/>
                      </a:lnTo>
                      <a:lnTo>
                        <a:pt x="236030" y="59177"/>
                      </a:lnTo>
                      <a:cubicBezTo>
                        <a:pt x="228775" y="58271"/>
                        <a:pt x="221066" y="57364"/>
                        <a:pt x="213810" y="57364"/>
                      </a:cubicBezTo>
                      <a:cubicBezTo>
                        <a:pt x="207008" y="57364"/>
                        <a:pt x="200206" y="57817"/>
                        <a:pt x="193404" y="58724"/>
                      </a:cubicBezTo>
                      <a:lnTo>
                        <a:pt x="159394" y="3401"/>
                      </a:lnTo>
                      <a:lnTo>
                        <a:pt x="104978" y="26074"/>
                      </a:lnTo>
                      <a:lnTo>
                        <a:pt x="119942" y="88653"/>
                      </a:lnTo>
                      <a:cubicBezTo>
                        <a:pt x="108152" y="97269"/>
                        <a:pt x="97722" y="107245"/>
                        <a:pt x="88653" y="119035"/>
                      </a:cubicBezTo>
                      <a:lnTo>
                        <a:pt x="26528" y="104071"/>
                      </a:lnTo>
                      <a:lnTo>
                        <a:pt x="3854" y="158487"/>
                      </a:lnTo>
                      <a:lnTo>
                        <a:pt x="57364" y="191590"/>
                      </a:lnTo>
                      <a:cubicBezTo>
                        <a:pt x="55096" y="206554"/>
                        <a:pt x="54643" y="221972"/>
                        <a:pt x="56910" y="236936"/>
                      </a:cubicBezTo>
                      <a:lnTo>
                        <a:pt x="3401" y="269133"/>
                      </a:lnTo>
                      <a:lnTo>
                        <a:pt x="26074" y="323549"/>
                      </a:lnTo>
                      <a:lnTo>
                        <a:pt x="86386" y="309491"/>
                      </a:lnTo>
                      <a:cubicBezTo>
                        <a:pt x="95455" y="321735"/>
                        <a:pt x="106338" y="333071"/>
                        <a:pt x="119035" y="342141"/>
                      </a:cubicBezTo>
                      <a:lnTo>
                        <a:pt x="104071" y="402452"/>
                      </a:lnTo>
                      <a:lnTo>
                        <a:pt x="158487" y="425125"/>
                      </a:lnTo>
                      <a:lnTo>
                        <a:pt x="190683" y="372523"/>
                      </a:lnTo>
                      <a:cubicBezTo>
                        <a:pt x="198392" y="373430"/>
                        <a:pt x="206101" y="374337"/>
                        <a:pt x="213357" y="374337"/>
                      </a:cubicBezTo>
                      <a:cubicBezTo>
                        <a:pt x="221066" y="374337"/>
                        <a:pt x="229228" y="373883"/>
                        <a:pt x="236937" y="372523"/>
                      </a:cubicBezTo>
                      <a:lnTo>
                        <a:pt x="269133" y="425125"/>
                      </a:lnTo>
                      <a:lnTo>
                        <a:pt x="323549" y="402452"/>
                      </a:lnTo>
                      <a:lnTo>
                        <a:pt x="309038" y="341687"/>
                      </a:lnTo>
                      <a:cubicBezTo>
                        <a:pt x="320829" y="332618"/>
                        <a:pt x="331712" y="321735"/>
                        <a:pt x="340781" y="309491"/>
                      </a:cubicBezTo>
                      <a:lnTo>
                        <a:pt x="402453" y="324456"/>
                      </a:lnTo>
                      <a:lnTo>
                        <a:pt x="425126" y="270040"/>
                      </a:lnTo>
                      <a:lnTo>
                        <a:pt x="370710" y="236483"/>
                      </a:lnTo>
                      <a:cubicBezTo>
                        <a:pt x="372524" y="221972"/>
                        <a:pt x="372524" y="207461"/>
                        <a:pt x="370257" y="192950"/>
                      </a:cubicBezTo>
                      <a:close/>
                      <a:moveTo>
                        <a:pt x="214264" y="306770"/>
                      </a:moveTo>
                      <a:cubicBezTo>
                        <a:pt x="163475" y="306770"/>
                        <a:pt x="122210" y="265505"/>
                        <a:pt x="122210" y="214717"/>
                      </a:cubicBezTo>
                      <a:cubicBezTo>
                        <a:pt x="122210" y="163928"/>
                        <a:pt x="163475" y="122663"/>
                        <a:pt x="214264" y="122663"/>
                      </a:cubicBezTo>
                      <a:cubicBezTo>
                        <a:pt x="265052" y="122663"/>
                        <a:pt x="306318" y="163928"/>
                        <a:pt x="306318" y="214717"/>
                      </a:cubicBezTo>
                      <a:cubicBezTo>
                        <a:pt x="306771" y="265505"/>
                        <a:pt x="265506" y="306770"/>
                        <a:pt x="214264" y="306770"/>
                      </a:cubicBezTo>
                      <a:close/>
                    </a:path>
                  </a:pathLst>
                </a:custGeom>
                <a:solidFill>
                  <a:srgbClr val="00BCF2"/>
                </a:solidFill>
                <a:ln w="9525" cap="flat">
                  <a:noFill/>
                  <a:prstDash val="solid"/>
                  <a:miter/>
                </a:ln>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defTabSz="914367">
                    <a:defRPr/>
                  </a:pPr>
                  <a:endParaRPr lang="en-US">
                    <a:solidFill>
                      <a:srgbClr val="0078D4"/>
                    </a:solidFill>
                    <a:latin typeface="Segoe UI"/>
                  </a:endParaRPr>
                </a:p>
              </p:txBody>
            </p:sp>
            <p:sp>
              <p:nvSpPr>
                <p:cNvPr id="62" name="Freeform: Shape 61">
                  <a:extLst>
                    <a:ext uri="{FF2B5EF4-FFF2-40B4-BE49-F238E27FC236}">
                      <a16:creationId xmlns:a16="http://schemas.microsoft.com/office/drawing/2014/main" id="{DF235BEA-93F9-41F2-8B5C-FFF2BAB11334}"/>
                    </a:ext>
                  </a:extLst>
                </p:cNvPr>
                <p:cNvSpPr/>
                <p:nvPr/>
              </p:nvSpPr>
              <p:spPr>
                <a:xfrm>
                  <a:off x="9359575" y="3768177"/>
                  <a:ext cx="394517" cy="394516"/>
                </a:xfrm>
                <a:custGeom>
                  <a:avLst/>
                  <a:gdLst>
                    <a:gd name="connsiteX0" fmla="*/ 307685 w 394517"/>
                    <a:gd name="connsiteY0" fmla="*/ 87753 h 394516"/>
                    <a:gd name="connsiteX1" fmla="*/ 323103 w 394517"/>
                    <a:gd name="connsiteY1" fmla="*/ 24268 h 394516"/>
                    <a:gd name="connsiteX2" fmla="*/ 268687 w 394517"/>
                    <a:gd name="connsiteY2" fmla="*/ 1594 h 394516"/>
                    <a:gd name="connsiteX3" fmla="*/ 234677 w 394517"/>
                    <a:gd name="connsiteY3" fmla="*/ 56917 h 394516"/>
                    <a:gd name="connsiteX4" fmla="*/ 212457 w 394517"/>
                    <a:gd name="connsiteY4" fmla="*/ 55103 h 394516"/>
                    <a:gd name="connsiteX5" fmla="*/ 192051 w 394517"/>
                    <a:gd name="connsiteY5" fmla="*/ 56464 h 394516"/>
                    <a:gd name="connsiteX6" fmla="*/ 157587 w 394517"/>
                    <a:gd name="connsiteY6" fmla="*/ 1594 h 394516"/>
                    <a:gd name="connsiteX7" fmla="*/ 103171 w 394517"/>
                    <a:gd name="connsiteY7" fmla="*/ 24268 h 394516"/>
                    <a:gd name="connsiteX8" fmla="*/ 118135 w 394517"/>
                    <a:gd name="connsiteY8" fmla="*/ 86846 h 394516"/>
                    <a:gd name="connsiteX9" fmla="*/ 86846 w 394517"/>
                    <a:gd name="connsiteY9" fmla="*/ 117228 h 394516"/>
                    <a:gd name="connsiteX10" fmla="*/ 24721 w 394517"/>
                    <a:gd name="connsiteY10" fmla="*/ 102264 h 394516"/>
                    <a:gd name="connsiteX11" fmla="*/ 2048 w 394517"/>
                    <a:gd name="connsiteY11" fmla="*/ 156680 h 394516"/>
                    <a:gd name="connsiteX12" fmla="*/ 55557 w 394517"/>
                    <a:gd name="connsiteY12" fmla="*/ 189783 h 394516"/>
                    <a:gd name="connsiteX13" fmla="*/ 55103 w 394517"/>
                    <a:gd name="connsiteY13" fmla="*/ 235130 h 394516"/>
                    <a:gd name="connsiteX14" fmla="*/ 1594 w 394517"/>
                    <a:gd name="connsiteY14" fmla="*/ 267326 h 394516"/>
                    <a:gd name="connsiteX15" fmla="*/ 24268 w 394517"/>
                    <a:gd name="connsiteY15" fmla="*/ 321742 h 394516"/>
                    <a:gd name="connsiteX16" fmla="*/ 84579 w 394517"/>
                    <a:gd name="connsiteY16" fmla="*/ 307684 h 394516"/>
                    <a:gd name="connsiteX17" fmla="*/ 117229 w 394517"/>
                    <a:gd name="connsiteY17" fmla="*/ 340334 h 394516"/>
                    <a:gd name="connsiteX18" fmla="*/ 104078 w 394517"/>
                    <a:gd name="connsiteY18" fmla="*/ 394297 h 394516"/>
                    <a:gd name="connsiteX19" fmla="*/ 195679 w 394517"/>
                    <a:gd name="connsiteY19" fmla="*/ 302696 h 394516"/>
                    <a:gd name="connsiteX20" fmla="*/ 120403 w 394517"/>
                    <a:gd name="connsiteY20" fmla="*/ 212003 h 394516"/>
                    <a:gd name="connsiteX21" fmla="*/ 212457 w 394517"/>
                    <a:gd name="connsiteY21" fmla="*/ 119949 h 394516"/>
                    <a:gd name="connsiteX22" fmla="*/ 303150 w 394517"/>
                    <a:gd name="connsiteY22" fmla="*/ 195225 h 394516"/>
                    <a:gd name="connsiteX23" fmla="*/ 393844 w 394517"/>
                    <a:gd name="connsiteY23" fmla="*/ 104531 h 394516"/>
                    <a:gd name="connsiteX24" fmla="*/ 337614 w 394517"/>
                    <a:gd name="connsiteY24" fmla="*/ 117682 h 394516"/>
                    <a:gd name="connsiteX25" fmla="*/ 307685 w 394517"/>
                    <a:gd name="connsiteY25" fmla="*/ 87753 h 39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4517" h="394516">
                      <a:moveTo>
                        <a:pt x="307685" y="87753"/>
                      </a:moveTo>
                      <a:lnTo>
                        <a:pt x="323103" y="24268"/>
                      </a:lnTo>
                      <a:lnTo>
                        <a:pt x="268687" y="1594"/>
                      </a:lnTo>
                      <a:lnTo>
                        <a:pt x="234677" y="56917"/>
                      </a:lnTo>
                      <a:cubicBezTo>
                        <a:pt x="227421" y="56010"/>
                        <a:pt x="219712" y="55103"/>
                        <a:pt x="212457" y="55103"/>
                      </a:cubicBezTo>
                      <a:cubicBezTo>
                        <a:pt x="205655" y="55103"/>
                        <a:pt x="198853" y="55557"/>
                        <a:pt x="192051" y="56464"/>
                      </a:cubicBezTo>
                      <a:lnTo>
                        <a:pt x="157587" y="1594"/>
                      </a:lnTo>
                      <a:lnTo>
                        <a:pt x="103171" y="24268"/>
                      </a:lnTo>
                      <a:lnTo>
                        <a:pt x="118135" y="86846"/>
                      </a:lnTo>
                      <a:cubicBezTo>
                        <a:pt x="106345" y="95462"/>
                        <a:pt x="95916" y="105438"/>
                        <a:pt x="86846" y="117228"/>
                      </a:cubicBezTo>
                      <a:lnTo>
                        <a:pt x="24721" y="102264"/>
                      </a:lnTo>
                      <a:lnTo>
                        <a:pt x="2048" y="156680"/>
                      </a:lnTo>
                      <a:lnTo>
                        <a:pt x="55557" y="189783"/>
                      </a:lnTo>
                      <a:cubicBezTo>
                        <a:pt x="53290" y="204747"/>
                        <a:pt x="52836" y="220165"/>
                        <a:pt x="55103" y="235130"/>
                      </a:cubicBezTo>
                      <a:lnTo>
                        <a:pt x="1594" y="267326"/>
                      </a:lnTo>
                      <a:lnTo>
                        <a:pt x="24268" y="321742"/>
                      </a:lnTo>
                      <a:lnTo>
                        <a:pt x="84579" y="307684"/>
                      </a:lnTo>
                      <a:cubicBezTo>
                        <a:pt x="93648" y="319928"/>
                        <a:pt x="104531" y="331265"/>
                        <a:pt x="117229" y="340334"/>
                      </a:cubicBezTo>
                      <a:lnTo>
                        <a:pt x="104078" y="394297"/>
                      </a:lnTo>
                      <a:lnTo>
                        <a:pt x="195679" y="302696"/>
                      </a:lnTo>
                      <a:cubicBezTo>
                        <a:pt x="153053" y="294534"/>
                        <a:pt x="120403" y="257350"/>
                        <a:pt x="120403" y="212003"/>
                      </a:cubicBezTo>
                      <a:cubicBezTo>
                        <a:pt x="120403" y="161215"/>
                        <a:pt x="161668" y="119949"/>
                        <a:pt x="212457" y="119949"/>
                      </a:cubicBezTo>
                      <a:cubicBezTo>
                        <a:pt x="257350" y="119949"/>
                        <a:pt x="294988" y="152145"/>
                        <a:pt x="303150" y="195225"/>
                      </a:cubicBezTo>
                      <a:lnTo>
                        <a:pt x="393844" y="104531"/>
                      </a:lnTo>
                      <a:lnTo>
                        <a:pt x="337614" y="117682"/>
                      </a:lnTo>
                      <a:cubicBezTo>
                        <a:pt x="329452" y="106799"/>
                        <a:pt x="319022" y="96369"/>
                        <a:pt x="307685" y="87753"/>
                      </a:cubicBezTo>
                      <a:close/>
                    </a:path>
                  </a:pathLst>
                </a:custGeom>
                <a:solidFill>
                  <a:srgbClr val="6DCEF5"/>
                </a:solidFill>
                <a:ln w="4465" cap="flat">
                  <a:noFill/>
                  <a:prstDash val="solid"/>
                  <a:miter/>
                </a:ln>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defTabSz="914367">
                    <a:defRPr/>
                  </a:pPr>
                  <a:endParaRPr lang="en-US">
                    <a:solidFill>
                      <a:srgbClr val="0078D4"/>
                    </a:solidFill>
                    <a:latin typeface="Segoe UI"/>
                  </a:endParaRPr>
                </a:p>
              </p:txBody>
            </p:sp>
          </p:grpSp>
        </p:grpSp>
        <p:sp>
          <p:nvSpPr>
            <p:cNvPr id="56" name="Oval 102">
              <a:extLst>
                <a:ext uri="{FF2B5EF4-FFF2-40B4-BE49-F238E27FC236}">
                  <a16:creationId xmlns:a16="http://schemas.microsoft.com/office/drawing/2014/main" id="{53307209-93F8-463F-9F14-738CC980A788}"/>
                </a:ext>
              </a:extLst>
            </p:cNvPr>
            <p:cNvSpPr>
              <a:spLocks noChangeArrowheads="1"/>
            </p:cNvSpPr>
            <p:nvPr/>
          </p:nvSpPr>
          <p:spPr bwMode="auto">
            <a:xfrm>
              <a:off x="5512478" y="1445094"/>
              <a:ext cx="1114980" cy="1114982"/>
            </a:xfrm>
            <a:prstGeom prst="ellipse">
              <a:avLst/>
            </a:prstGeom>
            <a:noFill/>
            <a:ln w="127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defTabSz="932114" fontAlgn="base">
                <a:spcBef>
                  <a:spcPct val="0"/>
                </a:spcBef>
                <a:spcAft>
                  <a:spcPct val="0"/>
                </a:spcAft>
                <a:defRPr/>
              </a:pPr>
              <a:endParaRPr lang="de-DE" sz="2000">
                <a:solidFill>
                  <a:srgbClr val="0078D4"/>
                </a:solidFill>
                <a:latin typeface="Segoe UI"/>
                <a:cs typeface="Segoe UI" pitchFamily="34" charset="0"/>
              </a:endParaRPr>
            </a:p>
          </p:txBody>
        </p:sp>
      </p:grpSp>
      <p:sp>
        <p:nvSpPr>
          <p:cNvPr id="63" name="TextBox 62">
            <a:extLst>
              <a:ext uri="{FF2B5EF4-FFF2-40B4-BE49-F238E27FC236}">
                <a16:creationId xmlns:a16="http://schemas.microsoft.com/office/drawing/2014/main" id="{A789B79B-6E46-4B65-BE84-8855D7EB2111}"/>
              </a:ext>
            </a:extLst>
          </p:cNvPr>
          <p:cNvSpPr txBox="1"/>
          <p:nvPr/>
        </p:nvSpPr>
        <p:spPr>
          <a:xfrm>
            <a:off x="6165337" y="1014538"/>
            <a:ext cx="4314890" cy="465959"/>
          </a:xfrm>
          <a:prstGeom prst="rect">
            <a:avLst/>
          </a:prstGeom>
          <a:noFill/>
        </p:spPr>
        <p:txBody>
          <a:bodyPr wrap="square" lIns="179234" tIns="143387" rIns="179234" bIns="143387" rtlCol="0">
            <a:spAutoFit/>
          </a:bodyPr>
          <a:lstStyle/>
          <a:p>
            <a:pPr algn="ctr" defTabSz="914016">
              <a:lnSpc>
                <a:spcPct val="90000"/>
              </a:lnSpc>
              <a:spcAft>
                <a:spcPts val="588"/>
              </a:spcAft>
              <a:defRPr/>
            </a:pPr>
            <a:r>
              <a:rPr lang="en-US" sz="1273">
                <a:solidFill>
                  <a:srgbClr val="0078D4"/>
                </a:solidFill>
                <a:latin typeface="Segoe UI"/>
              </a:rPr>
              <a:t>Secure foundation and intelligence </a:t>
            </a:r>
          </a:p>
        </p:txBody>
      </p:sp>
      <p:sp>
        <p:nvSpPr>
          <p:cNvPr id="64" name="TextBox 63">
            <a:extLst>
              <a:ext uri="{FF2B5EF4-FFF2-40B4-BE49-F238E27FC236}">
                <a16:creationId xmlns:a16="http://schemas.microsoft.com/office/drawing/2014/main" id="{739118E8-6373-448A-A681-03603C12FE78}"/>
              </a:ext>
            </a:extLst>
          </p:cNvPr>
          <p:cNvSpPr txBox="1"/>
          <p:nvPr/>
        </p:nvSpPr>
        <p:spPr>
          <a:xfrm>
            <a:off x="8648751" y="5294483"/>
            <a:ext cx="2295131" cy="465959"/>
          </a:xfrm>
          <a:prstGeom prst="rect">
            <a:avLst/>
          </a:prstGeom>
          <a:noFill/>
        </p:spPr>
        <p:txBody>
          <a:bodyPr wrap="square" lIns="179234" tIns="143387" rIns="179234" bIns="143387" rtlCol="0">
            <a:spAutoFit/>
          </a:bodyPr>
          <a:lstStyle/>
          <a:p>
            <a:pPr algn="ctr" defTabSz="914016">
              <a:lnSpc>
                <a:spcPct val="90000"/>
              </a:lnSpc>
              <a:spcAft>
                <a:spcPts val="588"/>
              </a:spcAft>
              <a:defRPr/>
            </a:pPr>
            <a:r>
              <a:rPr lang="en-US" sz="1273">
                <a:solidFill>
                  <a:srgbClr val="0078D4"/>
                </a:solidFill>
                <a:latin typeface="Segoe UI"/>
              </a:rPr>
              <a:t>For a heterogeneous world</a:t>
            </a:r>
          </a:p>
        </p:txBody>
      </p:sp>
      <p:cxnSp>
        <p:nvCxnSpPr>
          <p:cNvPr id="6" name="Straight Connector 5">
            <a:extLst>
              <a:ext uri="{FF2B5EF4-FFF2-40B4-BE49-F238E27FC236}">
                <a16:creationId xmlns:a16="http://schemas.microsoft.com/office/drawing/2014/main" id="{D8BB226C-F0C1-4BFB-8E0F-8BCF63574EA1}"/>
              </a:ext>
            </a:extLst>
          </p:cNvPr>
          <p:cNvCxnSpPr/>
          <p:nvPr/>
        </p:nvCxnSpPr>
        <p:spPr>
          <a:xfrm>
            <a:off x="455995" y="2559742"/>
            <a:ext cx="849319"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D128273D-93C5-4FCE-A202-30D574C422DF}"/>
              </a:ext>
            </a:extLst>
          </p:cNvPr>
          <p:cNvSpPr/>
          <p:nvPr/>
        </p:nvSpPr>
        <p:spPr bwMode="auto">
          <a:xfrm>
            <a:off x="6366220" y="3928724"/>
            <a:ext cx="992219" cy="992217"/>
          </a:xfrm>
          <a:prstGeom prst="ellipse">
            <a:avLst/>
          </a:prstGeom>
          <a:noFill/>
          <a:ln w="381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defTabSz="932114" fontAlgn="base">
              <a:spcBef>
                <a:spcPct val="0"/>
              </a:spcBef>
              <a:spcAft>
                <a:spcPct val="0"/>
              </a:spcAft>
              <a:defRPr/>
            </a:pPr>
            <a:endParaRPr lang="en-US" sz="2000">
              <a:solidFill>
                <a:srgbClr val="0078D4"/>
              </a:solidFill>
              <a:latin typeface="Segoe UI"/>
              <a:cs typeface="Segoe UI" pitchFamily="34" charset="0"/>
            </a:endParaRPr>
          </a:p>
        </p:txBody>
      </p:sp>
      <p:sp>
        <p:nvSpPr>
          <p:cNvPr id="67" name="Rectangle 66">
            <a:extLst>
              <a:ext uri="{FF2B5EF4-FFF2-40B4-BE49-F238E27FC236}">
                <a16:creationId xmlns:a16="http://schemas.microsoft.com/office/drawing/2014/main" id="{E7AA87CC-AE97-4B5B-B646-B2D8EEEE4ABF}"/>
              </a:ext>
            </a:extLst>
          </p:cNvPr>
          <p:cNvSpPr>
            <a:spLocks/>
          </p:cNvSpPr>
          <p:nvPr/>
        </p:nvSpPr>
        <p:spPr bwMode="auto">
          <a:xfrm>
            <a:off x="6175209" y="4970412"/>
            <a:ext cx="1307667" cy="566932"/>
          </a:xfrm>
          <a:prstGeom prst="rect">
            <a:avLst/>
          </a:prstGeom>
          <a:noFill/>
          <a:ln w="12700">
            <a:noFill/>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146263" rIns="0" bIns="146263" numCol="1" spcCol="0" rtlCol="0" fromWordArt="0" anchor="t" anchorCtr="0" forceAA="0" compatLnSpc="1">
            <a:prstTxWarp prst="textNoShape">
              <a:avLst/>
            </a:prstTxWarp>
            <a:spAutoFit/>
          </a:bodyPr>
          <a:lstStyle/>
          <a:p>
            <a:pPr algn="ctr" defTabSz="838914">
              <a:lnSpc>
                <a:spcPct val="90000"/>
              </a:lnSpc>
              <a:defRPr/>
            </a:pPr>
            <a:r>
              <a:rPr lang="en-US" sz="1961">
                <a:solidFill>
                  <a:srgbClr val="0078D4"/>
                </a:solidFill>
                <a:latin typeface="Segoe UI Semibold"/>
              </a:rPr>
              <a:t>Technology</a:t>
            </a:r>
          </a:p>
        </p:txBody>
      </p:sp>
    </p:spTree>
    <p:extLst>
      <p:ext uri="{BB962C8B-B14F-4D97-AF65-F5344CB8AC3E}">
        <p14:creationId xmlns:p14="http://schemas.microsoft.com/office/powerpoint/2010/main" val="25462593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628C12-3DB1-4A5C-A32E-983A6CF7E0C1}"/>
              </a:ext>
            </a:extLst>
          </p:cNvPr>
          <p:cNvSpPr>
            <a:spLocks noGrp="1"/>
          </p:cNvSpPr>
          <p:nvPr>
            <p:ph type="title"/>
          </p:nvPr>
        </p:nvSpPr>
        <p:spPr>
          <a:xfrm>
            <a:off x="455996" y="424822"/>
            <a:ext cx="9218939" cy="795089"/>
          </a:xfrm>
        </p:spPr>
        <p:txBody>
          <a:bodyPr/>
          <a:lstStyle/>
          <a:p>
            <a:r>
              <a:rPr lang="en-US" dirty="0">
                <a:solidFill>
                  <a:srgbClr val="0078D4"/>
                </a:solidFill>
              </a:rPr>
              <a:t>Manage organizational security policies and assess compliance in minutes</a:t>
            </a:r>
          </a:p>
        </p:txBody>
      </p:sp>
      <p:sp>
        <p:nvSpPr>
          <p:cNvPr id="73" name="Rectangle 72">
            <a:extLst>
              <a:ext uri="{FF2B5EF4-FFF2-40B4-BE49-F238E27FC236}">
                <a16:creationId xmlns:a16="http://schemas.microsoft.com/office/drawing/2014/main" id="{85673E18-40B9-41A5-A37E-BC69F94AF22E}"/>
              </a:ext>
            </a:extLst>
          </p:cNvPr>
          <p:cNvSpPr/>
          <p:nvPr/>
        </p:nvSpPr>
        <p:spPr bwMode="auto">
          <a:xfrm>
            <a:off x="1" y="1958674"/>
            <a:ext cx="3955324" cy="4898840"/>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algn="ctr" defTabSz="1075143" fontAlgn="base">
              <a:spcBef>
                <a:spcPct val="0"/>
              </a:spcBef>
              <a:spcAft>
                <a:spcPct val="0"/>
              </a:spcAft>
              <a:defRPr/>
            </a:pPr>
            <a:endParaRPr lang="en-US" sz="2307" kern="0">
              <a:gradFill>
                <a:gsLst>
                  <a:gs pos="0">
                    <a:srgbClr val="FFFFFF"/>
                  </a:gs>
                  <a:gs pos="100000">
                    <a:srgbClr val="FFFFFF"/>
                  </a:gs>
                </a:gsLst>
                <a:lin ang="5400000" scaled="0"/>
              </a:gradFill>
              <a:latin typeface="Segoe UI Semilight"/>
            </a:endParaRPr>
          </a:p>
        </p:txBody>
      </p:sp>
      <p:sp>
        <p:nvSpPr>
          <p:cNvPr id="74" name="Text Placeholder 1">
            <a:extLst>
              <a:ext uri="{FF2B5EF4-FFF2-40B4-BE49-F238E27FC236}">
                <a16:creationId xmlns:a16="http://schemas.microsoft.com/office/drawing/2014/main" id="{2B9C9C66-9A8D-4ABA-8EFD-065C8A1D743C}"/>
              </a:ext>
            </a:extLst>
          </p:cNvPr>
          <p:cNvSpPr txBox="1">
            <a:spLocks/>
          </p:cNvSpPr>
          <p:nvPr/>
        </p:nvSpPr>
        <p:spPr>
          <a:xfrm>
            <a:off x="453002" y="2656848"/>
            <a:ext cx="2931788" cy="3421576"/>
          </a:xfrm>
          <a:prstGeom prst="rect">
            <a:avLst/>
          </a:prstGeom>
        </p:spPr>
        <p:txBody>
          <a:bodyPr vert="horz" wrap="square" lIns="0" tIns="89642" rIns="143428" bIns="89642"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90000"/>
              </a:lnSpc>
              <a:spcBef>
                <a:spcPts val="2353"/>
              </a:spcBef>
              <a:defRPr/>
            </a:pPr>
            <a:r>
              <a:rPr lang="en-US" sz="1765" spc="0">
                <a:solidFill>
                  <a:srgbClr val="3C3C41"/>
                </a:solidFill>
                <a:latin typeface="Segoe UI"/>
              </a:rPr>
              <a:t>Manage security policies at an organizational level</a:t>
            </a:r>
          </a:p>
          <a:p>
            <a:pPr defTabSz="914367">
              <a:lnSpc>
                <a:spcPct val="90000"/>
              </a:lnSpc>
              <a:spcBef>
                <a:spcPts val="2353"/>
              </a:spcBef>
              <a:defRPr/>
            </a:pPr>
            <a:r>
              <a:rPr lang="en-US" sz="1765" spc="0">
                <a:solidFill>
                  <a:srgbClr val="3C3C41"/>
                </a:solidFill>
                <a:latin typeface="Segoe UI"/>
              </a:rPr>
              <a:t>Easily set security policies for subscriptions or management groups </a:t>
            </a:r>
          </a:p>
          <a:p>
            <a:pPr defTabSz="914367">
              <a:lnSpc>
                <a:spcPct val="90000"/>
              </a:lnSpc>
              <a:spcBef>
                <a:spcPts val="2353"/>
              </a:spcBef>
              <a:defRPr/>
            </a:pPr>
            <a:r>
              <a:rPr lang="en-US" sz="1765" spc="0">
                <a:solidFill>
                  <a:srgbClr val="3C3C41"/>
                </a:solidFill>
                <a:latin typeface="Segoe UI"/>
              </a:rPr>
              <a:t>Instantly understand your current policy compliance and review compliance overtime</a:t>
            </a:r>
          </a:p>
          <a:p>
            <a:pPr defTabSz="914367">
              <a:lnSpc>
                <a:spcPct val="90000"/>
              </a:lnSpc>
              <a:spcBef>
                <a:spcPts val="2353"/>
              </a:spcBef>
              <a:defRPr/>
            </a:pPr>
            <a:endParaRPr lang="en-US" sz="980" spc="0">
              <a:solidFill>
                <a:srgbClr val="3C3C41"/>
              </a:solidFill>
              <a:latin typeface="Segoe UI"/>
            </a:endParaRPr>
          </a:p>
        </p:txBody>
      </p:sp>
      <p:cxnSp>
        <p:nvCxnSpPr>
          <p:cNvPr id="75" name="Straight Connector 74">
            <a:extLst>
              <a:ext uri="{FF2B5EF4-FFF2-40B4-BE49-F238E27FC236}">
                <a16:creationId xmlns:a16="http://schemas.microsoft.com/office/drawing/2014/main" id="{ED535EA1-C93F-4A62-8D35-376B0E6A8B70}"/>
              </a:ext>
            </a:extLst>
          </p:cNvPr>
          <p:cNvCxnSpPr/>
          <p:nvPr/>
        </p:nvCxnSpPr>
        <p:spPr>
          <a:xfrm>
            <a:off x="453002" y="2410857"/>
            <a:ext cx="787875"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9BCE853F-03C9-4BF0-9C8C-8CAD143DA0B8}"/>
              </a:ext>
            </a:extLst>
          </p:cNvPr>
          <p:cNvSpPr txBox="1"/>
          <p:nvPr/>
        </p:nvSpPr>
        <p:spPr>
          <a:xfrm>
            <a:off x="6401430" y="2410858"/>
            <a:ext cx="3424722" cy="244398"/>
          </a:xfrm>
          <a:prstGeom prst="rect">
            <a:avLst/>
          </a:prstGeom>
        </p:spPr>
        <p:txBody>
          <a:bodyPr wrap="square" lIns="0" tIns="0" rIns="0" bIns="0" rtlCol="0">
            <a:spAutoFit/>
          </a:bodyPr>
          <a:lstStyle/>
          <a:p>
            <a:pPr algn="ctr" defTabSz="914367">
              <a:lnSpc>
                <a:spcPct val="90000"/>
              </a:lnSpc>
              <a:defRPr/>
            </a:pPr>
            <a:r>
              <a:rPr lang="en-US" sz="1765">
                <a:solidFill>
                  <a:srgbClr val="3C3C41"/>
                </a:solidFill>
                <a:latin typeface="Segoe UI Semibold"/>
              </a:rPr>
              <a:t>Highly Dynamic Environment</a:t>
            </a:r>
          </a:p>
        </p:txBody>
      </p:sp>
      <p:grpSp>
        <p:nvGrpSpPr>
          <p:cNvPr id="6" name="Group 5">
            <a:extLst>
              <a:ext uri="{FF2B5EF4-FFF2-40B4-BE49-F238E27FC236}">
                <a16:creationId xmlns:a16="http://schemas.microsoft.com/office/drawing/2014/main" id="{3BE4D3E3-0EE7-4E96-B34E-ED38A3C80427}"/>
              </a:ext>
            </a:extLst>
          </p:cNvPr>
          <p:cNvGrpSpPr/>
          <p:nvPr/>
        </p:nvGrpSpPr>
        <p:grpSpPr>
          <a:xfrm>
            <a:off x="3955325" y="3041342"/>
            <a:ext cx="8236675" cy="2757386"/>
            <a:chOff x="4034637" y="3101830"/>
            <a:chExt cx="8401838" cy="2812677"/>
          </a:xfrm>
        </p:grpSpPr>
        <p:sp>
          <p:nvSpPr>
            <p:cNvPr id="55" name="TextBox 54">
              <a:extLst>
                <a:ext uri="{FF2B5EF4-FFF2-40B4-BE49-F238E27FC236}">
                  <a16:creationId xmlns:a16="http://schemas.microsoft.com/office/drawing/2014/main" id="{E2493155-F5B5-4AFB-9278-4CFEADC3294A}"/>
                </a:ext>
              </a:extLst>
            </p:cNvPr>
            <p:cNvSpPr txBox="1"/>
            <p:nvPr/>
          </p:nvSpPr>
          <p:spPr>
            <a:xfrm>
              <a:off x="4802242" y="5268176"/>
              <a:ext cx="1314976" cy="430887"/>
            </a:xfrm>
            <a:prstGeom prst="rect">
              <a:avLst/>
            </a:prstGeom>
            <a:noFill/>
          </p:spPr>
          <p:txBody>
            <a:bodyPr wrap="square" lIns="0" tIns="0" rIns="0" bIns="0" rtlCol="0">
              <a:spAutoFit/>
            </a:bodyPr>
            <a:lstStyle/>
            <a:p>
              <a:pPr algn="ctr" defTabSz="914367">
                <a:defRPr/>
              </a:pPr>
              <a:r>
                <a:rPr lang="en-US" sz="1372">
                  <a:solidFill>
                    <a:srgbClr val="3C3C41"/>
                  </a:solidFill>
                  <a:latin typeface="Segoe UI Semibold"/>
                </a:rPr>
                <a:t>New machine</a:t>
              </a:r>
            </a:p>
            <a:p>
              <a:pPr algn="ctr" defTabSz="914367">
                <a:defRPr/>
              </a:pPr>
              <a:r>
                <a:rPr lang="en-US" sz="1372">
                  <a:solidFill>
                    <a:srgbClr val="3C3C41"/>
                  </a:solidFill>
                  <a:latin typeface="Segoe UI Semibold"/>
                </a:rPr>
                <a:t>without AV </a:t>
              </a:r>
            </a:p>
          </p:txBody>
        </p:sp>
        <p:grpSp>
          <p:nvGrpSpPr>
            <p:cNvPr id="141" name="Group 140">
              <a:extLst>
                <a:ext uri="{FF2B5EF4-FFF2-40B4-BE49-F238E27FC236}">
                  <a16:creationId xmlns:a16="http://schemas.microsoft.com/office/drawing/2014/main" id="{C147B943-9EE6-4D19-B396-23BAB30BD867}"/>
                </a:ext>
              </a:extLst>
            </p:cNvPr>
            <p:cNvGrpSpPr/>
            <p:nvPr/>
          </p:nvGrpSpPr>
          <p:grpSpPr>
            <a:xfrm>
              <a:off x="5120086" y="3130127"/>
              <a:ext cx="679288" cy="488580"/>
              <a:chOff x="4929365" y="3118145"/>
              <a:chExt cx="954892" cy="686810"/>
            </a:xfrm>
          </p:grpSpPr>
          <p:sp>
            <p:nvSpPr>
              <p:cNvPr id="139" name="Laptop_E770" title="Icon of a laptop">
                <a:extLst>
                  <a:ext uri="{FF2B5EF4-FFF2-40B4-BE49-F238E27FC236}">
                    <a16:creationId xmlns:a16="http://schemas.microsoft.com/office/drawing/2014/main" id="{CDE58960-4DDC-4D7E-8F4C-49829C7F6314}"/>
                  </a:ext>
                </a:extLst>
              </p:cNvPr>
              <p:cNvSpPr>
                <a:spLocks noChangeAspect="1" noEditPoints="1"/>
              </p:cNvSpPr>
              <p:nvPr/>
            </p:nvSpPr>
            <p:spPr bwMode="auto">
              <a:xfrm>
                <a:off x="4929365" y="3118145"/>
                <a:ext cx="954892" cy="68681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000000"/>
              </a:solidFill>
              <a:ln w="19050" cap="sq">
                <a:solidFill>
                  <a:schemeClr val="bg2"/>
                </a:solidFill>
                <a:prstDash val="solid"/>
                <a:miter lim="800000"/>
                <a:headEnd/>
                <a:tailEnd/>
              </a:ln>
            </p:spPr>
            <p:txBody>
              <a:bodyPr vert="horz" wrap="square" lIns="105426" tIns="52712" rIns="105426" bIns="52712" numCol="1" anchor="t" anchorCtr="0" compatLnSpc="1">
                <a:prstTxWarp prst="textNoShape">
                  <a:avLst/>
                </a:prstTxWarp>
              </a:bodyPr>
              <a:lstStyle/>
              <a:p>
                <a:pPr defTabSz="1075662">
                  <a:defRPr/>
                </a:pPr>
                <a:endParaRPr lang="en-US" sz="1038">
                  <a:gradFill>
                    <a:gsLst>
                      <a:gs pos="0">
                        <a:srgbClr val="505050"/>
                      </a:gs>
                      <a:gs pos="100000">
                        <a:srgbClr val="505050"/>
                      </a:gs>
                    </a:gsLst>
                  </a:gradFill>
                  <a:latin typeface="Segoe UI"/>
                </a:endParaRPr>
              </a:p>
            </p:txBody>
          </p:sp>
          <p:sp>
            <p:nvSpPr>
              <p:cNvPr id="140" name="Rectangle 139">
                <a:extLst>
                  <a:ext uri="{FF2B5EF4-FFF2-40B4-BE49-F238E27FC236}">
                    <a16:creationId xmlns:a16="http://schemas.microsoft.com/office/drawing/2014/main" id="{35B33D72-12FE-4E5A-951D-3E5B35B1F1CC}"/>
                  </a:ext>
                </a:extLst>
              </p:cNvPr>
              <p:cNvSpPr/>
              <p:nvPr/>
            </p:nvSpPr>
            <p:spPr bwMode="auto">
              <a:xfrm>
                <a:off x="5127729" y="3185160"/>
                <a:ext cx="558165" cy="33717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3" name="TextBox 52">
              <a:extLst>
                <a:ext uri="{FF2B5EF4-FFF2-40B4-BE49-F238E27FC236}">
                  <a16:creationId xmlns:a16="http://schemas.microsoft.com/office/drawing/2014/main" id="{ECFC9CA8-F209-43C6-915A-856350D2E0C7}"/>
                </a:ext>
              </a:extLst>
            </p:cNvPr>
            <p:cNvSpPr txBox="1"/>
            <p:nvPr/>
          </p:nvSpPr>
          <p:spPr>
            <a:xfrm>
              <a:off x="9162644" y="5268176"/>
              <a:ext cx="1149410" cy="430887"/>
            </a:xfrm>
            <a:prstGeom prst="rect">
              <a:avLst/>
            </a:prstGeom>
            <a:noFill/>
          </p:spPr>
          <p:txBody>
            <a:bodyPr wrap="square" lIns="0" tIns="0" rIns="0" bIns="0" rtlCol="0">
              <a:spAutoFit/>
            </a:bodyPr>
            <a:lstStyle/>
            <a:p>
              <a:pPr algn="ctr" defTabSz="914367">
                <a:defRPr/>
              </a:pPr>
              <a:r>
                <a:rPr lang="en-US" sz="1372">
                  <a:solidFill>
                    <a:srgbClr val="3C3C41"/>
                  </a:solidFill>
                  <a:latin typeface="Segoe UI Semibold"/>
                </a:rPr>
                <a:t>Insecure Subnet</a:t>
              </a:r>
            </a:p>
          </p:txBody>
        </p:sp>
        <p:grpSp>
          <p:nvGrpSpPr>
            <p:cNvPr id="123" name="Group 4">
              <a:extLst>
                <a:ext uri="{FF2B5EF4-FFF2-40B4-BE49-F238E27FC236}">
                  <a16:creationId xmlns:a16="http://schemas.microsoft.com/office/drawing/2014/main" id="{A438B593-04DB-4901-8D01-C955E55776CD}"/>
                </a:ext>
              </a:extLst>
            </p:cNvPr>
            <p:cNvGrpSpPr>
              <a:grpSpLocks noChangeAspect="1"/>
            </p:cNvGrpSpPr>
            <p:nvPr/>
          </p:nvGrpSpPr>
          <p:grpSpPr bwMode="auto">
            <a:xfrm>
              <a:off x="9488496" y="3149014"/>
              <a:ext cx="497706" cy="499108"/>
              <a:chOff x="1878" y="1722"/>
              <a:chExt cx="355" cy="356"/>
            </a:xfrm>
            <a:solidFill>
              <a:srgbClr val="000000"/>
            </a:solidFill>
          </p:grpSpPr>
          <p:sp>
            <p:nvSpPr>
              <p:cNvPr id="124" name="Freeform 5">
                <a:extLst>
                  <a:ext uri="{FF2B5EF4-FFF2-40B4-BE49-F238E27FC236}">
                    <a16:creationId xmlns:a16="http://schemas.microsoft.com/office/drawing/2014/main" id="{1787BE29-8DEA-4FA2-A924-B67AC3942E59}"/>
                  </a:ext>
                </a:extLst>
              </p:cNvPr>
              <p:cNvSpPr>
                <a:spLocks noEditPoints="1"/>
              </p:cNvSpPr>
              <p:nvPr/>
            </p:nvSpPr>
            <p:spPr bwMode="auto">
              <a:xfrm>
                <a:off x="1878" y="1722"/>
                <a:ext cx="355" cy="356"/>
              </a:xfrm>
              <a:custGeom>
                <a:avLst/>
                <a:gdLst>
                  <a:gd name="T0" fmla="*/ 353 w 373"/>
                  <a:gd name="T1" fmla="*/ 100 h 373"/>
                  <a:gd name="T2" fmla="*/ 298 w 373"/>
                  <a:gd name="T3" fmla="*/ 36 h 373"/>
                  <a:gd name="T4" fmla="*/ 260 w 373"/>
                  <a:gd name="T5" fmla="*/ 72 h 373"/>
                  <a:gd name="T6" fmla="*/ 353 w 373"/>
                  <a:gd name="T7" fmla="*/ 100 h 373"/>
                  <a:gd name="T8" fmla="*/ 286 w 373"/>
                  <a:gd name="T9" fmla="*/ 344 h 373"/>
                  <a:gd name="T10" fmla="*/ 350 w 373"/>
                  <a:gd name="T11" fmla="*/ 277 h 373"/>
                  <a:gd name="T12" fmla="*/ 373 w 373"/>
                  <a:gd name="T13" fmla="*/ 186 h 373"/>
                  <a:gd name="T14" fmla="*/ 365 w 373"/>
                  <a:gd name="T15" fmla="*/ 132 h 373"/>
                  <a:gd name="T16" fmla="*/ 262 w 373"/>
                  <a:gd name="T17" fmla="*/ 111 h 373"/>
                  <a:gd name="T18" fmla="*/ 226 w 373"/>
                  <a:gd name="T19" fmla="*/ 133 h 373"/>
                  <a:gd name="T20" fmla="*/ 184 w 373"/>
                  <a:gd name="T21" fmla="*/ 177 h 373"/>
                  <a:gd name="T22" fmla="*/ 176 w 373"/>
                  <a:gd name="T23" fmla="*/ 241 h 373"/>
                  <a:gd name="T24" fmla="*/ 177 w 373"/>
                  <a:gd name="T25" fmla="*/ 275 h 373"/>
                  <a:gd name="T26" fmla="*/ 286 w 373"/>
                  <a:gd name="T27" fmla="*/ 344 h 373"/>
                  <a:gd name="T28" fmla="*/ 148 w 373"/>
                  <a:gd name="T29" fmla="*/ 369 h 373"/>
                  <a:gd name="T30" fmla="*/ 187 w 373"/>
                  <a:gd name="T31" fmla="*/ 373 h 373"/>
                  <a:gd name="T32" fmla="*/ 256 w 373"/>
                  <a:gd name="T33" fmla="*/ 360 h 373"/>
                  <a:gd name="T34" fmla="*/ 160 w 373"/>
                  <a:gd name="T35" fmla="*/ 295 h 373"/>
                  <a:gd name="T36" fmla="*/ 145 w 373"/>
                  <a:gd name="T37" fmla="*/ 326 h 373"/>
                  <a:gd name="T38" fmla="*/ 148 w 373"/>
                  <a:gd name="T39" fmla="*/ 369 h 373"/>
                  <a:gd name="T40" fmla="*/ 136 w 373"/>
                  <a:gd name="T41" fmla="*/ 220 h 373"/>
                  <a:gd name="T42" fmla="*/ 192 w 373"/>
                  <a:gd name="T43" fmla="*/ 114 h 373"/>
                  <a:gd name="T44" fmla="*/ 100 w 373"/>
                  <a:gd name="T45" fmla="*/ 131 h 373"/>
                  <a:gd name="T46" fmla="*/ 87 w 373"/>
                  <a:gd name="T47" fmla="*/ 163 h 373"/>
                  <a:gd name="T48" fmla="*/ 132 w 373"/>
                  <a:gd name="T49" fmla="*/ 221 h 373"/>
                  <a:gd name="T50" fmla="*/ 187 w 373"/>
                  <a:gd name="T51" fmla="*/ 0 h 373"/>
                  <a:gd name="T52" fmla="*/ 147 w 373"/>
                  <a:gd name="T53" fmla="*/ 4 h 373"/>
                  <a:gd name="T54" fmla="*/ 74 w 373"/>
                  <a:gd name="T55" fmla="*/ 37 h 373"/>
                  <a:gd name="T56" fmla="*/ 50 w 373"/>
                  <a:gd name="T57" fmla="*/ 79 h 373"/>
                  <a:gd name="T58" fmla="*/ 74 w 373"/>
                  <a:gd name="T59" fmla="*/ 95 h 373"/>
                  <a:gd name="T60" fmla="*/ 138 w 373"/>
                  <a:gd name="T61" fmla="*/ 93 h 373"/>
                  <a:gd name="T62" fmla="*/ 192 w 373"/>
                  <a:gd name="T63" fmla="*/ 72 h 373"/>
                  <a:gd name="T64" fmla="*/ 212 w 373"/>
                  <a:gd name="T65" fmla="*/ 55 h 373"/>
                  <a:gd name="T66" fmla="*/ 240 w 373"/>
                  <a:gd name="T67" fmla="*/ 55 h 373"/>
                  <a:gd name="T68" fmla="*/ 275 w 373"/>
                  <a:gd name="T69" fmla="*/ 21 h 373"/>
                  <a:gd name="T70" fmla="*/ 187 w 373"/>
                  <a:gd name="T71" fmla="*/ 0 h 373"/>
                  <a:gd name="T72" fmla="*/ 26 w 373"/>
                  <a:gd name="T73" fmla="*/ 92 h 373"/>
                  <a:gd name="T74" fmla="*/ 12 w 373"/>
                  <a:gd name="T75" fmla="*/ 143 h 373"/>
                  <a:gd name="T76" fmla="*/ 22 w 373"/>
                  <a:gd name="T77" fmla="*/ 121 h 373"/>
                  <a:gd name="T78" fmla="*/ 28 w 373"/>
                  <a:gd name="T79" fmla="*/ 99 h 373"/>
                  <a:gd name="T80" fmla="*/ 0 w 373"/>
                  <a:gd name="T81" fmla="*/ 184 h 373"/>
                  <a:gd name="T82" fmla="*/ 9 w 373"/>
                  <a:gd name="T83" fmla="*/ 241 h 373"/>
                  <a:gd name="T84" fmla="*/ 70 w 373"/>
                  <a:gd name="T85" fmla="*/ 332 h 373"/>
                  <a:gd name="T86" fmla="*/ 119 w 373"/>
                  <a:gd name="T87" fmla="*/ 343 h 373"/>
                  <a:gd name="T88" fmla="*/ 119 w 373"/>
                  <a:gd name="T89" fmla="*/ 310 h 373"/>
                  <a:gd name="T90" fmla="*/ 106 w 373"/>
                  <a:gd name="T91" fmla="*/ 280 h 373"/>
                  <a:gd name="T92" fmla="*/ 106 w 373"/>
                  <a:gd name="T93" fmla="*/ 239 h 373"/>
                  <a:gd name="T94" fmla="*/ 46 w 373"/>
                  <a:gd name="T95" fmla="*/ 170 h 373"/>
                  <a:gd name="T96" fmla="*/ 16 w 373"/>
                  <a:gd name="T97" fmla="*/ 1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 h="373">
                    <a:moveTo>
                      <a:pt x="353" y="100"/>
                    </a:moveTo>
                    <a:lnTo>
                      <a:pt x="353" y="100"/>
                    </a:lnTo>
                    <a:cubicBezTo>
                      <a:pt x="346" y="88"/>
                      <a:pt x="338" y="76"/>
                      <a:pt x="329" y="65"/>
                    </a:cubicBezTo>
                    <a:cubicBezTo>
                      <a:pt x="320" y="54"/>
                      <a:pt x="309" y="45"/>
                      <a:pt x="298" y="36"/>
                    </a:cubicBezTo>
                    <a:cubicBezTo>
                      <a:pt x="291" y="42"/>
                      <a:pt x="285" y="48"/>
                      <a:pt x="279" y="54"/>
                    </a:cubicBezTo>
                    <a:cubicBezTo>
                      <a:pt x="272" y="60"/>
                      <a:pt x="266" y="66"/>
                      <a:pt x="260" y="72"/>
                    </a:cubicBezTo>
                    <a:cubicBezTo>
                      <a:pt x="263" y="76"/>
                      <a:pt x="265" y="80"/>
                      <a:pt x="265" y="85"/>
                    </a:cubicBezTo>
                    <a:cubicBezTo>
                      <a:pt x="295" y="87"/>
                      <a:pt x="324" y="93"/>
                      <a:pt x="353" y="100"/>
                    </a:cubicBezTo>
                    <a:close/>
                    <a:moveTo>
                      <a:pt x="286" y="344"/>
                    </a:moveTo>
                    <a:lnTo>
                      <a:pt x="286" y="344"/>
                    </a:lnTo>
                    <a:cubicBezTo>
                      <a:pt x="300" y="336"/>
                      <a:pt x="312" y="326"/>
                      <a:pt x="323" y="314"/>
                    </a:cubicBezTo>
                    <a:cubicBezTo>
                      <a:pt x="334" y="303"/>
                      <a:pt x="343" y="290"/>
                      <a:pt x="350" y="277"/>
                    </a:cubicBezTo>
                    <a:cubicBezTo>
                      <a:pt x="358" y="263"/>
                      <a:pt x="363" y="249"/>
                      <a:pt x="367" y="233"/>
                    </a:cubicBezTo>
                    <a:cubicBezTo>
                      <a:pt x="371" y="218"/>
                      <a:pt x="373" y="202"/>
                      <a:pt x="373" y="186"/>
                    </a:cubicBezTo>
                    <a:cubicBezTo>
                      <a:pt x="373" y="177"/>
                      <a:pt x="373" y="168"/>
                      <a:pt x="372" y="159"/>
                    </a:cubicBezTo>
                    <a:cubicBezTo>
                      <a:pt x="370" y="150"/>
                      <a:pt x="368" y="141"/>
                      <a:pt x="365" y="132"/>
                    </a:cubicBezTo>
                    <a:cubicBezTo>
                      <a:pt x="348" y="127"/>
                      <a:pt x="331" y="122"/>
                      <a:pt x="314" y="119"/>
                    </a:cubicBezTo>
                    <a:cubicBezTo>
                      <a:pt x="297" y="115"/>
                      <a:pt x="279" y="113"/>
                      <a:pt x="262" y="111"/>
                    </a:cubicBezTo>
                    <a:cubicBezTo>
                      <a:pt x="258" y="118"/>
                      <a:pt x="253" y="123"/>
                      <a:pt x="247" y="127"/>
                    </a:cubicBezTo>
                    <a:cubicBezTo>
                      <a:pt x="241" y="131"/>
                      <a:pt x="234" y="133"/>
                      <a:pt x="226" y="133"/>
                    </a:cubicBezTo>
                    <a:cubicBezTo>
                      <a:pt x="222" y="133"/>
                      <a:pt x="217" y="132"/>
                      <a:pt x="213" y="131"/>
                    </a:cubicBezTo>
                    <a:cubicBezTo>
                      <a:pt x="202" y="145"/>
                      <a:pt x="193" y="161"/>
                      <a:pt x="184" y="177"/>
                    </a:cubicBezTo>
                    <a:cubicBezTo>
                      <a:pt x="176" y="193"/>
                      <a:pt x="168" y="209"/>
                      <a:pt x="162" y="226"/>
                    </a:cubicBezTo>
                    <a:cubicBezTo>
                      <a:pt x="168" y="230"/>
                      <a:pt x="173" y="235"/>
                      <a:pt x="176" y="241"/>
                    </a:cubicBezTo>
                    <a:cubicBezTo>
                      <a:pt x="179" y="247"/>
                      <a:pt x="180" y="253"/>
                      <a:pt x="180" y="260"/>
                    </a:cubicBezTo>
                    <a:cubicBezTo>
                      <a:pt x="180" y="265"/>
                      <a:pt x="179" y="270"/>
                      <a:pt x="177" y="275"/>
                    </a:cubicBezTo>
                    <a:cubicBezTo>
                      <a:pt x="194" y="289"/>
                      <a:pt x="211" y="302"/>
                      <a:pt x="229" y="314"/>
                    </a:cubicBezTo>
                    <a:cubicBezTo>
                      <a:pt x="247" y="325"/>
                      <a:pt x="266" y="336"/>
                      <a:pt x="286" y="344"/>
                    </a:cubicBezTo>
                    <a:close/>
                    <a:moveTo>
                      <a:pt x="148" y="369"/>
                    </a:moveTo>
                    <a:lnTo>
                      <a:pt x="148" y="369"/>
                    </a:lnTo>
                    <a:cubicBezTo>
                      <a:pt x="155" y="370"/>
                      <a:pt x="161" y="371"/>
                      <a:pt x="167" y="372"/>
                    </a:cubicBezTo>
                    <a:cubicBezTo>
                      <a:pt x="174" y="373"/>
                      <a:pt x="180" y="373"/>
                      <a:pt x="187" y="373"/>
                    </a:cubicBezTo>
                    <a:cubicBezTo>
                      <a:pt x="199" y="373"/>
                      <a:pt x="210" y="372"/>
                      <a:pt x="222" y="370"/>
                    </a:cubicBezTo>
                    <a:cubicBezTo>
                      <a:pt x="234" y="367"/>
                      <a:pt x="245" y="364"/>
                      <a:pt x="256" y="360"/>
                    </a:cubicBezTo>
                    <a:cubicBezTo>
                      <a:pt x="238" y="351"/>
                      <a:pt x="222" y="341"/>
                      <a:pt x="206" y="330"/>
                    </a:cubicBezTo>
                    <a:cubicBezTo>
                      <a:pt x="190" y="319"/>
                      <a:pt x="174" y="308"/>
                      <a:pt x="160" y="295"/>
                    </a:cubicBezTo>
                    <a:cubicBezTo>
                      <a:pt x="155" y="297"/>
                      <a:pt x="151" y="299"/>
                      <a:pt x="146" y="300"/>
                    </a:cubicBezTo>
                    <a:cubicBezTo>
                      <a:pt x="145" y="308"/>
                      <a:pt x="145" y="317"/>
                      <a:pt x="145" y="326"/>
                    </a:cubicBezTo>
                    <a:cubicBezTo>
                      <a:pt x="145" y="333"/>
                      <a:pt x="145" y="340"/>
                      <a:pt x="146" y="347"/>
                    </a:cubicBezTo>
                    <a:cubicBezTo>
                      <a:pt x="147" y="354"/>
                      <a:pt x="147" y="362"/>
                      <a:pt x="148" y="369"/>
                    </a:cubicBezTo>
                    <a:close/>
                    <a:moveTo>
                      <a:pt x="136" y="220"/>
                    </a:moveTo>
                    <a:lnTo>
                      <a:pt x="136" y="220"/>
                    </a:lnTo>
                    <a:cubicBezTo>
                      <a:pt x="143" y="201"/>
                      <a:pt x="151" y="183"/>
                      <a:pt x="160" y="165"/>
                    </a:cubicBezTo>
                    <a:cubicBezTo>
                      <a:pt x="170" y="147"/>
                      <a:pt x="180" y="130"/>
                      <a:pt x="192" y="114"/>
                    </a:cubicBezTo>
                    <a:lnTo>
                      <a:pt x="191" y="112"/>
                    </a:lnTo>
                    <a:cubicBezTo>
                      <a:pt x="160" y="115"/>
                      <a:pt x="130" y="121"/>
                      <a:pt x="100" y="131"/>
                    </a:cubicBezTo>
                    <a:cubicBezTo>
                      <a:pt x="100" y="137"/>
                      <a:pt x="99" y="143"/>
                      <a:pt x="97" y="148"/>
                    </a:cubicBezTo>
                    <a:cubicBezTo>
                      <a:pt x="95" y="154"/>
                      <a:pt x="92" y="158"/>
                      <a:pt x="87" y="163"/>
                    </a:cubicBezTo>
                    <a:cubicBezTo>
                      <a:pt x="99" y="183"/>
                      <a:pt x="112" y="203"/>
                      <a:pt x="127" y="222"/>
                    </a:cubicBezTo>
                    <a:cubicBezTo>
                      <a:pt x="129" y="221"/>
                      <a:pt x="130" y="221"/>
                      <a:pt x="132" y="221"/>
                    </a:cubicBezTo>
                    <a:cubicBezTo>
                      <a:pt x="133" y="220"/>
                      <a:pt x="135" y="220"/>
                      <a:pt x="136" y="220"/>
                    </a:cubicBezTo>
                    <a:close/>
                    <a:moveTo>
                      <a:pt x="187" y="0"/>
                    </a:moveTo>
                    <a:lnTo>
                      <a:pt x="187" y="0"/>
                    </a:lnTo>
                    <a:cubicBezTo>
                      <a:pt x="173" y="0"/>
                      <a:pt x="160" y="1"/>
                      <a:pt x="147" y="4"/>
                    </a:cubicBezTo>
                    <a:cubicBezTo>
                      <a:pt x="134" y="7"/>
                      <a:pt x="121" y="11"/>
                      <a:pt x="109" y="17"/>
                    </a:cubicBezTo>
                    <a:cubicBezTo>
                      <a:pt x="97" y="22"/>
                      <a:pt x="85" y="29"/>
                      <a:pt x="74" y="37"/>
                    </a:cubicBezTo>
                    <a:cubicBezTo>
                      <a:pt x="64" y="45"/>
                      <a:pt x="54" y="54"/>
                      <a:pt x="45" y="65"/>
                    </a:cubicBezTo>
                    <a:cubicBezTo>
                      <a:pt x="47" y="70"/>
                      <a:pt x="48" y="74"/>
                      <a:pt x="50" y="79"/>
                    </a:cubicBezTo>
                    <a:cubicBezTo>
                      <a:pt x="51" y="84"/>
                      <a:pt x="53" y="89"/>
                      <a:pt x="54" y="93"/>
                    </a:cubicBezTo>
                    <a:cubicBezTo>
                      <a:pt x="61" y="92"/>
                      <a:pt x="68" y="93"/>
                      <a:pt x="74" y="95"/>
                    </a:cubicBezTo>
                    <a:cubicBezTo>
                      <a:pt x="80" y="97"/>
                      <a:pt x="85" y="101"/>
                      <a:pt x="90" y="106"/>
                    </a:cubicBezTo>
                    <a:cubicBezTo>
                      <a:pt x="106" y="101"/>
                      <a:pt x="122" y="96"/>
                      <a:pt x="138" y="93"/>
                    </a:cubicBezTo>
                    <a:cubicBezTo>
                      <a:pt x="154" y="89"/>
                      <a:pt x="170" y="87"/>
                      <a:pt x="187" y="85"/>
                    </a:cubicBezTo>
                    <a:cubicBezTo>
                      <a:pt x="188" y="81"/>
                      <a:pt x="190" y="76"/>
                      <a:pt x="192" y="72"/>
                    </a:cubicBezTo>
                    <a:cubicBezTo>
                      <a:pt x="194" y="68"/>
                      <a:pt x="197" y="65"/>
                      <a:pt x="201" y="62"/>
                    </a:cubicBezTo>
                    <a:cubicBezTo>
                      <a:pt x="204" y="59"/>
                      <a:pt x="208" y="57"/>
                      <a:pt x="212" y="55"/>
                    </a:cubicBezTo>
                    <a:cubicBezTo>
                      <a:pt x="217" y="54"/>
                      <a:pt x="221" y="53"/>
                      <a:pt x="226" y="53"/>
                    </a:cubicBezTo>
                    <a:cubicBezTo>
                      <a:pt x="231" y="53"/>
                      <a:pt x="235" y="54"/>
                      <a:pt x="240" y="55"/>
                    </a:cubicBezTo>
                    <a:cubicBezTo>
                      <a:pt x="245" y="49"/>
                      <a:pt x="251" y="44"/>
                      <a:pt x="257" y="38"/>
                    </a:cubicBezTo>
                    <a:cubicBezTo>
                      <a:pt x="262" y="32"/>
                      <a:pt x="268" y="27"/>
                      <a:pt x="275" y="21"/>
                    </a:cubicBezTo>
                    <a:cubicBezTo>
                      <a:pt x="261" y="14"/>
                      <a:pt x="247" y="9"/>
                      <a:pt x="232" y="5"/>
                    </a:cubicBezTo>
                    <a:cubicBezTo>
                      <a:pt x="217" y="1"/>
                      <a:pt x="202" y="0"/>
                      <a:pt x="187" y="0"/>
                    </a:cubicBezTo>
                    <a:close/>
                    <a:moveTo>
                      <a:pt x="26" y="92"/>
                    </a:moveTo>
                    <a:lnTo>
                      <a:pt x="26" y="92"/>
                    </a:lnTo>
                    <a:cubicBezTo>
                      <a:pt x="15" y="110"/>
                      <a:pt x="8" y="129"/>
                      <a:pt x="4" y="148"/>
                    </a:cubicBezTo>
                    <a:cubicBezTo>
                      <a:pt x="7" y="147"/>
                      <a:pt x="9" y="145"/>
                      <a:pt x="12" y="143"/>
                    </a:cubicBezTo>
                    <a:cubicBezTo>
                      <a:pt x="15" y="141"/>
                      <a:pt x="18" y="140"/>
                      <a:pt x="21" y="138"/>
                    </a:cubicBezTo>
                    <a:cubicBezTo>
                      <a:pt x="20" y="132"/>
                      <a:pt x="20" y="127"/>
                      <a:pt x="22" y="121"/>
                    </a:cubicBezTo>
                    <a:cubicBezTo>
                      <a:pt x="24" y="115"/>
                      <a:pt x="27" y="110"/>
                      <a:pt x="31" y="106"/>
                    </a:cubicBezTo>
                    <a:cubicBezTo>
                      <a:pt x="30" y="104"/>
                      <a:pt x="29" y="101"/>
                      <a:pt x="28" y="99"/>
                    </a:cubicBezTo>
                    <a:cubicBezTo>
                      <a:pt x="27" y="97"/>
                      <a:pt x="26" y="94"/>
                      <a:pt x="26" y="92"/>
                    </a:cubicBezTo>
                    <a:close/>
                    <a:moveTo>
                      <a:pt x="0" y="184"/>
                    </a:moveTo>
                    <a:lnTo>
                      <a:pt x="0" y="184"/>
                    </a:lnTo>
                    <a:cubicBezTo>
                      <a:pt x="0" y="204"/>
                      <a:pt x="3" y="223"/>
                      <a:pt x="9" y="241"/>
                    </a:cubicBezTo>
                    <a:cubicBezTo>
                      <a:pt x="14" y="259"/>
                      <a:pt x="22" y="276"/>
                      <a:pt x="32" y="291"/>
                    </a:cubicBezTo>
                    <a:cubicBezTo>
                      <a:pt x="43" y="307"/>
                      <a:pt x="56" y="320"/>
                      <a:pt x="70" y="332"/>
                    </a:cubicBezTo>
                    <a:cubicBezTo>
                      <a:pt x="85" y="344"/>
                      <a:pt x="102" y="354"/>
                      <a:pt x="120" y="361"/>
                    </a:cubicBezTo>
                    <a:cubicBezTo>
                      <a:pt x="120" y="355"/>
                      <a:pt x="119" y="349"/>
                      <a:pt x="119" y="343"/>
                    </a:cubicBezTo>
                    <a:cubicBezTo>
                      <a:pt x="118" y="337"/>
                      <a:pt x="118" y="331"/>
                      <a:pt x="118" y="325"/>
                    </a:cubicBezTo>
                    <a:cubicBezTo>
                      <a:pt x="118" y="320"/>
                      <a:pt x="118" y="315"/>
                      <a:pt x="119" y="310"/>
                    </a:cubicBezTo>
                    <a:cubicBezTo>
                      <a:pt x="119" y="305"/>
                      <a:pt x="119" y="299"/>
                      <a:pt x="120" y="294"/>
                    </a:cubicBezTo>
                    <a:cubicBezTo>
                      <a:pt x="114" y="290"/>
                      <a:pt x="109" y="286"/>
                      <a:pt x="106" y="280"/>
                    </a:cubicBezTo>
                    <a:cubicBezTo>
                      <a:pt x="102" y="274"/>
                      <a:pt x="100" y="267"/>
                      <a:pt x="100" y="260"/>
                    </a:cubicBezTo>
                    <a:cubicBezTo>
                      <a:pt x="100" y="252"/>
                      <a:pt x="102" y="245"/>
                      <a:pt x="106" y="239"/>
                    </a:cubicBezTo>
                    <a:cubicBezTo>
                      <a:pt x="90" y="218"/>
                      <a:pt x="75" y="196"/>
                      <a:pt x="62" y="173"/>
                    </a:cubicBezTo>
                    <a:cubicBezTo>
                      <a:pt x="56" y="173"/>
                      <a:pt x="51" y="172"/>
                      <a:pt x="46" y="170"/>
                    </a:cubicBezTo>
                    <a:cubicBezTo>
                      <a:pt x="41" y="169"/>
                      <a:pt x="37" y="166"/>
                      <a:pt x="33" y="162"/>
                    </a:cubicBezTo>
                    <a:cubicBezTo>
                      <a:pt x="27" y="165"/>
                      <a:pt x="21" y="169"/>
                      <a:pt x="16" y="173"/>
                    </a:cubicBezTo>
                    <a:cubicBezTo>
                      <a:pt x="10" y="176"/>
                      <a:pt x="5" y="180"/>
                      <a:pt x="0" y="18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25" name="Freeform 6">
                <a:extLst>
                  <a:ext uri="{FF2B5EF4-FFF2-40B4-BE49-F238E27FC236}">
                    <a16:creationId xmlns:a16="http://schemas.microsoft.com/office/drawing/2014/main" id="{BF3221F2-B394-42D5-B4B7-21B9F1785AAC}"/>
                  </a:ext>
                </a:extLst>
              </p:cNvPr>
              <p:cNvSpPr>
                <a:spLocks/>
              </p:cNvSpPr>
              <p:nvPr/>
            </p:nvSpPr>
            <p:spPr bwMode="auto">
              <a:xfrm>
                <a:off x="1923" y="1837"/>
                <a:ext cx="24" cy="25"/>
              </a:xfrm>
              <a:custGeom>
                <a:avLst/>
                <a:gdLst>
                  <a:gd name="T0" fmla="*/ 13 w 26"/>
                  <a:gd name="T1" fmla="*/ 0 h 26"/>
                  <a:gd name="T2" fmla="*/ 13 w 26"/>
                  <a:gd name="T3" fmla="*/ 0 h 26"/>
                  <a:gd name="T4" fmla="*/ 4 w 26"/>
                  <a:gd name="T5" fmla="*/ 3 h 26"/>
                  <a:gd name="T6" fmla="*/ 0 w 26"/>
                  <a:gd name="T7" fmla="*/ 13 h 26"/>
                  <a:gd name="T8" fmla="*/ 4 w 26"/>
                  <a:gd name="T9" fmla="*/ 22 h 26"/>
                  <a:gd name="T10" fmla="*/ 13 w 26"/>
                  <a:gd name="T11" fmla="*/ 26 h 26"/>
                  <a:gd name="T12" fmla="*/ 23 w 26"/>
                  <a:gd name="T13" fmla="*/ 22 h 26"/>
                  <a:gd name="T14" fmla="*/ 26 w 26"/>
                  <a:gd name="T15" fmla="*/ 13 h 26"/>
                  <a:gd name="T16" fmla="*/ 23 w 26"/>
                  <a:gd name="T17" fmla="*/ 3 h 26"/>
                  <a:gd name="T18" fmla="*/ 13 w 26"/>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3" y="0"/>
                    </a:moveTo>
                    <a:lnTo>
                      <a:pt x="13" y="0"/>
                    </a:lnTo>
                    <a:cubicBezTo>
                      <a:pt x="10" y="0"/>
                      <a:pt x="6" y="1"/>
                      <a:pt x="4" y="3"/>
                    </a:cubicBezTo>
                    <a:cubicBezTo>
                      <a:pt x="1" y="6"/>
                      <a:pt x="0" y="9"/>
                      <a:pt x="0" y="13"/>
                    </a:cubicBezTo>
                    <a:cubicBezTo>
                      <a:pt x="0" y="16"/>
                      <a:pt x="1" y="20"/>
                      <a:pt x="4" y="22"/>
                    </a:cubicBezTo>
                    <a:cubicBezTo>
                      <a:pt x="6" y="25"/>
                      <a:pt x="10" y="26"/>
                      <a:pt x="13" y="26"/>
                    </a:cubicBezTo>
                    <a:cubicBezTo>
                      <a:pt x="17" y="26"/>
                      <a:pt x="20" y="25"/>
                      <a:pt x="23" y="22"/>
                    </a:cubicBezTo>
                    <a:cubicBezTo>
                      <a:pt x="25" y="20"/>
                      <a:pt x="26" y="16"/>
                      <a:pt x="26" y="13"/>
                    </a:cubicBezTo>
                    <a:cubicBezTo>
                      <a:pt x="26" y="9"/>
                      <a:pt x="25" y="6"/>
                      <a:pt x="23" y="3"/>
                    </a:cubicBezTo>
                    <a:cubicBezTo>
                      <a:pt x="20" y="1"/>
                      <a:pt x="17" y="0"/>
                      <a:pt x="13" y="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26" name="Freeform 7">
                <a:extLst>
                  <a:ext uri="{FF2B5EF4-FFF2-40B4-BE49-F238E27FC236}">
                    <a16:creationId xmlns:a16="http://schemas.microsoft.com/office/drawing/2014/main" id="{D6F28FC1-1377-4793-8419-4C5FEF32031C}"/>
                  </a:ext>
                </a:extLst>
              </p:cNvPr>
              <p:cNvSpPr>
                <a:spLocks/>
              </p:cNvSpPr>
              <p:nvPr/>
            </p:nvSpPr>
            <p:spPr bwMode="auto">
              <a:xfrm>
                <a:off x="1999" y="1958"/>
                <a:ext cx="26" cy="25"/>
              </a:xfrm>
              <a:custGeom>
                <a:avLst/>
                <a:gdLst>
                  <a:gd name="T0" fmla="*/ 13 w 27"/>
                  <a:gd name="T1" fmla="*/ 26 h 26"/>
                  <a:gd name="T2" fmla="*/ 13 w 27"/>
                  <a:gd name="T3" fmla="*/ 26 h 26"/>
                  <a:gd name="T4" fmla="*/ 23 w 27"/>
                  <a:gd name="T5" fmla="*/ 22 h 26"/>
                  <a:gd name="T6" fmla="*/ 27 w 27"/>
                  <a:gd name="T7" fmla="*/ 13 h 26"/>
                  <a:gd name="T8" fmla="*/ 23 w 27"/>
                  <a:gd name="T9" fmla="*/ 4 h 26"/>
                  <a:gd name="T10" fmla="*/ 13 w 27"/>
                  <a:gd name="T11" fmla="*/ 0 h 26"/>
                  <a:gd name="T12" fmla="*/ 4 w 27"/>
                  <a:gd name="T13" fmla="*/ 4 h 26"/>
                  <a:gd name="T14" fmla="*/ 0 w 27"/>
                  <a:gd name="T15" fmla="*/ 13 h 26"/>
                  <a:gd name="T16" fmla="*/ 4 w 27"/>
                  <a:gd name="T17" fmla="*/ 22 h 26"/>
                  <a:gd name="T18" fmla="*/ 13 w 27"/>
                  <a:gd name="T1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13" y="26"/>
                    </a:moveTo>
                    <a:lnTo>
                      <a:pt x="13" y="26"/>
                    </a:lnTo>
                    <a:cubicBezTo>
                      <a:pt x="17" y="26"/>
                      <a:pt x="20" y="25"/>
                      <a:pt x="23" y="22"/>
                    </a:cubicBezTo>
                    <a:cubicBezTo>
                      <a:pt x="25" y="20"/>
                      <a:pt x="27" y="17"/>
                      <a:pt x="27" y="13"/>
                    </a:cubicBezTo>
                    <a:cubicBezTo>
                      <a:pt x="27" y="9"/>
                      <a:pt x="25" y="6"/>
                      <a:pt x="23" y="4"/>
                    </a:cubicBezTo>
                    <a:cubicBezTo>
                      <a:pt x="20" y="1"/>
                      <a:pt x="17" y="0"/>
                      <a:pt x="13" y="0"/>
                    </a:cubicBezTo>
                    <a:cubicBezTo>
                      <a:pt x="10" y="0"/>
                      <a:pt x="7" y="1"/>
                      <a:pt x="4" y="4"/>
                    </a:cubicBezTo>
                    <a:cubicBezTo>
                      <a:pt x="1" y="6"/>
                      <a:pt x="0" y="9"/>
                      <a:pt x="0" y="13"/>
                    </a:cubicBezTo>
                    <a:cubicBezTo>
                      <a:pt x="0" y="17"/>
                      <a:pt x="1" y="20"/>
                      <a:pt x="4" y="22"/>
                    </a:cubicBezTo>
                    <a:cubicBezTo>
                      <a:pt x="7" y="25"/>
                      <a:pt x="10" y="26"/>
                      <a:pt x="13" y="26"/>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27" name="Freeform 8">
                <a:extLst>
                  <a:ext uri="{FF2B5EF4-FFF2-40B4-BE49-F238E27FC236}">
                    <a16:creationId xmlns:a16="http://schemas.microsoft.com/office/drawing/2014/main" id="{737BE52A-9361-4503-84D4-E4369D0A4540}"/>
                  </a:ext>
                </a:extLst>
              </p:cNvPr>
              <p:cNvSpPr>
                <a:spLocks/>
              </p:cNvSpPr>
              <p:nvPr/>
            </p:nvSpPr>
            <p:spPr bwMode="auto">
              <a:xfrm>
                <a:off x="2081" y="1798"/>
                <a:ext cx="25" cy="25"/>
              </a:xfrm>
              <a:custGeom>
                <a:avLst/>
                <a:gdLst>
                  <a:gd name="T0" fmla="*/ 0 w 27"/>
                  <a:gd name="T1" fmla="*/ 13 h 26"/>
                  <a:gd name="T2" fmla="*/ 0 w 27"/>
                  <a:gd name="T3" fmla="*/ 13 h 26"/>
                  <a:gd name="T4" fmla="*/ 4 w 27"/>
                  <a:gd name="T5" fmla="*/ 22 h 26"/>
                  <a:gd name="T6" fmla="*/ 13 w 27"/>
                  <a:gd name="T7" fmla="*/ 26 h 26"/>
                  <a:gd name="T8" fmla="*/ 23 w 27"/>
                  <a:gd name="T9" fmla="*/ 22 h 26"/>
                  <a:gd name="T10" fmla="*/ 27 w 27"/>
                  <a:gd name="T11" fmla="*/ 13 h 26"/>
                  <a:gd name="T12" fmla="*/ 23 w 27"/>
                  <a:gd name="T13" fmla="*/ 3 h 26"/>
                  <a:gd name="T14" fmla="*/ 13 w 27"/>
                  <a:gd name="T15" fmla="*/ 0 h 26"/>
                  <a:gd name="T16" fmla="*/ 4 w 27"/>
                  <a:gd name="T17" fmla="*/ 3 h 26"/>
                  <a:gd name="T18" fmla="*/ 0 w 27"/>
                  <a:gd name="T1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0" y="13"/>
                    </a:moveTo>
                    <a:lnTo>
                      <a:pt x="0" y="13"/>
                    </a:lnTo>
                    <a:cubicBezTo>
                      <a:pt x="0" y="16"/>
                      <a:pt x="1" y="20"/>
                      <a:pt x="4" y="22"/>
                    </a:cubicBezTo>
                    <a:cubicBezTo>
                      <a:pt x="6" y="25"/>
                      <a:pt x="10" y="26"/>
                      <a:pt x="13" y="26"/>
                    </a:cubicBezTo>
                    <a:cubicBezTo>
                      <a:pt x="17" y="26"/>
                      <a:pt x="20" y="25"/>
                      <a:pt x="23" y="22"/>
                    </a:cubicBezTo>
                    <a:cubicBezTo>
                      <a:pt x="25" y="20"/>
                      <a:pt x="27" y="17"/>
                      <a:pt x="27" y="13"/>
                    </a:cubicBezTo>
                    <a:cubicBezTo>
                      <a:pt x="27" y="9"/>
                      <a:pt x="25" y="6"/>
                      <a:pt x="23" y="3"/>
                    </a:cubicBezTo>
                    <a:cubicBezTo>
                      <a:pt x="20" y="1"/>
                      <a:pt x="17" y="0"/>
                      <a:pt x="13" y="0"/>
                    </a:cubicBezTo>
                    <a:cubicBezTo>
                      <a:pt x="10" y="0"/>
                      <a:pt x="6" y="1"/>
                      <a:pt x="4" y="3"/>
                    </a:cubicBezTo>
                    <a:cubicBezTo>
                      <a:pt x="1" y="6"/>
                      <a:pt x="0" y="9"/>
                      <a:pt x="0" y="13"/>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sp>
          <p:nvSpPr>
            <p:cNvPr id="39" name="TextBox 38">
              <a:extLst>
                <a:ext uri="{FF2B5EF4-FFF2-40B4-BE49-F238E27FC236}">
                  <a16:creationId xmlns:a16="http://schemas.microsoft.com/office/drawing/2014/main" id="{2713422D-E06B-4A15-8BEC-0995EF8DADE2}"/>
                </a:ext>
              </a:extLst>
            </p:cNvPr>
            <p:cNvSpPr txBox="1"/>
            <p:nvPr/>
          </p:nvSpPr>
          <p:spPr>
            <a:xfrm>
              <a:off x="7670449" y="5268176"/>
              <a:ext cx="1282055" cy="430887"/>
            </a:xfrm>
            <a:prstGeom prst="rect">
              <a:avLst/>
            </a:prstGeom>
            <a:noFill/>
          </p:spPr>
          <p:txBody>
            <a:bodyPr wrap="square" lIns="0" tIns="0" rIns="0" bIns="0" rtlCol="0">
              <a:spAutoFit/>
            </a:bodyPr>
            <a:lstStyle/>
            <a:p>
              <a:pPr algn="ctr" defTabSz="914367">
                <a:defRPr/>
              </a:pPr>
              <a:r>
                <a:rPr lang="en-US" sz="1372">
                  <a:solidFill>
                    <a:srgbClr val="3C3C41"/>
                  </a:solidFill>
                  <a:latin typeface="Segoe UI Semibold"/>
                </a:rPr>
                <a:t>Unencrypted SQL server</a:t>
              </a:r>
            </a:p>
          </p:txBody>
        </p:sp>
        <p:grpSp>
          <p:nvGrpSpPr>
            <p:cNvPr id="128" name="Group 127">
              <a:extLst>
                <a:ext uri="{FF2B5EF4-FFF2-40B4-BE49-F238E27FC236}">
                  <a16:creationId xmlns:a16="http://schemas.microsoft.com/office/drawing/2014/main" id="{28DC31C7-B67F-4DD1-AA7C-56FFFE0A65EE}"/>
                </a:ext>
              </a:extLst>
            </p:cNvPr>
            <p:cNvGrpSpPr/>
            <p:nvPr/>
          </p:nvGrpSpPr>
          <p:grpSpPr>
            <a:xfrm>
              <a:off x="8165325" y="3105424"/>
              <a:ext cx="292302" cy="584600"/>
              <a:chOff x="2460625" y="2767013"/>
              <a:chExt cx="296863" cy="593725"/>
            </a:xfrm>
          </p:grpSpPr>
          <p:sp>
            <p:nvSpPr>
              <p:cNvPr id="129" name="Rectangle 5">
                <a:extLst>
                  <a:ext uri="{FF2B5EF4-FFF2-40B4-BE49-F238E27FC236}">
                    <a16:creationId xmlns:a16="http://schemas.microsoft.com/office/drawing/2014/main" id="{D28085D3-7854-4D78-8A2C-F7CFD3B7F3D1}"/>
                  </a:ext>
                </a:extLst>
              </p:cNvPr>
              <p:cNvSpPr>
                <a:spLocks noChangeArrowheads="1"/>
              </p:cNvSpPr>
              <p:nvPr/>
            </p:nvSpPr>
            <p:spPr bwMode="auto">
              <a:xfrm>
                <a:off x="2460625" y="2767013"/>
                <a:ext cx="296863" cy="593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30" name="Rectangle 6">
                <a:extLst>
                  <a:ext uri="{FF2B5EF4-FFF2-40B4-BE49-F238E27FC236}">
                    <a16:creationId xmlns:a16="http://schemas.microsoft.com/office/drawing/2014/main" id="{A1B6F070-F53F-4BC8-A9D8-FEF62A5E7771}"/>
                  </a:ext>
                </a:extLst>
              </p:cNvPr>
              <p:cNvSpPr>
                <a:spLocks noChangeArrowheads="1"/>
              </p:cNvSpPr>
              <p:nvPr/>
            </p:nvSpPr>
            <p:spPr bwMode="auto">
              <a:xfrm>
                <a:off x="2497138" y="3194051"/>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31" name="Rectangle 7">
                <a:extLst>
                  <a:ext uri="{FF2B5EF4-FFF2-40B4-BE49-F238E27FC236}">
                    <a16:creationId xmlns:a16="http://schemas.microsoft.com/office/drawing/2014/main" id="{45B6AB1B-2A93-4794-9852-C0BA25852A2B}"/>
                  </a:ext>
                </a:extLst>
              </p:cNvPr>
              <p:cNvSpPr>
                <a:spLocks noChangeArrowheads="1"/>
              </p:cNvSpPr>
              <p:nvPr/>
            </p:nvSpPr>
            <p:spPr bwMode="auto">
              <a:xfrm>
                <a:off x="2497138" y="2822576"/>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32" name="Rectangle 8">
                <a:extLst>
                  <a:ext uri="{FF2B5EF4-FFF2-40B4-BE49-F238E27FC236}">
                    <a16:creationId xmlns:a16="http://schemas.microsoft.com/office/drawing/2014/main" id="{02C6EF86-78E1-40B0-B4BB-F41F7E82E3CB}"/>
                  </a:ext>
                </a:extLst>
              </p:cNvPr>
              <p:cNvSpPr>
                <a:spLocks noChangeArrowheads="1"/>
              </p:cNvSpPr>
              <p:nvPr/>
            </p:nvSpPr>
            <p:spPr bwMode="auto">
              <a:xfrm>
                <a:off x="2497138" y="3268663"/>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sp>
          <p:nvSpPr>
            <p:cNvPr id="45" name="TextBox 44">
              <a:extLst>
                <a:ext uri="{FF2B5EF4-FFF2-40B4-BE49-F238E27FC236}">
                  <a16:creationId xmlns:a16="http://schemas.microsoft.com/office/drawing/2014/main" id="{BD6E02D2-400D-4C10-B43A-0B47C7A974C7}"/>
                </a:ext>
              </a:extLst>
            </p:cNvPr>
            <p:cNvSpPr txBox="1"/>
            <p:nvPr/>
          </p:nvSpPr>
          <p:spPr>
            <a:xfrm>
              <a:off x="6310899" y="5268176"/>
              <a:ext cx="1149408" cy="430887"/>
            </a:xfrm>
            <a:prstGeom prst="rect">
              <a:avLst/>
            </a:prstGeom>
            <a:noFill/>
          </p:spPr>
          <p:txBody>
            <a:bodyPr wrap="square" lIns="0" tIns="0" rIns="0" bIns="0" rtlCol="0">
              <a:spAutoFit/>
            </a:bodyPr>
            <a:lstStyle/>
            <a:p>
              <a:pPr algn="ctr" defTabSz="914367">
                <a:defRPr/>
              </a:pPr>
              <a:r>
                <a:rPr lang="en-US" sz="1372">
                  <a:solidFill>
                    <a:srgbClr val="3C3C41"/>
                  </a:solidFill>
                  <a:latin typeface="Segoe UI Semibold"/>
                </a:rPr>
                <a:t>PCI Non-compliance</a:t>
              </a:r>
            </a:p>
          </p:txBody>
        </p:sp>
        <p:sp>
          <p:nvSpPr>
            <p:cNvPr id="138" name="Shield_EA18" title="Icon of a shield">
              <a:extLst>
                <a:ext uri="{FF2B5EF4-FFF2-40B4-BE49-F238E27FC236}">
                  <a16:creationId xmlns:a16="http://schemas.microsoft.com/office/drawing/2014/main" id="{2264E0A3-5686-408E-A0D2-27D2F57EF4C0}"/>
                </a:ext>
              </a:extLst>
            </p:cNvPr>
            <p:cNvSpPr>
              <a:spLocks noChangeAspect="1"/>
            </p:cNvSpPr>
            <p:nvPr/>
          </p:nvSpPr>
          <p:spPr bwMode="auto">
            <a:xfrm>
              <a:off x="6639419" y="3112313"/>
              <a:ext cx="492368" cy="52420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a:endParaRPr>
            </a:p>
          </p:txBody>
        </p:sp>
        <p:sp>
          <p:nvSpPr>
            <p:cNvPr id="48" name="TextBox 47">
              <a:extLst>
                <a:ext uri="{FF2B5EF4-FFF2-40B4-BE49-F238E27FC236}">
                  <a16:creationId xmlns:a16="http://schemas.microsoft.com/office/drawing/2014/main" id="{8914B928-13B7-4A3B-949E-EF6477F6B055}"/>
                </a:ext>
              </a:extLst>
            </p:cNvPr>
            <p:cNvSpPr txBox="1"/>
            <p:nvPr/>
          </p:nvSpPr>
          <p:spPr>
            <a:xfrm>
              <a:off x="10498011" y="5268176"/>
              <a:ext cx="1330422" cy="646331"/>
            </a:xfrm>
            <a:prstGeom prst="rect">
              <a:avLst/>
            </a:prstGeom>
            <a:noFill/>
          </p:spPr>
          <p:txBody>
            <a:bodyPr wrap="square" lIns="0" tIns="0" rIns="0" bIns="0" rtlCol="0">
              <a:spAutoFit/>
            </a:bodyPr>
            <a:lstStyle/>
            <a:p>
              <a:pPr algn="ctr" defTabSz="914367">
                <a:defRPr/>
              </a:pPr>
              <a:r>
                <a:rPr lang="en-US" sz="1372">
                  <a:solidFill>
                    <a:srgbClr val="3C3C41"/>
                  </a:solidFill>
                  <a:latin typeface="Segoe UI Semibold"/>
                </a:rPr>
                <a:t>Remote connection </a:t>
              </a:r>
              <a:br>
                <a:rPr lang="en-US" sz="1372">
                  <a:solidFill>
                    <a:srgbClr val="3C3C41"/>
                  </a:solidFill>
                  <a:latin typeface="Segoe UI Semibold"/>
                </a:rPr>
              </a:br>
              <a:r>
                <a:rPr lang="en-US" sz="1372">
                  <a:solidFill>
                    <a:srgbClr val="3C3C41"/>
                  </a:solidFill>
                  <a:latin typeface="Segoe UI Semibold"/>
                </a:rPr>
                <a:t>left open</a:t>
              </a:r>
            </a:p>
          </p:txBody>
        </p:sp>
        <p:grpSp>
          <p:nvGrpSpPr>
            <p:cNvPr id="4" name="Group 3">
              <a:extLst>
                <a:ext uri="{FF2B5EF4-FFF2-40B4-BE49-F238E27FC236}">
                  <a16:creationId xmlns:a16="http://schemas.microsoft.com/office/drawing/2014/main" id="{0A763179-165E-4E11-9EB1-1D2C4F452616}"/>
                </a:ext>
              </a:extLst>
            </p:cNvPr>
            <p:cNvGrpSpPr/>
            <p:nvPr/>
          </p:nvGrpSpPr>
          <p:grpSpPr>
            <a:xfrm>
              <a:off x="4034637" y="3838591"/>
              <a:ext cx="8401838" cy="887575"/>
              <a:chOff x="4034637" y="3838591"/>
              <a:chExt cx="8401838" cy="887575"/>
            </a:xfrm>
          </p:grpSpPr>
          <p:grpSp>
            <p:nvGrpSpPr>
              <p:cNvPr id="88" name="Group 87">
                <a:extLst>
                  <a:ext uri="{FF2B5EF4-FFF2-40B4-BE49-F238E27FC236}">
                    <a16:creationId xmlns:a16="http://schemas.microsoft.com/office/drawing/2014/main" id="{72D5DF7F-0554-4050-84F4-B08314D77F3A}"/>
                  </a:ext>
                </a:extLst>
              </p:cNvPr>
              <p:cNvGrpSpPr/>
              <p:nvPr/>
            </p:nvGrpSpPr>
            <p:grpSpPr>
              <a:xfrm>
                <a:off x="4034637" y="3838591"/>
                <a:ext cx="2183600" cy="887575"/>
                <a:chOff x="4034637" y="3925725"/>
                <a:chExt cx="2183600" cy="887575"/>
              </a:xfrm>
            </p:grpSpPr>
            <p:cxnSp>
              <p:nvCxnSpPr>
                <p:cNvPr id="77" name="Straight Connector 76">
                  <a:extLst>
                    <a:ext uri="{FF2B5EF4-FFF2-40B4-BE49-F238E27FC236}">
                      <a16:creationId xmlns:a16="http://schemas.microsoft.com/office/drawing/2014/main" id="{30E9F41A-97C3-45CE-9EF8-BD9EDFB67C5C}"/>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7023A1F-94A4-4166-BD3D-5DBD8B5840CD}"/>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26217B6-DC18-4736-9F26-2806CDC0C5B4}"/>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52B70E9-8ECF-4A3A-9F9B-0DDB89539488}"/>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6A7E885-3931-4CE5-9B06-56D0A1F0A0E9}"/>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495BA78-2B56-4CF6-850C-C518204019D3}"/>
                    </a:ext>
                  </a:extLst>
                </p:cNvPr>
                <p:cNvCxnSpPr>
                  <a:cxnSpLocks/>
                </p:cNvCxnSpPr>
                <p:nvPr/>
              </p:nvCxnSpPr>
              <p:spPr>
                <a:xfrm>
                  <a:off x="5636261"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BC50F7A-1108-48BA-B1E1-96B6EEE4EA64}"/>
                    </a:ext>
                  </a:extLst>
                </p:cNvPr>
                <p:cNvCxnSpPr>
                  <a:cxnSpLocks/>
                </p:cNvCxnSpPr>
                <p:nvPr/>
              </p:nvCxnSpPr>
              <p:spPr>
                <a:xfrm>
                  <a:off x="4034637" y="4366260"/>
                  <a:ext cx="1248563"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5" name="Group 104">
                <a:extLst>
                  <a:ext uri="{FF2B5EF4-FFF2-40B4-BE49-F238E27FC236}">
                    <a16:creationId xmlns:a16="http://schemas.microsoft.com/office/drawing/2014/main" id="{2265E750-B4A7-47FF-8F3E-E17491E66B47}"/>
                  </a:ext>
                </a:extLst>
              </p:cNvPr>
              <p:cNvGrpSpPr/>
              <p:nvPr/>
            </p:nvGrpSpPr>
            <p:grpSpPr>
              <a:xfrm>
                <a:off x="8978843" y="3838591"/>
                <a:ext cx="1517013" cy="887575"/>
                <a:chOff x="4701224" y="3925725"/>
                <a:chExt cx="1517013" cy="887575"/>
              </a:xfrm>
            </p:grpSpPr>
            <p:cxnSp>
              <p:nvCxnSpPr>
                <p:cNvPr id="106" name="Straight Connector 105">
                  <a:extLst>
                    <a:ext uri="{FF2B5EF4-FFF2-40B4-BE49-F238E27FC236}">
                      <a16:creationId xmlns:a16="http://schemas.microsoft.com/office/drawing/2014/main" id="{C72182FC-0D08-4CB8-A544-A60E4C15E360}"/>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27C7455-5843-4FA4-A7FD-253079A18A5C}"/>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E6333B4-137F-4FE9-AFA1-23A0BA8020C2}"/>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AC4B7B-0891-44F0-98DE-59FC83A5967E}"/>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3F08DF9-7E2B-4FB7-9455-7E33B58A76B1}"/>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0064829-2306-4FF9-8337-19E0C3CC4B47}"/>
                    </a:ext>
                  </a:extLst>
                </p:cNvPr>
                <p:cNvCxnSpPr>
                  <a:cxnSpLocks/>
                </p:cNvCxnSpPr>
                <p:nvPr/>
              </p:nvCxnSpPr>
              <p:spPr>
                <a:xfrm>
                  <a:off x="5636261"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D1A403A1-7C3D-4463-BFC7-DC1A62CE7925}"/>
                    </a:ext>
                  </a:extLst>
                </p:cNvPr>
                <p:cNvCxnSpPr>
                  <a:cxnSpLocks/>
                </p:cNvCxnSpPr>
                <p:nvPr/>
              </p:nvCxnSpPr>
              <p:spPr>
                <a:xfrm>
                  <a:off x="4701224"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9C9FDB3E-82C9-42C0-9BE0-43AB8F61F309}"/>
                  </a:ext>
                </a:extLst>
              </p:cNvPr>
              <p:cNvGrpSpPr/>
              <p:nvPr/>
            </p:nvGrpSpPr>
            <p:grpSpPr>
              <a:xfrm>
                <a:off x="7552970" y="3838591"/>
                <a:ext cx="1517013" cy="887575"/>
                <a:chOff x="4701224" y="3925725"/>
                <a:chExt cx="1517013" cy="887575"/>
              </a:xfrm>
            </p:grpSpPr>
            <p:cxnSp>
              <p:nvCxnSpPr>
                <p:cNvPr id="98" name="Straight Connector 97">
                  <a:extLst>
                    <a:ext uri="{FF2B5EF4-FFF2-40B4-BE49-F238E27FC236}">
                      <a16:creationId xmlns:a16="http://schemas.microsoft.com/office/drawing/2014/main" id="{027CF02B-7680-4ED7-850F-4C3C352428CB}"/>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7A4C153-0453-45FD-9090-EAF783056B1C}"/>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FF54B45-1D2B-4950-A90E-EE2D691709DA}"/>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64DF225-26C3-4C96-8912-47D5B4FBE3E0}"/>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E91E10A-128B-4E40-BCAC-53BCE0E4F957}"/>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8A00CC6D-7FBE-4E28-B12C-8C3B3104B6C2}"/>
                    </a:ext>
                  </a:extLst>
                </p:cNvPr>
                <p:cNvCxnSpPr>
                  <a:cxnSpLocks/>
                </p:cNvCxnSpPr>
                <p:nvPr/>
              </p:nvCxnSpPr>
              <p:spPr>
                <a:xfrm>
                  <a:off x="5636261"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4FE31567-7D08-47DC-AE47-6526995ADB15}"/>
                    </a:ext>
                  </a:extLst>
                </p:cNvPr>
                <p:cNvCxnSpPr>
                  <a:cxnSpLocks/>
                </p:cNvCxnSpPr>
                <p:nvPr/>
              </p:nvCxnSpPr>
              <p:spPr>
                <a:xfrm>
                  <a:off x="4701224"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635A8EFC-E99A-4A8E-8F1A-B740502807A5}"/>
                  </a:ext>
                </a:extLst>
              </p:cNvPr>
              <p:cNvGrpSpPr/>
              <p:nvPr/>
            </p:nvGrpSpPr>
            <p:grpSpPr>
              <a:xfrm>
                <a:off x="6127097" y="3838591"/>
                <a:ext cx="1517013" cy="887575"/>
                <a:chOff x="4701224" y="3925725"/>
                <a:chExt cx="1517013" cy="887575"/>
              </a:xfrm>
            </p:grpSpPr>
            <p:cxnSp>
              <p:nvCxnSpPr>
                <p:cNvPr id="90" name="Straight Connector 89">
                  <a:extLst>
                    <a:ext uri="{FF2B5EF4-FFF2-40B4-BE49-F238E27FC236}">
                      <a16:creationId xmlns:a16="http://schemas.microsoft.com/office/drawing/2014/main" id="{73D0497E-5AC4-4B29-8F27-15EEC37DFEFE}"/>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068BBCE4-3EB7-46BC-B49E-4C4110ABEC0F}"/>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4EFC2EE6-A4CB-4B8B-BE6A-286A1C27B21F}"/>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773100-B415-4B28-AC26-202EFC8A83A0}"/>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2FDEB34-E19A-4415-82B6-833BEB3DED3B}"/>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8E4CF21-D751-4FED-85A8-BAA39011D745}"/>
                    </a:ext>
                  </a:extLst>
                </p:cNvPr>
                <p:cNvCxnSpPr>
                  <a:cxnSpLocks/>
                </p:cNvCxnSpPr>
                <p:nvPr/>
              </p:nvCxnSpPr>
              <p:spPr>
                <a:xfrm>
                  <a:off x="5636261"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3B374C7-FDF8-4E4C-8E84-A7A020DCB97B}"/>
                    </a:ext>
                  </a:extLst>
                </p:cNvPr>
                <p:cNvCxnSpPr>
                  <a:cxnSpLocks/>
                </p:cNvCxnSpPr>
                <p:nvPr/>
              </p:nvCxnSpPr>
              <p:spPr>
                <a:xfrm>
                  <a:off x="4701224"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0F6A7D77-28FD-4325-BA86-DCECD139A033}"/>
                  </a:ext>
                </a:extLst>
              </p:cNvPr>
              <p:cNvGrpSpPr/>
              <p:nvPr/>
            </p:nvGrpSpPr>
            <p:grpSpPr>
              <a:xfrm>
                <a:off x="10404716" y="3838591"/>
                <a:ext cx="2031759" cy="887575"/>
                <a:chOff x="4701224" y="3925725"/>
                <a:chExt cx="2031759" cy="887575"/>
              </a:xfrm>
            </p:grpSpPr>
            <p:cxnSp>
              <p:nvCxnSpPr>
                <p:cNvPr id="114" name="Straight Connector 113">
                  <a:extLst>
                    <a:ext uri="{FF2B5EF4-FFF2-40B4-BE49-F238E27FC236}">
                      <a16:creationId xmlns:a16="http://schemas.microsoft.com/office/drawing/2014/main" id="{AE4ABA1D-1364-4C34-B983-2FB0EC6D60DD}"/>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C115ED5-E3E6-49A9-8D2C-2C2A2C76BBC5}"/>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A2C83B3-FECC-403A-87B3-8A0BAB7C8C24}"/>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2A4244D3-3897-4F06-8A04-5800C0E47F9A}"/>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F9CDED4-8F2F-4EA1-BC14-B8B083CA631C}"/>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532FE43-3807-444F-B693-84C5BC613A33}"/>
                    </a:ext>
                  </a:extLst>
                </p:cNvPr>
                <p:cNvCxnSpPr>
                  <a:cxnSpLocks/>
                </p:cNvCxnSpPr>
                <p:nvPr/>
              </p:nvCxnSpPr>
              <p:spPr>
                <a:xfrm>
                  <a:off x="5636261" y="4366260"/>
                  <a:ext cx="1096722"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F384EE2-8FF3-4255-B66F-BD33FB22975E}"/>
                    </a:ext>
                  </a:extLst>
                </p:cNvPr>
                <p:cNvCxnSpPr>
                  <a:cxnSpLocks/>
                </p:cNvCxnSpPr>
                <p:nvPr/>
              </p:nvCxnSpPr>
              <p:spPr>
                <a:xfrm>
                  <a:off x="4701224"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47" name="Group 4">
              <a:extLst>
                <a:ext uri="{FF2B5EF4-FFF2-40B4-BE49-F238E27FC236}">
                  <a16:creationId xmlns:a16="http://schemas.microsoft.com/office/drawing/2014/main" id="{E7E7DCE2-9C44-4D19-99E8-F3BC1B5A0ABF}"/>
                </a:ext>
              </a:extLst>
            </p:cNvPr>
            <p:cNvGrpSpPr>
              <a:grpSpLocks noChangeAspect="1"/>
            </p:cNvGrpSpPr>
            <p:nvPr/>
          </p:nvGrpSpPr>
          <p:grpSpPr bwMode="auto">
            <a:xfrm>
              <a:off x="10917245" y="3101830"/>
              <a:ext cx="491954" cy="565174"/>
              <a:chOff x="7066" y="1987"/>
              <a:chExt cx="215" cy="247"/>
            </a:xfrm>
          </p:grpSpPr>
          <p:sp>
            <p:nvSpPr>
              <p:cNvPr id="149" name="Freeform 5">
                <a:extLst>
                  <a:ext uri="{FF2B5EF4-FFF2-40B4-BE49-F238E27FC236}">
                    <a16:creationId xmlns:a16="http://schemas.microsoft.com/office/drawing/2014/main" id="{8223FDBE-EE55-4C45-BD6C-E1639905009B}"/>
                  </a:ext>
                </a:extLst>
              </p:cNvPr>
              <p:cNvSpPr>
                <a:spLocks/>
              </p:cNvSpPr>
              <p:nvPr/>
            </p:nvSpPr>
            <p:spPr bwMode="auto">
              <a:xfrm>
                <a:off x="7066" y="2101"/>
                <a:ext cx="149" cy="84"/>
              </a:xfrm>
              <a:custGeom>
                <a:avLst/>
                <a:gdLst>
                  <a:gd name="T0" fmla="*/ 0 w 240"/>
                  <a:gd name="T1" fmla="*/ 134 h 134"/>
                  <a:gd name="T2" fmla="*/ 0 w 240"/>
                  <a:gd name="T3" fmla="*/ 134 h 134"/>
                  <a:gd name="T4" fmla="*/ 240 w 240"/>
                  <a:gd name="T5" fmla="*/ 134 h 134"/>
                  <a:gd name="T6" fmla="*/ 240 w 240"/>
                  <a:gd name="T7" fmla="*/ 0 h 134"/>
                  <a:gd name="T8" fmla="*/ 0 w 240"/>
                  <a:gd name="T9" fmla="*/ 0 h 134"/>
                  <a:gd name="T10" fmla="*/ 0 w 240"/>
                  <a:gd name="T11" fmla="*/ 134 h 134"/>
                </a:gdLst>
                <a:ahLst/>
                <a:cxnLst>
                  <a:cxn ang="0">
                    <a:pos x="T0" y="T1"/>
                  </a:cxn>
                  <a:cxn ang="0">
                    <a:pos x="T2" y="T3"/>
                  </a:cxn>
                  <a:cxn ang="0">
                    <a:pos x="T4" y="T5"/>
                  </a:cxn>
                  <a:cxn ang="0">
                    <a:pos x="T6" y="T7"/>
                  </a:cxn>
                  <a:cxn ang="0">
                    <a:pos x="T8" y="T9"/>
                  </a:cxn>
                  <a:cxn ang="0">
                    <a:pos x="T10" y="T11"/>
                  </a:cxn>
                </a:cxnLst>
                <a:rect l="0" t="0" r="r" b="b"/>
                <a:pathLst>
                  <a:path w="240" h="134">
                    <a:moveTo>
                      <a:pt x="0" y="134"/>
                    </a:moveTo>
                    <a:lnTo>
                      <a:pt x="0" y="134"/>
                    </a:lnTo>
                    <a:lnTo>
                      <a:pt x="240" y="134"/>
                    </a:lnTo>
                    <a:lnTo>
                      <a:pt x="240" y="0"/>
                    </a:lnTo>
                    <a:lnTo>
                      <a:pt x="0" y="0"/>
                    </a:lnTo>
                    <a:lnTo>
                      <a:pt x="0" y="134"/>
                    </a:ln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50" name="Freeform 6">
                <a:extLst>
                  <a:ext uri="{FF2B5EF4-FFF2-40B4-BE49-F238E27FC236}">
                    <a16:creationId xmlns:a16="http://schemas.microsoft.com/office/drawing/2014/main" id="{CED3DBFE-4515-4881-A4B8-43755E02F6B9}"/>
                  </a:ext>
                </a:extLst>
              </p:cNvPr>
              <p:cNvSpPr>
                <a:spLocks/>
              </p:cNvSpPr>
              <p:nvPr/>
            </p:nvSpPr>
            <p:spPr bwMode="auto">
              <a:xfrm>
                <a:off x="7210" y="1990"/>
                <a:ext cx="58" cy="46"/>
              </a:xfrm>
              <a:custGeom>
                <a:avLst/>
                <a:gdLst>
                  <a:gd name="T0" fmla="*/ 53 w 92"/>
                  <a:gd name="T1" fmla="*/ 27 h 73"/>
                  <a:gd name="T2" fmla="*/ 53 w 92"/>
                  <a:gd name="T3" fmla="*/ 27 h 73"/>
                  <a:gd name="T4" fmla="*/ 0 w 92"/>
                  <a:gd name="T5" fmla="*/ 0 h 73"/>
                  <a:gd name="T6" fmla="*/ 16 w 92"/>
                  <a:gd name="T7" fmla="*/ 35 h 73"/>
                  <a:gd name="T8" fmla="*/ 25 w 92"/>
                  <a:gd name="T9" fmla="*/ 73 h 73"/>
                  <a:gd name="T10" fmla="*/ 92 w 92"/>
                  <a:gd name="T11" fmla="*/ 73 h 73"/>
                  <a:gd name="T12" fmla="*/ 53 w 92"/>
                  <a:gd name="T13" fmla="*/ 27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53" y="27"/>
                    </a:moveTo>
                    <a:lnTo>
                      <a:pt x="53" y="27"/>
                    </a:lnTo>
                    <a:cubicBezTo>
                      <a:pt x="37" y="15"/>
                      <a:pt x="19" y="5"/>
                      <a:pt x="0" y="0"/>
                    </a:cubicBezTo>
                    <a:cubicBezTo>
                      <a:pt x="6" y="10"/>
                      <a:pt x="12" y="22"/>
                      <a:pt x="16" y="35"/>
                    </a:cubicBezTo>
                    <a:cubicBezTo>
                      <a:pt x="20" y="48"/>
                      <a:pt x="23" y="60"/>
                      <a:pt x="25" y="73"/>
                    </a:cubicBezTo>
                    <a:lnTo>
                      <a:pt x="92" y="73"/>
                    </a:lnTo>
                    <a:cubicBezTo>
                      <a:pt x="81" y="55"/>
                      <a:pt x="68" y="40"/>
                      <a:pt x="53" y="27"/>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51" name="Freeform 7">
                <a:extLst>
                  <a:ext uri="{FF2B5EF4-FFF2-40B4-BE49-F238E27FC236}">
                    <a16:creationId xmlns:a16="http://schemas.microsoft.com/office/drawing/2014/main" id="{60BB6275-2ADD-4175-8E10-B979DC1C0193}"/>
                  </a:ext>
                </a:extLst>
              </p:cNvPr>
              <p:cNvSpPr>
                <a:spLocks/>
              </p:cNvSpPr>
              <p:nvPr/>
            </p:nvSpPr>
            <p:spPr bwMode="auto">
              <a:xfrm>
                <a:off x="7229" y="2052"/>
                <a:ext cx="52" cy="66"/>
              </a:xfrm>
              <a:custGeom>
                <a:avLst/>
                <a:gdLst>
                  <a:gd name="T0" fmla="*/ 83 w 83"/>
                  <a:gd name="T1" fmla="*/ 54 h 107"/>
                  <a:gd name="T2" fmla="*/ 83 w 83"/>
                  <a:gd name="T3" fmla="*/ 54 h 107"/>
                  <a:gd name="T4" fmla="*/ 74 w 83"/>
                  <a:gd name="T5" fmla="*/ 0 h 107"/>
                  <a:gd name="T6" fmla="*/ 0 w 83"/>
                  <a:gd name="T7" fmla="*/ 0 h 107"/>
                  <a:gd name="T8" fmla="*/ 3 w 83"/>
                  <a:gd name="T9" fmla="*/ 53 h 107"/>
                  <a:gd name="T10" fmla="*/ 3 w 83"/>
                  <a:gd name="T11" fmla="*/ 107 h 107"/>
                  <a:gd name="T12" fmla="*/ 74 w 83"/>
                  <a:gd name="T13" fmla="*/ 107 h 107"/>
                  <a:gd name="T14" fmla="*/ 83 w 83"/>
                  <a:gd name="T15" fmla="*/ 5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107">
                    <a:moveTo>
                      <a:pt x="83" y="54"/>
                    </a:moveTo>
                    <a:lnTo>
                      <a:pt x="83" y="54"/>
                    </a:lnTo>
                    <a:cubicBezTo>
                      <a:pt x="83" y="35"/>
                      <a:pt x="80" y="18"/>
                      <a:pt x="74" y="0"/>
                    </a:cubicBezTo>
                    <a:lnTo>
                      <a:pt x="0" y="0"/>
                    </a:lnTo>
                    <a:cubicBezTo>
                      <a:pt x="2" y="18"/>
                      <a:pt x="3" y="36"/>
                      <a:pt x="3" y="53"/>
                    </a:cubicBezTo>
                    <a:lnTo>
                      <a:pt x="3" y="107"/>
                    </a:lnTo>
                    <a:lnTo>
                      <a:pt x="74" y="107"/>
                    </a:lnTo>
                    <a:cubicBezTo>
                      <a:pt x="80" y="90"/>
                      <a:pt x="83" y="72"/>
                      <a:pt x="83" y="54"/>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52" name="Freeform 8">
                <a:extLst>
                  <a:ext uri="{FF2B5EF4-FFF2-40B4-BE49-F238E27FC236}">
                    <a16:creationId xmlns:a16="http://schemas.microsoft.com/office/drawing/2014/main" id="{76A9ED44-7E8F-4242-864E-54DB38E32533}"/>
                  </a:ext>
                </a:extLst>
              </p:cNvPr>
              <p:cNvSpPr>
                <a:spLocks/>
              </p:cNvSpPr>
              <p:nvPr/>
            </p:nvSpPr>
            <p:spPr bwMode="auto">
              <a:xfrm>
                <a:off x="7148" y="2052"/>
                <a:ext cx="66" cy="33"/>
              </a:xfrm>
              <a:custGeom>
                <a:avLst/>
                <a:gdLst>
                  <a:gd name="T0" fmla="*/ 0 w 106"/>
                  <a:gd name="T1" fmla="*/ 27 h 54"/>
                  <a:gd name="T2" fmla="*/ 0 w 106"/>
                  <a:gd name="T3" fmla="*/ 27 h 54"/>
                  <a:gd name="T4" fmla="*/ 0 w 106"/>
                  <a:gd name="T5" fmla="*/ 54 h 54"/>
                  <a:gd name="T6" fmla="*/ 106 w 106"/>
                  <a:gd name="T7" fmla="*/ 54 h 54"/>
                  <a:gd name="T8" fmla="*/ 105 w 106"/>
                  <a:gd name="T9" fmla="*/ 27 h 54"/>
                  <a:gd name="T10" fmla="*/ 103 w 106"/>
                  <a:gd name="T11" fmla="*/ 0 h 54"/>
                  <a:gd name="T12" fmla="*/ 3 w 106"/>
                  <a:gd name="T13" fmla="*/ 0 h 54"/>
                  <a:gd name="T14" fmla="*/ 0 w 106"/>
                  <a:gd name="T15" fmla="*/ 2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0" y="27"/>
                    </a:moveTo>
                    <a:lnTo>
                      <a:pt x="0" y="27"/>
                    </a:lnTo>
                    <a:cubicBezTo>
                      <a:pt x="0" y="36"/>
                      <a:pt x="0" y="45"/>
                      <a:pt x="0" y="54"/>
                    </a:cubicBezTo>
                    <a:lnTo>
                      <a:pt x="106" y="54"/>
                    </a:lnTo>
                    <a:cubicBezTo>
                      <a:pt x="106" y="45"/>
                      <a:pt x="106" y="36"/>
                      <a:pt x="105" y="27"/>
                    </a:cubicBezTo>
                    <a:cubicBezTo>
                      <a:pt x="105" y="18"/>
                      <a:pt x="104" y="9"/>
                      <a:pt x="103" y="0"/>
                    </a:cubicBezTo>
                    <a:lnTo>
                      <a:pt x="3" y="0"/>
                    </a:lnTo>
                    <a:cubicBezTo>
                      <a:pt x="2" y="9"/>
                      <a:pt x="1" y="18"/>
                      <a:pt x="0" y="27"/>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53" name="Freeform 9">
                <a:extLst>
                  <a:ext uri="{FF2B5EF4-FFF2-40B4-BE49-F238E27FC236}">
                    <a16:creationId xmlns:a16="http://schemas.microsoft.com/office/drawing/2014/main" id="{F5E5B1D7-9B04-4BC6-90DF-1D1C481A2B36}"/>
                  </a:ext>
                </a:extLst>
              </p:cNvPr>
              <p:cNvSpPr>
                <a:spLocks/>
              </p:cNvSpPr>
              <p:nvPr/>
            </p:nvSpPr>
            <p:spPr bwMode="auto">
              <a:xfrm>
                <a:off x="7153" y="1987"/>
                <a:ext cx="56" cy="49"/>
              </a:xfrm>
              <a:custGeom>
                <a:avLst/>
                <a:gdLst>
                  <a:gd name="T0" fmla="*/ 82 w 90"/>
                  <a:gd name="T1" fmla="*/ 50 h 79"/>
                  <a:gd name="T2" fmla="*/ 82 w 90"/>
                  <a:gd name="T3" fmla="*/ 50 h 79"/>
                  <a:gd name="T4" fmla="*/ 75 w 90"/>
                  <a:gd name="T5" fmla="*/ 32 h 79"/>
                  <a:gd name="T6" fmla="*/ 67 w 90"/>
                  <a:gd name="T7" fmla="*/ 16 h 79"/>
                  <a:gd name="T8" fmla="*/ 57 w 90"/>
                  <a:gd name="T9" fmla="*/ 4 h 79"/>
                  <a:gd name="T10" fmla="*/ 45 w 90"/>
                  <a:gd name="T11" fmla="*/ 0 h 79"/>
                  <a:gd name="T12" fmla="*/ 33 w 90"/>
                  <a:gd name="T13" fmla="*/ 4 h 79"/>
                  <a:gd name="T14" fmla="*/ 23 w 90"/>
                  <a:gd name="T15" fmla="*/ 16 h 79"/>
                  <a:gd name="T16" fmla="*/ 15 w 90"/>
                  <a:gd name="T17" fmla="*/ 32 h 79"/>
                  <a:gd name="T18" fmla="*/ 8 w 90"/>
                  <a:gd name="T19" fmla="*/ 50 h 79"/>
                  <a:gd name="T20" fmla="*/ 3 w 90"/>
                  <a:gd name="T21" fmla="*/ 66 h 79"/>
                  <a:gd name="T22" fmla="*/ 0 w 90"/>
                  <a:gd name="T23" fmla="*/ 79 h 79"/>
                  <a:gd name="T24" fmla="*/ 90 w 90"/>
                  <a:gd name="T25" fmla="*/ 79 h 79"/>
                  <a:gd name="T26" fmla="*/ 87 w 90"/>
                  <a:gd name="T27" fmla="*/ 66 h 79"/>
                  <a:gd name="T28" fmla="*/ 82 w 90"/>
                  <a:gd name="T29"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9">
                    <a:moveTo>
                      <a:pt x="82" y="50"/>
                    </a:moveTo>
                    <a:lnTo>
                      <a:pt x="82" y="50"/>
                    </a:lnTo>
                    <a:cubicBezTo>
                      <a:pt x="80" y="44"/>
                      <a:pt x="78" y="38"/>
                      <a:pt x="75" y="32"/>
                    </a:cubicBezTo>
                    <a:cubicBezTo>
                      <a:pt x="73" y="26"/>
                      <a:pt x="70" y="21"/>
                      <a:pt x="67" y="16"/>
                    </a:cubicBezTo>
                    <a:cubicBezTo>
                      <a:pt x="64" y="11"/>
                      <a:pt x="60" y="7"/>
                      <a:pt x="57" y="4"/>
                    </a:cubicBezTo>
                    <a:cubicBezTo>
                      <a:pt x="53" y="1"/>
                      <a:pt x="49" y="0"/>
                      <a:pt x="45" y="0"/>
                    </a:cubicBezTo>
                    <a:cubicBezTo>
                      <a:pt x="41" y="0"/>
                      <a:pt x="37" y="1"/>
                      <a:pt x="33" y="4"/>
                    </a:cubicBezTo>
                    <a:cubicBezTo>
                      <a:pt x="30" y="7"/>
                      <a:pt x="26" y="11"/>
                      <a:pt x="23" y="16"/>
                    </a:cubicBezTo>
                    <a:cubicBezTo>
                      <a:pt x="20" y="21"/>
                      <a:pt x="17" y="26"/>
                      <a:pt x="15" y="32"/>
                    </a:cubicBezTo>
                    <a:cubicBezTo>
                      <a:pt x="12" y="38"/>
                      <a:pt x="10" y="44"/>
                      <a:pt x="8" y="50"/>
                    </a:cubicBezTo>
                    <a:cubicBezTo>
                      <a:pt x="6" y="56"/>
                      <a:pt x="4" y="61"/>
                      <a:pt x="3" y="66"/>
                    </a:cubicBezTo>
                    <a:cubicBezTo>
                      <a:pt x="1" y="71"/>
                      <a:pt x="0" y="75"/>
                      <a:pt x="0" y="79"/>
                    </a:cubicBezTo>
                    <a:lnTo>
                      <a:pt x="90" y="79"/>
                    </a:lnTo>
                    <a:cubicBezTo>
                      <a:pt x="90" y="75"/>
                      <a:pt x="89" y="71"/>
                      <a:pt x="87" y="66"/>
                    </a:cubicBezTo>
                    <a:cubicBezTo>
                      <a:pt x="86" y="61"/>
                      <a:pt x="84" y="56"/>
                      <a:pt x="82" y="5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54" name="Freeform 10">
                <a:extLst>
                  <a:ext uri="{FF2B5EF4-FFF2-40B4-BE49-F238E27FC236}">
                    <a16:creationId xmlns:a16="http://schemas.microsoft.com/office/drawing/2014/main" id="{224E6974-F2FC-4B12-9B5B-F597D710D1E9}"/>
                  </a:ext>
                </a:extLst>
              </p:cNvPr>
              <p:cNvSpPr>
                <a:spLocks/>
              </p:cNvSpPr>
              <p:nvPr/>
            </p:nvSpPr>
            <p:spPr bwMode="auto">
              <a:xfrm>
                <a:off x="7095" y="1990"/>
                <a:ext cx="57" cy="46"/>
              </a:xfrm>
              <a:custGeom>
                <a:avLst/>
                <a:gdLst>
                  <a:gd name="T0" fmla="*/ 0 w 92"/>
                  <a:gd name="T1" fmla="*/ 73 h 73"/>
                  <a:gd name="T2" fmla="*/ 0 w 92"/>
                  <a:gd name="T3" fmla="*/ 73 h 73"/>
                  <a:gd name="T4" fmla="*/ 66 w 92"/>
                  <a:gd name="T5" fmla="*/ 73 h 73"/>
                  <a:gd name="T6" fmla="*/ 76 w 92"/>
                  <a:gd name="T7" fmla="*/ 35 h 73"/>
                  <a:gd name="T8" fmla="*/ 92 w 92"/>
                  <a:gd name="T9" fmla="*/ 0 h 73"/>
                  <a:gd name="T10" fmla="*/ 39 w 92"/>
                  <a:gd name="T11" fmla="*/ 27 h 73"/>
                  <a:gd name="T12" fmla="*/ 0 w 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0" y="73"/>
                    </a:moveTo>
                    <a:lnTo>
                      <a:pt x="0" y="73"/>
                    </a:lnTo>
                    <a:lnTo>
                      <a:pt x="66" y="73"/>
                    </a:lnTo>
                    <a:cubicBezTo>
                      <a:pt x="69" y="60"/>
                      <a:pt x="72" y="48"/>
                      <a:pt x="76" y="35"/>
                    </a:cubicBezTo>
                    <a:cubicBezTo>
                      <a:pt x="80" y="22"/>
                      <a:pt x="86" y="10"/>
                      <a:pt x="92" y="0"/>
                    </a:cubicBezTo>
                    <a:cubicBezTo>
                      <a:pt x="73" y="5"/>
                      <a:pt x="55" y="15"/>
                      <a:pt x="39" y="27"/>
                    </a:cubicBezTo>
                    <a:cubicBezTo>
                      <a:pt x="24" y="40"/>
                      <a:pt x="11" y="55"/>
                      <a:pt x="0" y="73"/>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55" name="Freeform 11">
                <a:extLst>
                  <a:ext uri="{FF2B5EF4-FFF2-40B4-BE49-F238E27FC236}">
                    <a16:creationId xmlns:a16="http://schemas.microsoft.com/office/drawing/2014/main" id="{5254A31F-DD42-4EA9-A195-6A0201A39A42}"/>
                  </a:ext>
                </a:extLst>
              </p:cNvPr>
              <p:cNvSpPr>
                <a:spLocks/>
              </p:cNvSpPr>
              <p:nvPr/>
            </p:nvSpPr>
            <p:spPr bwMode="auto">
              <a:xfrm>
                <a:off x="7082" y="2052"/>
                <a:ext cx="51" cy="33"/>
              </a:xfrm>
              <a:custGeom>
                <a:avLst/>
                <a:gdLst>
                  <a:gd name="T0" fmla="*/ 0 w 83"/>
                  <a:gd name="T1" fmla="*/ 54 h 54"/>
                  <a:gd name="T2" fmla="*/ 0 w 83"/>
                  <a:gd name="T3" fmla="*/ 54 h 54"/>
                  <a:gd name="T4" fmla="*/ 80 w 83"/>
                  <a:gd name="T5" fmla="*/ 54 h 54"/>
                  <a:gd name="T6" fmla="*/ 81 w 83"/>
                  <a:gd name="T7" fmla="*/ 27 h 54"/>
                  <a:gd name="T8" fmla="*/ 83 w 83"/>
                  <a:gd name="T9" fmla="*/ 0 h 54"/>
                  <a:gd name="T10" fmla="*/ 9 w 83"/>
                  <a:gd name="T11" fmla="*/ 0 h 54"/>
                  <a:gd name="T12" fmla="*/ 0 w 8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3" h="54">
                    <a:moveTo>
                      <a:pt x="0" y="54"/>
                    </a:moveTo>
                    <a:lnTo>
                      <a:pt x="0" y="54"/>
                    </a:lnTo>
                    <a:lnTo>
                      <a:pt x="80" y="54"/>
                    </a:lnTo>
                    <a:cubicBezTo>
                      <a:pt x="80" y="45"/>
                      <a:pt x="80" y="36"/>
                      <a:pt x="81" y="27"/>
                    </a:cubicBezTo>
                    <a:cubicBezTo>
                      <a:pt x="81" y="18"/>
                      <a:pt x="82" y="9"/>
                      <a:pt x="83" y="0"/>
                    </a:cubicBezTo>
                    <a:lnTo>
                      <a:pt x="9" y="0"/>
                    </a:lnTo>
                    <a:cubicBezTo>
                      <a:pt x="3" y="18"/>
                      <a:pt x="0" y="35"/>
                      <a:pt x="0" y="54"/>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56" name="Freeform 12">
                <a:extLst>
                  <a:ext uri="{FF2B5EF4-FFF2-40B4-BE49-F238E27FC236}">
                    <a16:creationId xmlns:a16="http://schemas.microsoft.com/office/drawing/2014/main" id="{F17B43CF-5A9F-432F-8C48-751240AF6009}"/>
                  </a:ext>
                </a:extLst>
              </p:cNvPr>
              <p:cNvSpPr>
                <a:spLocks/>
              </p:cNvSpPr>
              <p:nvPr/>
            </p:nvSpPr>
            <p:spPr bwMode="auto">
              <a:xfrm>
                <a:off x="7231" y="2135"/>
                <a:ext cx="37" cy="36"/>
              </a:xfrm>
              <a:custGeom>
                <a:avLst/>
                <a:gdLst>
                  <a:gd name="T0" fmla="*/ 0 w 59"/>
                  <a:gd name="T1" fmla="*/ 58 h 58"/>
                  <a:gd name="T2" fmla="*/ 0 w 59"/>
                  <a:gd name="T3" fmla="*/ 58 h 58"/>
                  <a:gd name="T4" fmla="*/ 33 w 59"/>
                  <a:gd name="T5" fmla="*/ 33 h 58"/>
                  <a:gd name="T6" fmla="*/ 59 w 59"/>
                  <a:gd name="T7" fmla="*/ 0 h 58"/>
                  <a:gd name="T8" fmla="*/ 0 w 59"/>
                  <a:gd name="T9" fmla="*/ 0 h 58"/>
                  <a:gd name="T10" fmla="*/ 0 w 59"/>
                  <a:gd name="T11" fmla="*/ 58 h 58"/>
                </a:gdLst>
                <a:ahLst/>
                <a:cxnLst>
                  <a:cxn ang="0">
                    <a:pos x="T0" y="T1"/>
                  </a:cxn>
                  <a:cxn ang="0">
                    <a:pos x="T2" y="T3"/>
                  </a:cxn>
                  <a:cxn ang="0">
                    <a:pos x="T4" y="T5"/>
                  </a:cxn>
                  <a:cxn ang="0">
                    <a:pos x="T6" y="T7"/>
                  </a:cxn>
                  <a:cxn ang="0">
                    <a:pos x="T8" y="T9"/>
                  </a:cxn>
                  <a:cxn ang="0">
                    <a:pos x="T10" y="T11"/>
                  </a:cxn>
                </a:cxnLst>
                <a:rect l="0" t="0" r="r" b="b"/>
                <a:pathLst>
                  <a:path w="59" h="58">
                    <a:moveTo>
                      <a:pt x="0" y="58"/>
                    </a:moveTo>
                    <a:lnTo>
                      <a:pt x="0" y="58"/>
                    </a:lnTo>
                    <a:cubicBezTo>
                      <a:pt x="12" y="51"/>
                      <a:pt x="23" y="43"/>
                      <a:pt x="33" y="33"/>
                    </a:cubicBezTo>
                    <a:cubicBezTo>
                      <a:pt x="43" y="23"/>
                      <a:pt x="52" y="12"/>
                      <a:pt x="59" y="0"/>
                    </a:cubicBezTo>
                    <a:lnTo>
                      <a:pt x="0" y="0"/>
                    </a:lnTo>
                    <a:lnTo>
                      <a:pt x="0" y="58"/>
                    </a:ln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57" name="Freeform 13">
                <a:extLst>
                  <a:ext uri="{FF2B5EF4-FFF2-40B4-BE49-F238E27FC236}">
                    <a16:creationId xmlns:a16="http://schemas.microsoft.com/office/drawing/2014/main" id="{44D9E5A8-BED4-455E-B62A-30A236A987EB}"/>
                  </a:ext>
                </a:extLst>
              </p:cNvPr>
              <p:cNvSpPr>
                <a:spLocks/>
              </p:cNvSpPr>
              <p:nvPr/>
            </p:nvSpPr>
            <p:spPr bwMode="auto">
              <a:xfrm>
                <a:off x="7099" y="2201"/>
                <a:ext cx="82" cy="33"/>
              </a:xfrm>
              <a:custGeom>
                <a:avLst/>
                <a:gdLst>
                  <a:gd name="T0" fmla="*/ 53 w 133"/>
                  <a:gd name="T1" fmla="*/ 0 h 54"/>
                  <a:gd name="T2" fmla="*/ 53 w 133"/>
                  <a:gd name="T3" fmla="*/ 0 h 54"/>
                  <a:gd name="T4" fmla="*/ 53 w 133"/>
                  <a:gd name="T5" fmla="*/ 27 h 54"/>
                  <a:gd name="T6" fmla="*/ 0 w 133"/>
                  <a:gd name="T7" fmla="*/ 27 h 54"/>
                  <a:gd name="T8" fmla="*/ 0 w 133"/>
                  <a:gd name="T9" fmla="*/ 54 h 54"/>
                  <a:gd name="T10" fmla="*/ 133 w 133"/>
                  <a:gd name="T11" fmla="*/ 54 h 54"/>
                  <a:gd name="T12" fmla="*/ 133 w 133"/>
                  <a:gd name="T13" fmla="*/ 27 h 54"/>
                  <a:gd name="T14" fmla="*/ 80 w 133"/>
                  <a:gd name="T15" fmla="*/ 27 h 54"/>
                  <a:gd name="T16" fmla="*/ 80 w 133"/>
                  <a:gd name="T17" fmla="*/ 0 h 54"/>
                  <a:gd name="T18" fmla="*/ 53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53" y="0"/>
                    </a:moveTo>
                    <a:lnTo>
                      <a:pt x="53" y="0"/>
                    </a:lnTo>
                    <a:lnTo>
                      <a:pt x="53" y="27"/>
                    </a:lnTo>
                    <a:lnTo>
                      <a:pt x="0" y="27"/>
                    </a:lnTo>
                    <a:lnTo>
                      <a:pt x="0" y="54"/>
                    </a:lnTo>
                    <a:lnTo>
                      <a:pt x="133" y="54"/>
                    </a:lnTo>
                    <a:lnTo>
                      <a:pt x="133" y="27"/>
                    </a:lnTo>
                    <a:lnTo>
                      <a:pt x="80" y="27"/>
                    </a:lnTo>
                    <a:lnTo>
                      <a:pt x="80" y="0"/>
                    </a:lnTo>
                    <a:lnTo>
                      <a:pt x="53" y="0"/>
                    </a:ln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sp>
          <p:nvSpPr>
            <p:cNvPr id="83" name="Shield_EA18" title="Icon of a shield">
              <a:extLst>
                <a:ext uri="{FF2B5EF4-FFF2-40B4-BE49-F238E27FC236}">
                  <a16:creationId xmlns:a16="http://schemas.microsoft.com/office/drawing/2014/main" id="{6D3144DA-5D6D-4D69-94DD-C030CDABBAE1}"/>
                </a:ext>
              </a:extLst>
            </p:cNvPr>
            <p:cNvSpPr>
              <a:spLocks noChangeAspect="1"/>
            </p:cNvSpPr>
            <p:nvPr/>
          </p:nvSpPr>
          <p:spPr bwMode="auto">
            <a:xfrm>
              <a:off x="5313579"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ctr" anchorCtr="0" compatLnSpc="1">
              <a:prstTxWarp prst="textNoShape">
                <a:avLst/>
              </a:prstTxWarp>
            </a:bodyPr>
            <a:lstStyle/>
            <a:p>
              <a:pPr algn="ctr" defTabSz="914192">
                <a:defRPr/>
              </a:pPr>
              <a:r>
                <a:rPr lang="en-US" sz="1568" b="1">
                  <a:solidFill>
                    <a:srgbClr val="FFFFFF"/>
                  </a:solidFill>
                  <a:latin typeface="Segoe UI"/>
                </a:rPr>
                <a:t>!</a:t>
              </a:r>
            </a:p>
          </p:txBody>
        </p:sp>
        <p:sp>
          <p:nvSpPr>
            <p:cNvPr id="84" name="Shield_EA18" title="Icon of a shield">
              <a:extLst>
                <a:ext uri="{FF2B5EF4-FFF2-40B4-BE49-F238E27FC236}">
                  <a16:creationId xmlns:a16="http://schemas.microsoft.com/office/drawing/2014/main" id="{336027C5-1EDA-45BA-9A4C-C7C6717ED8FA}"/>
                </a:ext>
              </a:extLst>
            </p:cNvPr>
            <p:cNvSpPr>
              <a:spLocks noChangeAspect="1"/>
            </p:cNvSpPr>
            <p:nvPr/>
          </p:nvSpPr>
          <p:spPr bwMode="auto">
            <a:xfrm>
              <a:off x="6734597"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ctr" anchorCtr="0" compatLnSpc="1">
              <a:prstTxWarp prst="textNoShape">
                <a:avLst/>
              </a:prstTxWarp>
            </a:bodyPr>
            <a:lstStyle/>
            <a:p>
              <a:pPr algn="ctr" defTabSz="914192">
                <a:defRPr/>
              </a:pPr>
              <a:r>
                <a:rPr lang="en-US" sz="1568" b="1">
                  <a:solidFill>
                    <a:srgbClr val="FFFFFF"/>
                  </a:solidFill>
                  <a:latin typeface="Segoe UI"/>
                </a:rPr>
                <a:t>!</a:t>
              </a:r>
            </a:p>
          </p:txBody>
        </p:sp>
        <p:sp>
          <p:nvSpPr>
            <p:cNvPr id="85" name="Shield_EA18" title="Icon of a shield">
              <a:extLst>
                <a:ext uri="{FF2B5EF4-FFF2-40B4-BE49-F238E27FC236}">
                  <a16:creationId xmlns:a16="http://schemas.microsoft.com/office/drawing/2014/main" id="{E090AA23-4B7D-46F4-8122-5CA95E6E6527}"/>
                </a:ext>
              </a:extLst>
            </p:cNvPr>
            <p:cNvSpPr>
              <a:spLocks noChangeAspect="1"/>
            </p:cNvSpPr>
            <p:nvPr/>
          </p:nvSpPr>
          <p:spPr bwMode="auto">
            <a:xfrm>
              <a:off x="8155615"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ctr" anchorCtr="0" compatLnSpc="1">
              <a:prstTxWarp prst="textNoShape">
                <a:avLst/>
              </a:prstTxWarp>
            </a:bodyPr>
            <a:lstStyle/>
            <a:p>
              <a:pPr algn="ctr" defTabSz="914192">
                <a:defRPr/>
              </a:pPr>
              <a:r>
                <a:rPr lang="en-US" sz="1568" b="1">
                  <a:solidFill>
                    <a:srgbClr val="FFFFFF"/>
                  </a:solidFill>
                  <a:latin typeface="Segoe UI"/>
                </a:rPr>
                <a:t>!</a:t>
              </a:r>
            </a:p>
          </p:txBody>
        </p:sp>
        <p:sp>
          <p:nvSpPr>
            <p:cNvPr id="87" name="Shield_EA18" title="Icon of a shield">
              <a:extLst>
                <a:ext uri="{FF2B5EF4-FFF2-40B4-BE49-F238E27FC236}">
                  <a16:creationId xmlns:a16="http://schemas.microsoft.com/office/drawing/2014/main" id="{0E7E0EB9-4B18-4998-BC17-2712547DF7B7}"/>
                </a:ext>
              </a:extLst>
            </p:cNvPr>
            <p:cNvSpPr>
              <a:spLocks noChangeAspect="1"/>
            </p:cNvSpPr>
            <p:nvPr/>
          </p:nvSpPr>
          <p:spPr bwMode="auto">
            <a:xfrm>
              <a:off x="9576634"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ctr" anchorCtr="0" compatLnSpc="1">
              <a:prstTxWarp prst="textNoShape">
                <a:avLst/>
              </a:prstTxWarp>
            </a:bodyPr>
            <a:lstStyle/>
            <a:p>
              <a:pPr algn="ctr" defTabSz="914192">
                <a:defRPr/>
              </a:pPr>
              <a:r>
                <a:rPr lang="en-US" sz="1568" b="1">
                  <a:solidFill>
                    <a:srgbClr val="FFFFFF"/>
                  </a:solidFill>
                  <a:latin typeface="Segoe UI"/>
                </a:rPr>
                <a:t>!</a:t>
              </a:r>
            </a:p>
          </p:txBody>
        </p:sp>
        <p:sp>
          <p:nvSpPr>
            <p:cNvPr id="121" name="Shield_EA18" title="Icon of a shield">
              <a:extLst>
                <a:ext uri="{FF2B5EF4-FFF2-40B4-BE49-F238E27FC236}">
                  <a16:creationId xmlns:a16="http://schemas.microsoft.com/office/drawing/2014/main" id="{53D4EA97-3225-4B64-9503-4D871AEC4848}"/>
                </a:ext>
              </a:extLst>
            </p:cNvPr>
            <p:cNvSpPr>
              <a:spLocks noChangeAspect="1"/>
            </p:cNvSpPr>
            <p:nvPr/>
          </p:nvSpPr>
          <p:spPr bwMode="auto">
            <a:xfrm>
              <a:off x="10997653"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ctr" anchorCtr="0" compatLnSpc="1">
              <a:prstTxWarp prst="textNoShape">
                <a:avLst/>
              </a:prstTxWarp>
            </a:bodyPr>
            <a:lstStyle/>
            <a:p>
              <a:pPr algn="ctr" defTabSz="914192">
                <a:defRPr/>
              </a:pPr>
              <a:r>
                <a:rPr lang="en-US" sz="1568" b="1">
                  <a:solidFill>
                    <a:srgbClr val="FFFFFF"/>
                  </a:solidFill>
                  <a:latin typeface="Segoe UI"/>
                </a:rPr>
                <a:t>!</a:t>
              </a:r>
            </a:p>
          </p:txBody>
        </p:sp>
      </p:grpSp>
      <p:pic>
        <p:nvPicPr>
          <p:cNvPr id="133" name="Picture 132">
            <a:extLst>
              <a:ext uri="{FF2B5EF4-FFF2-40B4-BE49-F238E27FC236}">
                <a16:creationId xmlns:a16="http://schemas.microsoft.com/office/drawing/2014/main" id="{60BBE475-B241-458E-B79D-4E4655FD7EA9}"/>
              </a:ext>
            </a:extLst>
          </p:cNvPr>
          <p:cNvPicPr>
            <a:picLocks noChangeAspect="1"/>
          </p:cNvPicPr>
          <p:nvPr/>
        </p:nvPicPr>
        <p:blipFill>
          <a:blip r:embed="rId3"/>
          <a:stretch>
            <a:fillRect/>
          </a:stretch>
        </p:blipFill>
        <p:spPr>
          <a:xfrm>
            <a:off x="11073543" y="301845"/>
            <a:ext cx="797188" cy="662785"/>
          </a:xfrm>
          <a:prstGeom prst="rect">
            <a:avLst/>
          </a:prstGeom>
        </p:spPr>
      </p:pic>
    </p:spTree>
    <p:extLst>
      <p:ext uri="{BB962C8B-B14F-4D97-AF65-F5344CB8AC3E}">
        <p14:creationId xmlns:p14="http://schemas.microsoft.com/office/powerpoint/2010/main" val="3589966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94188E4-CDDE-4663-97CB-D27371F219AF}"/>
              </a:ext>
            </a:extLst>
          </p:cNvPr>
          <p:cNvSpPr>
            <a:spLocks noGrp="1"/>
          </p:cNvSpPr>
          <p:nvPr>
            <p:ph type="title"/>
          </p:nvPr>
        </p:nvSpPr>
        <p:spPr/>
        <p:txBody>
          <a:bodyPr/>
          <a:lstStyle/>
          <a:p>
            <a:r>
              <a:rPr lang="en-US">
                <a:solidFill>
                  <a:srgbClr val="0078D4"/>
                </a:solidFill>
              </a:rPr>
              <a:t>Protect Linux and Windows servers from threats</a:t>
            </a:r>
          </a:p>
        </p:txBody>
      </p:sp>
      <p:sp>
        <p:nvSpPr>
          <p:cNvPr id="29" name="Rectangle 28">
            <a:extLst>
              <a:ext uri="{FF2B5EF4-FFF2-40B4-BE49-F238E27FC236}">
                <a16:creationId xmlns:a16="http://schemas.microsoft.com/office/drawing/2014/main" id="{C2B66E96-84F2-4C65-8D5D-129CDA2753F4}"/>
              </a:ext>
            </a:extLst>
          </p:cNvPr>
          <p:cNvSpPr/>
          <p:nvPr/>
        </p:nvSpPr>
        <p:spPr bwMode="auto">
          <a:xfrm>
            <a:off x="1" y="1475617"/>
            <a:ext cx="3955324" cy="5381893"/>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algn="ctr" defTabSz="1075143" fontAlgn="base">
              <a:spcBef>
                <a:spcPct val="0"/>
              </a:spcBef>
              <a:spcAft>
                <a:spcPct val="0"/>
              </a:spcAft>
              <a:defRPr/>
            </a:pPr>
            <a:endParaRPr lang="en-US" sz="2307" kern="0">
              <a:gradFill>
                <a:gsLst>
                  <a:gs pos="0">
                    <a:srgbClr val="FFFFFF"/>
                  </a:gs>
                  <a:gs pos="100000">
                    <a:srgbClr val="FFFFFF"/>
                  </a:gs>
                </a:gsLst>
                <a:lin ang="5400000" scaled="0"/>
              </a:gradFill>
              <a:latin typeface="Segoe UI Semilight"/>
            </a:endParaRPr>
          </a:p>
        </p:txBody>
      </p:sp>
      <p:sp>
        <p:nvSpPr>
          <p:cNvPr id="30" name="Text Placeholder 1">
            <a:extLst>
              <a:ext uri="{FF2B5EF4-FFF2-40B4-BE49-F238E27FC236}">
                <a16:creationId xmlns:a16="http://schemas.microsoft.com/office/drawing/2014/main" id="{717A2CE0-A1BD-4F14-9CA0-E9D8F60F64E3}"/>
              </a:ext>
            </a:extLst>
          </p:cNvPr>
          <p:cNvSpPr txBox="1">
            <a:spLocks/>
          </p:cNvSpPr>
          <p:nvPr/>
        </p:nvSpPr>
        <p:spPr>
          <a:xfrm>
            <a:off x="453002" y="2173792"/>
            <a:ext cx="3176850" cy="3717268"/>
          </a:xfrm>
          <a:prstGeom prst="rect">
            <a:avLst/>
          </a:prstGeom>
        </p:spPr>
        <p:txBody>
          <a:bodyPr vert="horz" wrap="square" lIns="0" tIns="89642" rIns="143428" bIns="89642"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90000"/>
              </a:lnSpc>
              <a:spcBef>
                <a:spcPts val="2353"/>
              </a:spcBef>
              <a:defRPr/>
            </a:pPr>
            <a:r>
              <a:rPr lang="en-US" sz="1765" spc="0">
                <a:solidFill>
                  <a:srgbClr val="3C3C41"/>
                </a:solidFill>
                <a:latin typeface="Segoe UI"/>
              </a:rPr>
              <a:t>Use Just-in-Time VM to control access to commonly attacked management ports</a:t>
            </a:r>
          </a:p>
          <a:p>
            <a:pPr defTabSz="914367">
              <a:lnSpc>
                <a:spcPct val="90000"/>
              </a:lnSpc>
              <a:spcBef>
                <a:spcPts val="2353"/>
              </a:spcBef>
              <a:defRPr/>
            </a:pPr>
            <a:r>
              <a:rPr lang="en-US" sz="1765" spc="0">
                <a:solidFill>
                  <a:srgbClr val="3C3C41"/>
                </a:solidFill>
                <a:latin typeface="Segoe UI"/>
              </a:rPr>
              <a:t>Enable controls to block malicious applications, especially those missed by antimalware solutions, from running</a:t>
            </a:r>
          </a:p>
          <a:p>
            <a:pPr defTabSz="914367">
              <a:lnSpc>
                <a:spcPct val="90000"/>
              </a:lnSpc>
              <a:spcBef>
                <a:spcPts val="2353"/>
              </a:spcBef>
              <a:defRPr/>
            </a:pPr>
            <a:r>
              <a:rPr lang="en-US" sz="1765" spc="0">
                <a:solidFill>
                  <a:srgbClr val="3C3C41"/>
                </a:solidFill>
                <a:latin typeface="Segoe UI"/>
              </a:rPr>
              <a:t>Protect Windows servers and clients with the integration of Windows Defender ATP and Linux servers</a:t>
            </a:r>
          </a:p>
        </p:txBody>
      </p:sp>
      <p:cxnSp>
        <p:nvCxnSpPr>
          <p:cNvPr id="31" name="Straight Connector 30">
            <a:extLst>
              <a:ext uri="{FF2B5EF4-FFF2-40B4-BE49-F238E27FC236}">
                <a16:creationId xmlns:a16="http://schemas.microsoft.com/office/drawing/2014/main" id="{F82236EF-53B3-4907-B22C-8AC243C058CA}"/>
              </a:ext>
            </a:extLst>
          </p:cNvPr>
          <p:cNvCxnSpPr/>
          <p:nvPr/>
        </p:nvCxnSpPr>
        <p:spPr>
          <a:xfrm>
            <a:off x="453002" y="1927800"/>
            <a:ext cx="787875"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B01F4425-B8B8-4C01-A425-2C71B9FAF7D5}"/>
              </a:ext>
            </a:extLst>
          </p:cNvPr>
          <p:cNvGrpSpPr/>
          <p:nvPr/>
        </p:nvGrpSpPr>
        <p:grpSpPr>
          <a:xfrm>
            <a:off x="4671330" y="1711582"/>
            <a:ext cx="6887196" cy="4525593"/>
            <a:chOff x="4764999" y="1745405"/>
            <a:chExt cx="7025299" cy="4616341"/>
          </a:xfrm>
        </p:grpSpPr>
        <p:sp>
          <p:nvSpPr>
            <p:cNvPr id="122" name="Right Bracket 121">
              <a:extLst>
                <a:ext uri="{FF2B5EF4-FFF2-40B4-BE49-F238E27FC236}">
                  <a16:creationId xmlns:a16="http://schemas.microsoft.com/office/drawing/2014/main" id="{661B886F-BABC-4CEC-9878-5E5E0904023C}"/>
                </a:ext>
              </a:extLst>
            </p:cNvPr>
            <p:cNvSpPr/>
            <p:nvPr/>
          </p:nvSpPr>
          <p:spPr>
            <a:xfrm rot="16200000">
              <a:off x="7909242" y="-546630"/>
              <a:ext cx="736813" cy="7025299"/>
            </a:xfrm>
            <a:prstGeom prst="rightBracket">
              <a:avLst>
                <a:gd name="adj" fmla="val 0"/>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defRPr/>
              </a:pPr>
              <a:endParaRPr lang="en-US">
                <a:solidFill>
                  <a:srgbClr val="3C3C41"/>
                </a:solidFill>
                <a:latin typeface="Segoe UI"/>
              </a:endParaRPr>
            </a:p>
          </p:txBody>
        </p:sp>
        <p:grpSp>
          <p:nvGrpSpPr>
            <p:cNvPr id="58" name="Group 57">
              <a:extLst>
                <a:ext uri="{FF2B5EF4-FFF2-40B4-BE49-F238E27FC236}">
                  <a16:creationId xmlns:a16="http://schemas.microsoft.com/office/drawing/2014/main" id="{3ACDF17E-694C-4513-9FCA-36E4397BBA0E}"/>
                </a:ext>
              </a:extLst>
            </p:cNvPr>
            <p:cNvGrpSpPr/>
            <p:nvPr/>
          </p:nvGrpSpPr>
          <p:grpSpPr>
            <a:xfrm>
              <a:off x="8590949" y="2289171"/>
              <a:ext cx="1166368" cy="587104"/>
              <a:chOff x="9666060" y="2910345"/>
              <a:chExt cx="1496013" cy="753035"/>
            </a:xfrm>
          </p:grpSpPr>
          <p:sp>
            <p:nvSpPr>
              <p:cNvPr id="59" name="cloud">
                <a:extLst>
                  <a:ext uri="{FF2B5EF4-FFF2-40B4-BE49-F238E27FC236}">
                    <a16:creationId xmlns:a16="http://schemas.microsoft.com/office/drawing/2014/main" id="{632F5F3F-9B6F-4F46-8AFF-FE711B07360E}"/>
                  </a:ext>
                </a:extLst>
              </p:cNvPr>
              <p:cNvSpPr>
                <a:spLocks noChangeAspect="1"/>
              </p:cNvSpPr>
              <p:nvPr/>
            </p:nvSpPr>
            <p:spPr bwMode="auto">
              <a:xfrm>
                <a:off x="9666060" y="2910345"/>
                <a:ext cx="938886" cy="59815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00000"/>
              </a:solidFill>
              <a:ln w="1905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367">
                  <a:defRPr/>
                </a:pPr>
                <a:endParaRPr lang="en-US" sz="900" kern="0">
                  <a:gradFill>
                    <a:gsLst>
                      <a:gs pos="0">
                        <a:srgbClr val="505050"/>
                      </a:gs>
                      <a:gs pos="100000">
                        <a:srgbClr val="505050"/>
                      </a:gs>
                    </a:gsLst>
                  </a:gradFill>
                  <a:latin typeface="Segoe UI"/>
                </a:endParaRPr>
              </a:p>
            </p:txBody>
          </p:sp>
          <p:sp>
            <p:nvSpPr>
              <p:cNvPr id="60" name="cloud">
                <a:extLst>
                  <a:ext uri="{FF2B5EF4-FFF2-40B4-BE49-F238E27FC236}">
                    <a16:creationId xmlns:a16="http://schemas.microsoft.com/office/drawing/2014/main" id="{8D8A629E-DFF1-4C24-A0CA-57A3D251A82F}"/>
                  </a:ext>
                </a:extLst>
              </p:cNvPr>
              <p:cNvSpPr>
                <a:spLocks noChangeAspect="1"/>
              </p:cNvSpPr>
              <p:nvPr/>
            </p:nvSpPr>
            <p:spPr bwMode="auto">
              <a:xfrm>
                <a:off x="10003276" y="2925120"/>
                <a:ext cx="1158797" cy="73826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078D3"/>
              </a:solidFill>
              <a:ln w="1905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367">
                  <a:defRPr/>
                </a:pPr>
                <a:endParaRPr lang="en-US" sz="900" kern="0">
                  <a:gradFill>
                    <a:gsLst>
                      <a:gs pos="0">
                        <a:srgbClr val="505050"/>
                      </a:gs>
                      <a:gs pos="100000">
                        <a:srgbClr val="505050"/>
                      </a:gs>
                    </a:gsLst>
                  </a:gradFill>
                  <a:latin typeface="Segoe UI"/>
                </a:endParaRPr>
              </a:p>
            </p:txBody>
          </p:sp>
        </p:grpSp>
        <p:grpSp>
          <p:nvGrpSpPr>
            <p:cNvPr id="80" name="Group 79">
              <a:extLst>
                <a:ext uri="{FF2B5EF4-FFF2-40B4-BE49-F238E27FC236}">
                  <a16:creationId xmlns:a16="http://schemas.microsoft.com/office/drawing/2014/main" id="{68D51AB1-1A34-480B-8E58-22700FB99B76}"/>
                </a:ext>
              </a:extLst>
            </p:cNvPr>
            <p:cNvGrpSpPr/>
            <p:nvPr/>
          </p:nvGrpSpPr>
          <p:grpSpPr>
            <a:xfrm>
              <a:off x="6830315" y="2087620"/>
              <a:ext cx="588272" cy="855360"/>
              <a:chOff x="5955131" y="2468615"/>
              <a:chExt cx="841990" cy="1224272"/>
            </a:xfrm>
          </p:grpSpPr>
          <p:grpSp>
            <p:nvGrpSpPr>
              <p:cNvPr id="81" name="Group 80">
                <a:extLst>
                  <a:ext uri="{FF2B5EF4-FFF2-40B4-BE49-F238E27FC236}">
                    <a16:creationId xmlns:a16="http://schemas.microsoft.com/office/drawing/2014/main" id="{273EA910-37C5-4759-A4E1-8C77A9A0D0D7}"/>
                  </a:ext>
                </a:extLst>
              </p:cNvPr>
              <p:cNvGrpSpPr/>
              <p:nvPr/>
            </p:nvGrpSpPr>
            <p:grpSpPr>
              <a:xfrm>
                <a:off x="5955131" y="2468615"/>
                <a:ext cx="730149" cy="1123727"/>
                <a:chOff x="5955131" y="2630915"/>
                <a:chExt cx="730149" cy="1123727"/>
              </a:xfrm>
            </p:grpSpPr>
            <p:sp>
              <p:nvSpPr>
                <p:cNvPr id="87" name="Rectangle 5">
                  <a:extLst>
                    <a:ext uri="{FF2B5EF4-FFF2-40B4-BE49-F238E27FC236}">
                      <a16:creationId xmlns:a16="http://schemas.microsoft.com/office/drawing/2014/main" id="{92F6A867-B29E-45B8-8D40-430499F92D66}"/>
                    </a:ext>
                  </a:extLst>
                </p:cNvPr>
                <p:cNvSpPr>
                  <a:spLocks noChangeArrowheads="1"/>
                </p:cNvSpPr>
                <p:nvPr/>
              </p:nvSpPr>
              <p:spPr bwMode="auto">
                <a:xfrm>
                  <a:off x="5955131" y="2630915"/>
                  <a:ext cx="730149" cy="1123727"/>
                </a:xfrm>
                <a:prstGeom prst="rect">
                  <a:avLst/>
                </a:prstGeom>
                <a:solidFill>
                  <a:schemeClr val="tx2"/>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88" name="Rectangle 7">
                  <a:extLst>
                    <a:ext uri="{FF2B5EF4-FFF2-40B4-BE49-F238E27FC236}">
                      <a16:creationId xmlns:a16="http://schemas.microsoft.com/office/drawing/2014/main" id="{50740852-30D8-490F-81EE-429BFAC1682C}"/>
                    </a:ext>
                  </a:extLst>
                </p:cNvPr>
                <p:cNvSpPr>
                  <a:spLocks noChangeArrowheads="1"/>
                </p:cNvSpPr>
                <p:nvPr/>
              </p:nvSpPr>
              <p:spPr bwMode="auto">
                <a:xfrm>
                  <a:off x="6096348" y="2805183"/>
                  <a:ext cx="105162"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89" name="Rectangle 8">
                  <a:extLst>
                    <a:ext uri="{FF2B5EF4-FFF2-40B4-BE49-F238E27FC236}">
                      <a16:creationId xmlns:a16="http://schemas.microsoft.com/office/drawing/2014/main" id="{CFFE7C2A-2CF3-443C-AA02-BAC38BBF29FE}"/>
                    </a:ext>
                  </a:extLst>
                </p:cNvPr>
                <p:cNvSpPr>
                  <a:spLocks noChangeArrowheads="1"/>
                </p:cNvSpPr>
                <p:nvPr/>
              </p:nvSpPr>
              <p:spPr bwMode="auto">
                <a:xfrm>
                  <a:off x="6270616" y="2805183"/>
                  <a:ext cx="108166"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90" name="Rectangle 9">
                  <a:extLst>
                    <a:ext uri="{FF2B5EF4-FFF2-40B4-BE49-F238E27FC236}">
                      <a16:creationId xmlns:a16="http://schemas.microsoft.com/office/drawing/2014/main" id="{3DFA27A7-BE0D-4A95-A564-8DAF50E6AF38}"/>
                    </a:ext>
                  </a:extLst>
                </p:cNvPr>
                <p:cNvSpPr>
                  <a:spLocks noChangeArrowheads="1"/>
                </p:cNvSpPr>
                <p:nvPr/>
              </p:nvSpPr>
              <p:spPr bwMode="auto">
                <a:xfrm>
                  <a:off x="6096348" y="2982455"/>
                  <a:ext cx="105162"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91" name="Rectangle 10">
                  <a:extLst>
                    <a:ext uri="{FF2B5EF4-FFF2-40B4-BE49-F238E27FC236}">
                      <a16:creationId xmlns:a16="http://schemas.microsoft.com/office/drawing/2014/main" id="{5782BEE0-32B6-4667-8CBA-D81768686581}"/>
                    </a:ext>
                  </a:extLst>
                </p:cNvPr>
                <p:cNvSpPr>
                  <a:spLocks noChangeArrowheads="1"/>
                </p:cNvSpPr>
                <p:nvPr/>
              </p:nvSpPr>
              <p:spPr bwMode="auto">
                <a:xfrm>
                  <a:off x="6270616" y="2982455"/>
                  <a:ext cx="108166"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92" name="Rectangle 11">
                  <a:extLst>
                    <a:ext uri="{FF2B5EF4-FFF2-40B4-BE49-F238E27FC236}">
                      <a16:creationId xmlns:a16="http://schemas.microsoft.com/office/drawing/2014/main" id="{40C8A64C-2731-411D-A04C-60B4D45F7DF2}"/>
                    </a:ext>
                  </a:extLst>
                </p:cNvPr>
                <p:cNvSpPr>
                  <a:spLocks noChangeArrowheads="1"/>
                </p:cNvSpPr>
                <p:nvPr/>
              </p:nvSpPr>
              <p:spPr bwMode="auto">
                <a:xfrm>
                  <a:off x="6096348" y="3156723"/>
                  <a:ext cx="105162"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93" name="Rectangle 12">
                  <a:extLst>
                    <a:ext uri="{FF2B5EF4-FFF2-40B4-BE49-F238E27FC236}">
                      <a16:creationId xmlns:a16="http://schemas.microsoft.com/office/drawing/2014/main" id="{B324ECC8-8B7D-4B90-A728-E69E1773B696}"/>
                    </a:ext>
                  </a:extLst>
                </p:cNvPr>
                <p:cNvSpPr>
                  <a:spLocks noChangeArrowheads="1"/>
                </p:cNvSpPr>
                <p:nvPr/>
              </p:nvSpPr>
              <p:spPr bwMode="auto">
                <a:xfrm>
                  <a:off x="6270616" y="3156723"/>
                  <a:ext cx="108166"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94" name="Rectangle 13">
                  <a:extLst>
                    <a:ext uri="{FF2B5EF4-FFF2-40B4-BE49-F238E27FC236}">
                      <a16:creationId xmlns:a16="http://schemas.microsoft.com/office/drawing/2014/main" id="{37EF9186-15F6-4645-B040-EF42A91B43BC}"/>
                    </a:ext>
                  </a:extLst>
                </p:cNvPr>
                <p:cNvSpPr>
                  <a:spLocks noChangeArrowheads="1"/>
                </p:cNvSpPr>
                <p:nvPr/>
              </p:nvSpPr>
              <p:spPr bwMode="auto">
                <a:xfrm>
                  <a:off x="6096348" y="3333996"/>
                  <a:ext cx="105162"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95" name="Rectangle 14">
                  <a:extLst>
                    <a:ext uri="{FF2B5EF4-FFF2-40B4-BE49-F238E27FC236}">
                      <a16:creationId xmlns:a16="http://schemas.microsoft.com/office/drawing/2014/main" id="{52D250A2-F499-41E0-B7C0-C4C3CABFFBD2}"/>
                    </a:ext>
                  </a:extLst>
                </p:cNvPr>
                <p:cNvSpPr>
                  <a:spLocks noChangeArrowheads="1"/>
                </p:cNvSpPr>
                <p:nvPr/>
              </p:nvSpPr>
              <p:spPr bwMode="auto">
                <a:xfrm>
                  <a:off x="6270616" y="3333996"/>
                  <a:ext cx="108166"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96" name="Rectangle 15">
                  <a:extLst>
                    <a:ext uri="{FF2B5EF4-FFF2-40B4-BE49-F238E27FC236}">
                      <a16:creationId xmlns:a16="http://schemas.microsoft.com/office/drawing/2014/main" id="{DB92DA5E-CC57-4DB2-A9DF-83F214E20631}"/>
                    </a:ext>
                  </a:extLst>
                </p:cNvPr>
                <p:cNvSpPr>
                  <a:spLocks noChangeArrowheads="1"/>
                </p:cNvSpPr>
                <p:nvPr/>
              </p:nvSpPr>
              <p:spPr bwMode="auto">
                <a:xfrm>
                  <a:off x="6165454" y="3613425"/>
                  <a:ext cx="141217" cy="141217"/>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97" name="Rectangle 8">
                  <a:extLst>
                    <a:ext uri="{FF2B5EF4-FFF2-40B4-BE49-F238E27FC236}">
                      <a16:creationId xmlns:a16="http://schemas.microsoft.com/office/drawing/2014/main" id="{34B6B32B-30BF-4F78-B536-07F20F346AC8}"/>
                    </a:ext>
                  </a:extLst>
                </p:cNvPr>
                <p:cNvSpPr>
                  <a:spLocks noChangeArrowheads="1"/>
                </p:cNvSpPr>
                <p:nvPr/>
              </p:nvSpPr>
              <p:spPr bwMode="auto">
                <a:xfrm>
                  <a:off x="6450046" y="2805183"/>
                  <a:ext cx="108166"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98" name="Rectangle 10">
                  <a:extLst>
                    <a:ext uri="{FF2B5EF4-FFF2-40B4-BE49-F238E27FC236}">
                      <a16:creationId xmlns:a16="http://schemas.microsoft.com/office/drawing/2014/main" id="{F7415F56-61C1-40DB-9B56-6CEF03D9DFA7}"/>
                    </a:ext>
                  </a:extLst>
                </p:cNvPr>
                <p:cNvSpPr>
                  <a:spLocks noChangeArrowheads="1"/>
                </p:cNvSpPr>
                <p:nvPr/>
              </p:nvSpPr>
              <p:spPr bwMode="auto">
                <a:xfrm>
                  <a:off x="6450046" y="2982455"/>
                  <a:ext cx="108166" cy="105162"/>
                </a:xfrm>
                <a:prstGeom prst="rect">
                  <a:avLst/>
                </a:prstGeom>
                <a:solidFill>
                  <a:srgbClr val="000000"/>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grpSp>
            <p:nvGrpSpPr>
              <p:cNvPr id="82" name="Group 81">
                <a:extLst>
                  <a:ext uri="{FF2B5EF4-FFF2-40B4-BE49-F238E27FC236}">
                    <a16:creationId xmlns:a16="http://schemas.microsoft.com/office/drawing/2014/main" id="{9870E2DB-F56C-4096-B2B4-B95DA19D8A5C}"/>
                  </a:ext>
                </a:extLst>
              </p:cNvPr>
              <p:cNvGrpSpPr/>
              <p:nvPr/>
            </p:nvGrpSpPr>
            <p:grpSpPr>
              <a:xfrm>
                <a:off x="6447888" y="2994423"/>
                <a:ext cx="349233" cy="698464"/>
                <a:chOff x="7186708" y="3056178"/>
                <a:chExt cx="349233" cy="698464"/>
              </a:xfrm>
            </p:grpSpPr>
            <p:sp>
              <p:nvSpPr>
                <p:cNvPr id="83" name="Rectangle 5">
                  <a:extLst>
                    <a:ext uri="{FF2B5EF4-FFF2-40B4-BE49-F238E27FC236}">
                      <a16:creationId xmlns:a16="http://schemas.microsoft.com/office/drawing/2014/main" id="{B8889FC3-5EA5-40AF-B9C2-FBB939D1DA4C}"/>
                    </a:ext>
                  </a:extLst>
                </p:cNvPr>
                <p:cNvSpPr>
                  <a:spLocks noChangeArrowheads="1"/>
                </p:cNvSpPr>
                <p:nvPr/>
              </p:nvSpPr>
              <p:spPr bwMode="auto">
                <a:xfrm>
                  <a:off x="7186708" y="3056178"/>
                  <a:ext cx="349233" cy="69846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5456" tIns="52728" rIns="105456" bIns="52728" numCol="1" anchor="t" anchorCtr="0" compatLnSpc="1">
                  <a:prstTxWarp prst="textNoShape">
                    <a:avLst/>
                  </a:prstTxWarp>
                </a:bodyPr>
                <a:lstStyle/>
                <a:p>
                  <a:pPr defTabSz="1075662">
                    <a:defRPr/>
                  </a:pPr>
                  <a:endParaRPr lang="en-US" sz="2076">
                    <a:solidFill>
                      <a:srgbClr val="3C3C41"/>
                    </a:solidFill>
                    <a:latin typeface="Segoe UI"/>
                  </a:endParaRPr>
                </a:p>
              </p:txBody>
            </p:sp>
            <p:sp>
              <p:nvSpPr>
                <p:cNvPr id="84" name="Rectangle 6">
                  <a:extLst>
                    <a:ext uri="{FF2B5EF4-FFF2-40B4-BE49-F238E27FC236}">
                      <a16:creationId xmlns:a16="http://schemas.microsoft.com/office/drawing/2014/main" id="{1397B486-971B-40F5-BBE9-07999741687C}"/>
                    </a:ext>
                  </a:extLst>
                </p:cNvPr>
                <p:cNvSpPr>
                  <a:spLocks noChangeArrowheads="1"/>
                </p:cNvSpPr>
                <p:nvPr/>
              </p:nvSpPr>
              <p:spPr bwMode="auto">
                <a:xfrm>
                  <a:off x="7229662" y="3558550"/>
                  <a:ext cx="263326" cy="4295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5456" tIns="52728" rIns="105456" bIns="52728" numCol="1" anchor="t" anchorCtr="0" compatLnSpc="1">
                  <a:prstTxWarp prst="textNoShape">
                    <a:avLst/>
                  </a:prstTxWarp>
                </a:bodyPr>
                <a:lstStyle/>
                <a:p>
                  <a:pPr defTabSz="1075662">
                    <a:defRPr/>
                  </a:pPr>
                  <a:endParaRPr lang="en-US" sz="2076">
                    <a:solidFill>
                      <a:srgbClr val="3C3C41"/>
                    </a:solidFill>
                    <a:latin typeface="Segoe UI"/>
                  </a:endParaRPr>
                </a:p>
              </p:txBody>
            </p:sp>
            <p:sp>
              <p:nvSpPr>
                <p:cNvPr id="85" name="Rectangle 7">
                  <a:extLst>
                    <a:ext uri="{FF2B5EF4-FFF2-40B4-BE49-F238E27FC236}">
                      <a16:creationId xmlns:a16="http://schemas.microsoft.com/office/drawing/2014/main" id="{65DCAF0E-260A-4A40-9874-F1F431C83BB9}"/>
                    </a:ext>
                  </a:extLst>
                </p:cNvPr>
                <p:cNvSpPr>
                  <a:spLocks noChangeArrowheads="1"/>
                </p:cNvSpPr>
                <p:nvPr/>
              </p:nvSpPr>
              <p:spPr bwMode="auto">
                <a:xfrm>
                  <a:off x="7229662" y="3121543"/>
                  <a:ext cx="263326" cy="4295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5456" tIns="52728" rIns="105456" bIns="52728" numCol="1" anchor="t" anchorCtr="0" compatLnSpc="1">
                  <a:prstTxWarp prst="textNoShape">
                    <a:avLst/>
                  </a:prstTxWarp>
                </a:bodyPr>
                <a:lstStyle/>
                <a:p>
                  <a:pPr defTabSz="1075662">
                    <a:defRPr/>
                  </a:pPr>
                  <a:endParaRPr lang="en-US" sz="2076">
                    <a:solidFill>
                      <a:srgbClr val="3C3C41"/>
                    </a:solidFill>
                    <a:latin typeface="Segoe UI"/>
                  </a:endParaRPr>
                </a:p>
              </p:txBody>
            </p:sp>
            <p:sp>
              <p:nvSpPr>
                <p:cNvPr id="86" name="Rectangle 8">
                  <a:extLst>
                    <a:ext uri="{FF2B5EF4-FFF2-40B4-BE49-F238E27FC236}">
                      <a16:creationId xmlns:a16="http://schemas.microsoft.com/office/drawing/2014/main" id="{879CFBD0-4374-4B82-A817-25A894BC7F54}"/>
                    </a:ext>
                  </a:extLst>
                </p:cNvPr>
                <p:cNvSpPr>
                  <a:spLocks noChangeArrowheads="1"/>
                </p:cNvSpPr>
                <p:nvPr/>
              </p:nvSpPr>
              <p:spPr bwMode="auto">
                <a:xfrm>
                  <a:off x="7229662" y="3646324"/>
                  <a:ext cx="263326" cy="4295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5456" tIns="52728" rIns="105456" bIns="52728" numCol="1" anchor="t" anchorCtr="0" compatLnSpc="1">
                  <a:prstTxWarp prst="textNoShape">
                    <a:avLst/>
                  </a:prstTxWarp>
                </a:bodyPr>
                <a:lstStyle/>
                <a:p>
                  <a:pPr defTabSz="1075662">
                    <a:defRPr/>
                  </a:pPr>
                  <a:endParaRPr lang="en-US" sz="2076">
                    <a:solidFill>
                      <a:srgbClr val="3C3C41"/>
                    </a:solidFill>
                    <a:latin typeface="Segoe UI"/>
                  </a:endParaRPr>
                </a:p>
              </p:txBody>
            </p:sp>
          </p:grpSp>
        </p:grpSp>
        <p:grpSp>
          <p:nvGrpSpPr>
            <p:cNvPr id="14" name="Group 13">
              <a:extLst>
                <a:ext uri="{FF2B5EF4-FFF2-40B4-BE49-F238E27FC236}">
                  <a16:creationId xmlns:a16="http://schemas.microsoft.com/office/drawing/2014/main" id="{6C399BFC-2F91-4945-9CA8-5CBFDD813623}"/>
                </a:ext>
              </a:extLst>
            </p:cNvPr>
            <p:cNvGrpSpPr/>
            <p:nvPr/>
          </p:nvGrpSpPr>
          <p:grpSpPr>
            <a:xfrm>
              <a:off x="4963599" y="3020429"/>
              <a:ext cx="1428084" cy="1050276"/>
              <a:chOff x="4863238" y="2738278"/>
              <a:chExt cx="1428084" cy="1050276"/>
            </a:xfrm>
          </p:grpSpPr>
          <p:sp>
            <p:nvSpPr>
              <p:cNvPr id="152" name="TextBox 151">
                <a:extLst>
                  <a:ext uri="{FF2B5EF4-FFF2-40B4-BE49-F238E27FC236}">
                    <a16:creationId xmlns:a16="http://schemas.microsoft.com/office/drawing/2014/main" id="{9911525F-E75F-4F84-94B7-D0C684A80A31}"/>
                  </a:ext>
                </a:extLst>
              </p:cNvPr>
              <p:cNvSpPr txBox="1"/>
              <p:nvPr/>
            </p:nvSpPr>
            <p:spPr>
              <a:xfrm>
                <a:off x="4863238" y="2738278"/>
                <a:ext cx="1428084" cy="430887"/>
              </a:xfrm>
              <a:prstGeom prst="rect">
                <a:avLst/>
              </a:prstGeom>
              <a:noFill/>
              <a:ln w="19050">
                <a:noFill/>
              </a:ln>
            </p:spPr>
            <p:txBody>
              <a:bodyPr wrap="square" lIns="0" tIns="0" rIns="0" bIns="0" rtlCol="0">
                <a:spAutoFit/>
              </a:bodyPr>
              <a:lstStyle/>
              <a:p>
                <a:pPr algn="ctr" defTabSz="914367">
                  <a:defRPr/>
                </a:pPr>
                <a:r>
                  <a:rPr lang="en-US" sz="1372">
                    <a:solidFill>
                      <a:srgbClr val="3C3C41"/>
                    </a:solidFill>
                    <a:latin typeface="Segoe UI Semibold"/>
                  </a:rPr>
                  <a:t>Antimalware</a:t>
                </a:r>
              </a:p>
              <a:p>
                <a:pPr algn="ctr" defTabSz="914367">
                  <a:defRPr/>
                </a:pPr>
                <a:r>
                  <a:rPr lang="en-US" sz="1372">
                    <a:solidFill>
                      <a:srgbClr val="3C3C41"/>
                    </a:solidFill>
                    <a:latin typeface="Segoe UI Semibold"/>
                  </a:rPr>
                  <a:t>Defender ATP</a:t>
                </a:r>
              </a:p>
            </p:txBody>
          </p:sp>
          <p:sp>
            <p:nvSpPr>
              <p:cNvPr id="101" name="Shield_EA18" title="Icon of a shield">
                <a:extLst>
                  <a:ext uri="{FF2B5EF4-FFF2-40B4-BE49-F238E27FC236}">
                    <a16:creationId xmlns:a16="http://schemas.microsoft.com/office/drawing/2014/main" id="{C15CAFAA-75E9-4DC7-A08A-277BD8AADA09}"/>
                  </a:ext>
                </a:extLst>
              </p:cNvPr>
              <p:cNvSpPr>
                <a:spLocks noChangeAspect="1"/>
              </p:cNvSpPr>
              <p:nvPr/>
            </p:nvSpPr>
            <p:spPr bwMode="auto">
              <a:xfrm>
                <a:off x="5383213" y="3264346"/>
                <a:ext cx="492368" cy="52420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ctr" anchorCtr="0" compatLnSpc="1">
                <a:prstTxWarp prst="textNoShape">
                  <a:avLst/>
                </a:prstTxWarp>
              </a:bodyPr>
              <a:lstStyle/>
              <a:p>
                <a:pPr algn="ctr" defTabSz="914192">
                  <a:defRPr/>
                </a:pPr>
                <a:r>
                  <a:rPr lang="en-US" sz="2745" b="1">
                    <a:solidFill>
                      <a:srgbClr val="FFFFFF"/>
                    </a:solidFill>
                    <a:latin typeface="Segoe UI"/>
                  </a:rPr>
                  <a:t>!</a:t>
                </a:r>
              </a:p>
            </p:txBody>
          </p:sp>
        </p:grpSp>
        <p:grpSp>
          <p:nvGrpSpPr>
            <p:cNvPr id="13" name="Group 12">
              <a:extLst>
                <a:ext uri="{FF2B5EF4-FFF2-40B4-BE49-F238E27FC236}">
                  <a16:creationId xmlns:a16="http://schemas.microsoft.com/office/drawing/2014/main" id="{067C9EC9-1775-4E4E-B6EA-9C2EDF8C7ED8}"/>
                </a:ext>
              </a:extLst>
            </p:cNvPr>
            <p:cNvGrpSpPr/>
            <p:nvPr/>
          </p:nvGrpSpPr>
          <p:grpSpPr>
            <a:xfrm>
              <a:off x="6931283" y="3219014"/>
              <a:ext cx="1713736" cy="851691"/>
              <a:chOff x="6830921" y="2936863"/>
              <a:chExt cx="1713736" cy="851691"/>
            </a:xfrm>
          </p:grpSpPr>
          <p:sp>
            <p:nvSpPr>
              <p:cNvPr id="148" name="TextBox 147">
                <a:extLst>
                  <a:ext uri="{FF2B5EF4-FFF2-40B4-BE49-F238E27FC236}">
                    <a16:creationId xmlns:a16="http://schemas.microsoft.com/office/drawing/2014/main" id="{139340F5-8018-434E-8FEF-5516E13BD956}"/>
                  </a:ext>
                </a:extLst>
              </p:cNvPr>
              <p:cNvSpPr txBox="1"/>
              <p:nvPr/>
            </p:nvSpPr>
            <p:spPr>
              <a:xfrm>
                <a:off x="6830921" y="2936863"/>
                <a:ext cx="1713736" cy="215444"/>
              </a:xfrm>
              <a:prstGeom prst="rect">
                <a:avLst/>
              </a:prstGeom>
              <a:noFill/>
              <a:ln w="19050">
                <a:noFill/>
              </a:ln>
            </p:spPr>
            <p:txBody>
              <a:bodyPr wrap="square" lIns="0" tIns="0" rIns="0" bIns="0" rtlCol="0">
                <a:spAutoFit/>
              </a:bodyPr>
              <a:lstStyle/>
              <a:p>
                <a:pPr algn="ctr" defTabSz="914367">
                  <a:defRPr/>
                </a:pPr>
                <a:r>
                  <a:rPr lang="en-US" sz="1372">
                    <a:solidFill>
                      <a:srgbClr val="3C3C41"/>
                    </a:solidFill>
                    <a:latin typeface="Segoe UI Semibold"/>
                  </a:rPr>
                  <a:t>Behavior analytics</a:t>
                </a:r>
              </a:p>
            </p:txBody>
          </p:sp>
          <p:sp>
            <p:nvSpPr>
              <p:cNvPr id="102" name="Shield_EA18" title="Icon of a shield">
                <a:extLst>
                  <a:ext uri="{FF2B5EF4-FFF2-40B4-BE49-F238E27FC236}">
                    <a16:creationId xmlns:a16="http://schemas.microsoft.com/office/drawing/2014/main" id="{E29FFBD5-E365-47F8-8D37-B803BE3CFED8}"/>
                  </a:ext>
                </a:extLst>
              </p:cNvPr>
              <p:cNvSpPr>
                <a:spLocks noChangeAspect="1"/>
              </p:cNvSpPr>
              <p:nvPr/>
            </p:nvSpPr>
            <p:spPr bwMode="auto">
              <a:xfrm>
                <a:off x="7441605" y="3264346"/>
                <a:ext cx="492368" cy="52420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ctr" anchorCtr="0" compatLnSpc="1">
                <a:prstTxWarp prst="textNoShape">
                  <a:avLst/>
                </a:prstTxWarp>
              </a:bodyPr>
              <a:lstStyle/>
              <a:p>
                <a:pPr algn="ctr" defTabSz="914192">
                  <a:defRPr/>
                </a:pPr>
                <a:r>
                  <a:rPr lang="en-US" sz="2745" b="1">
                    <a:solidFill>
                      <a:srgbClr val="FFFFFF"/>
                    </a:solidFill>
                    <a:latin typeface="Segoe UI"/>
                  </a:rPr>
                  <a:t>!</a:t>
                </a:r>
              </a:p>
            </p:txBody>
          </p:sp>
        </p:grpSp>
        <p:grpSp>
          <p:nvGrpSpPr>
            <p:cNvPr id="12" name="Group 11">
              <a:extLst>
                <a:ext uri="{FF2B5EF4-FFF2-40B4-BE49-F238E27FC236}">
                  <a16:creationId xmlns:a16="http://schemas.microsoft.com/office/drawing/2014/main" id="{B9EA0E04-49FE-42E4-825F-D50CBB6DB80D}"/>
                </a:ext>
              </a:extLst>
            </p:cNvPr>
            <p:cNvGrpSpPr/>
            <p:nvPr/>
          </p:nvGrpSpPr>
          <p:grpSpPr>
            <a:xfrm>
              <a:off x="9066727" y="3219014"/>
              <a:ext cx="1559631" cy="851691"/>
              <a:chOff x="8966366" y="2936863"/>
              <a:chExt cx="1559631" cy="851691"/>
            </a:xfrm>
          </p:grpSpPr>
          <p:sp>
            <p:nvSpPr>
              <p:cNvPr id="155" name="TextBox 154">
                <a:extLst>
                  <a:ext uri="{FF2B5EF4-FFF2-40B4-BE49-F238E27FC236}">
                    <a16:creationId xmlns:a16="http://schemas.microsoft.com/office/drawing/2014/main" id="{3D3244B5-E6C5-4B5D-8F50-DC372653F3BB}"/>
                  </a:ext>
                </a:extLst>
              </p:cNvPr>
              <p:cNvSpPr txBox="1"/>
              <p:nvPr/>
            </p:nvSpPr>
            <p:spPr>
              <a:xfrm>
                <a:off x="8966366" y="2936863"/>
                <a:ext cx="1559631" cy="215444"/>
              </a:xfrm>
              <a:prstGeom prst="rect">
                <a:avLst/>
              </a:prstGeom>
              <a:noFill/>
              <a:ln w="19050">
                <a:noFill/>
              </a:ln>
            </p:spPr>
            <p:txBody>
              <a:bodyPr wrap="square" lIns="0" tIns="0" rIns="0" bIns="0" rtlCol="0">
                <a:spAutoFit/>
              </a:bodyPr>
              <a:lstStyle/>
              <a:p>
                <a:pPr algn="ctr" defTabSz="914367">
                  <a:defRPr/>
                </a:pPr>
                <a:r>
                  <a:rPr lang="en-US" sz="1372">
                    <a:solidFill>
                      <a:srgbClr val="3C3C41"/>
                    </a:solidFill>
                    <a:latin typeface="Segoe UI Semibold"/>
                  </a:rPr>
                  <a:t>App whitelisting</a:t>
                </a:r>
              </a:p>
            </p:txBody>
          </p:sp>
          <p:sp>
            <p:nvSpPr>
              <p:cNvPr id="103" name="Shield_EA18" title="Icon of a shield">
                <a:extLst>
                  <a:ext uri="{FF2B5EF4-FFF2-40B4-BE49-F238E27FC236}">
                    <a16:creationId xmlns:a16="http://schemas.microsoft.com/office/drawing/2014/main" id="{13C0426B-FFCB-47C5-9895-1EC4D91E4AE4}"/>
                  </a:ext>
                </a:extLst>
              </p:cNvPr>
              <p:cNvSpPr>
                <a:spLocks noChangeAspect="1"/>
              </p:cNvSpPr>
              <p:nvPr/>
            </p:nvSpPr>
            <p:spPr bwMode="auto">
              <a:xfrm>
                <a:off x="9499997" y="3264346"/>
                <a:ext cx="492368" cy="52420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ctr" anchorCtr="0" compatLnSpc="1">
                <a:prstTxWarp prst="textNoShape">
                  <a:avLst/>
                </a:prstTxWarp>
              </a:bodyPr>
              <a:lstStyle/>
              <a:p>
                <a:pPr algn="ctr" defTabSz="914192">
                  <a:defRPr/>
                </a:pPr>
                <a:r>
                  <a:rPr lang="en-US" sz="2745" b="1">
                    <a:solidFill>
                      <a:srgbClr val="FFFFFF"/>
                    </a:solidFill>
                    <a:latin typeface="Segoe UI"/>
                  </a:rPr>
                  <a:t>!</a:t>
                </a:r>
              </a:p>
            </p:txBody>
          </p:sp>
        </p:grpSp>
        <p:grpSp>
          <p:nvGrpSpPr>
            <p:cNvPr id="19" name="Group 18">
              <a:extLst>
                <a:ext uri="{FF2B5EF4-FFF2-40B4-BE49-F238E27FC236}">
                  <a16:creationId xmlns:a16="http://schemas.microsoft.com/office/drawing/2014/main" id="{E9C41311-9295-4823-8E17-B48A1D83D8BA}"/>
                </a:ext>
              </a:extLst>
            </p:cNvPr>
            <p:cNvGrpSpPr/>
            <p:nvPr/>
          </p:nvGrpSpPr>
          <p:grpSpPr>
            <a:xfrm>
              <a:off x="5581327" y="4649369"/>
              <a:ext cx="6208971" cy="1712377"/>
              <a:chOff x="5480966" y="4319299"/>
              <a:chExt cx="6208971" cy="1712377"/>
            </a:xfrm>
          </p:grpSpPr>
          <p:grpSp>
            <p:nvGrpSpPr>
              <p:cNvPr id="39" name="Group 38">
                <a:extLst>
                  <a:ext uri="{FF2B5EF4-FFF2-40B4-BE49-F238E27FC236}">
                    <a16:creationId xmlns:a16="http://schemas.microsoft.com/office/drawing/2014/main" id="{DA578202-AA75-40F6-9EBA-830ACB0891DA}"/>
                  </a:ext>
                </a:extLst>
              </p:cNvPr>
              <p:cNvGrpSpPr/>
              <p:nvPr/>
            </p:nvGrpSpPr>
            <p:grpSpPr>
              <a:xfrm>
                <a:off x="5480966" y="4844226"/>
                <a:ext cx="296863" cy="593725"/>
                <a:chOff x="2460625" y="2767013"/>
                <a:chExt cx="296863" cy="593725"/>
              </a:xfrm>
            </p:grpSpPr>
            <p:sp>
              <p:nvSpPr>
                <p:cNvPr id="40" name="Rectangle 5">
                  <a:extLst>
                    <a:ext uri="{FF2B5EF4-FFF2-40B4-BE49-F238E27FC236}">
                      <a16:creationId xmlns:a16="http://schemas.microsoft.com/office/drawing/2014/main" id="{47936917-5557-4D89-846D-4C60C628CF19}"/>
                    </a:ext>
                  </a:extLst>
                </p:cNvPr>
                <p:cNvSpPr>
                  <a:spLocks noChangeArrowheads="1"/>
                </p:cNvSpPr>
                <p:nvPr/>
              </p:nvSpPr>
              <p:spPr bwMode="auto">
                <a:xfrm>
                  <a:off x="2460625" y="2767013"/>
                  <a:ext cx="296863" cy="593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41" name="Rectangle 6">
                  <a:extLst>
                    <a:ext uri="{FF2B5EF4-FFF2-40B4-BE49-F238E27FC236}">
                      <a16:creationId xmlns:a16="http://schemas.microsoft.com/office/drawing/2014/main" id="{10E428E7-F491-4D75-A38C-048FB015218C}"/>
                    </a:ext>
                  </a:extLst>
                </p:cNvPr>
                <p:cNvSpPr>
                  <a:spLocks noChangeArrowheads="1"/>
                </p:cNvSpPr>
                <p:nvPr/>
              </p:nvSpPr>
              <p:spPr bwMode="auto">
                <a:xfrm>
                  <a:off x="2497138" y="3194051"/>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42" name="Rectangle 7">
                  <a:extLst>
                    <a:ext uri="{FF2B5EF4-FFF2-40B4-BE49-F238E27FC236}">
                      <a16:creationId xmlns:a16="http://schemas.microsoft.com/office/drawing/2014/main" id="{32794C78-B1D3-4E47-89AC-30EBDE6A4FFD}"/>
                    </a:ext>
                  </a:extLst>
                </p:cNvPr>
                <p:cNvSpPr>
                  <a:spLocks noChangeArrowheads="1"/>
                </p:cNvSpPr>
                <p:nvPr/>
              </p:nvSpPr>
              <p:spPr bwMode="auto">
                <a:xfrm>
                  <a:off x="2497138" y="2822576"/>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43" name="Rectangle 8">
                  <a:extLst>
                    <a:ext uri="{FF2B5EF4-FFF2-40B4-BE49-F238E27FC236}">
                      <a16:creationId xmlns:a16="http://schemas.microsoft.com/office/drawing/2014/main" id="{002D4BB3-9B44-43AD-97F0-8D0C0BB84C0A}"/>
                    </a:ext>
                  </a:extLst>
                </p:cNvPr>
                <p:cNvSpPr>
                  <a:spLocks noChangeArrowheads="1"/>
                </p:cNvSpPr>
                <p:nvPr/>
              </p:nvSpPr>
              <p:spPr bwMode="auto">
                <a:xfrm>
                  <a:off x="2497138" y="3268663"/>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cxnSp>
            <p:nvCxnSpPr>
              <p:cNvPr id="138" name="Straight Connector 137">
                <a:extLst>
                  <a:ext uri="{FF2B5EF4-FFF2-40B4-BE49-F238E27FC236}">
                    <a16:creationId xmlns:a16="http://schemas.microsoft.com/office/drawing/2014/main" id="{97BC9AB3-42B3-42C2-A79A-956938F61E77}"/>
                  </a:ext>
                </a:extLst>
              </p:cNvPr>
              <p:cNvCxnSpPr>
                <a:cxnSpLocks/>
              </p:cNvCxnSpPr>
              <p:nvPr/>
            </p:nvCxnSpPr>
            <p:spPr>
              <a:xfrm>
                <a:off x="5891855" y="5141088"/>
                <a:ext cx="1549751" cy="0"/>
              </a:xfrm>
              <a:prstGeom prst="line">
                <a:avLst/>
              </a:prstGeom>
              <a:ln w="19050">
                <a:solidFill>
                  <a:schemeClr val="accent2"/>
                </a:solidFill>
                <a:prstDash val="dash"/>
                <a:headEnd type="none" w="lg" len="med"/>
                <a:tailEnd type="none" w="lg" len="med"/>
              </a:ln>
            </p:spPr>
            <p:style>
              <a:lnRef idx="1">
                <a:schemeClr val="dk1"/>
              </a:lnRef>
              <a:fillRef idx="0">
                <a:schemeClr val="dk1"/>
              </a:fillRef>
              <a:effectRef idx="0">
                <a:schemeClr val="dk1"/>
              </a:effectRef>
              <a:fontRef idx="minor">
                <a:schemeClr val="tx1"/>
              </a:fontRef>
            </p:style>
          </p:cxnSp>
          <p:grpSp>
            <p:nvGrpSpPr>
              <p:cNvPr id="9" name="Group 8">
                <a:extLst>
                  <a:ext uri="{FF2B5EF4-FFF2-40B4-BE49-F238E27FC236}">
                    <a16:creationId xmlns:a16="http://schemas.microsoft.com/office/drawing/2014/main" id="{F00BE0AE-1A8E-42BE-B4E3-816CB50CB63F}"/>
                  </a:ext>
                </a:extLst>
              </p:cNvPr>
              <p:cNvGrpSpPr/>
              <p:nvPr/>
            </p:nvGrpSpPr>
            <p:grpSpPr>
              <a:xfrm>
                <a:off x="7984274" y="4604064"/>
                <a:ext cx="1515724" cy="1074048"/>
                <a:chOff x="8602615" y="4915456"/>
                <a:chExt cx="932603" cy="1865206"/>
              </a:xfrm>
            </p:grpSpPr>
            <p:cxnSp>
              <p:nvCxnSpPr>
                <p:cNvPr id="139" name="Connector: Elbow 138">
                  <a:extLst>
                    <a:ext uri="{FF2B5EF4-FFF2-40B4-BE49-F238E27FC236}">
                      <a16:creationId xmlns:a16="http://schemas.microsoft.com/office/drawing/2014/main" id="{088C3621-58DB-42F5-B76A-0C1AFC8AEB50}"/>
                    </a:ext>
                  </a:extLst>
                </p:cNvPr>
                <p:cNvCxnSpPr/>
                <p:nvPr/>
              </p:nvCxnSpPr>
              <p:spPr>
                <a:xfrm>
                  <a:off x="8602615" y="5848059"/>
                  <a:ext cx="932603" cy="932603"/>
                </a:xfrm>
                <a:prstGeom prst="bentConnector3">
                  <a:avLst/>
                </a:prstGeom>
                <a:ln w="19050">
                  <a:solidFill>
                    <a:schemeClr val="accent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Connector: Elbow 139">
                  <a:extLst>
                    <a:ext uri="{FF2B5EF4-FFF2-40B4-BE49-F238E27FC236}">
                      <a16:creationId xmlns:a16="http://schemas.microsoft.com/office/drawing/2014/main" id="{047E39F7-17F7-4442-BBCF-FCE2F78B08A3}"/>
                    </a:ext>
                  </a:extLst>
                </p:cNvPr>
                <p:cNvCxnSpPr>
                  <a:cxnSpLocks/>
                </p:cNvCxnSpPr>
                <p:nvPr/>
              </p:nvCxnSpPr>
              <p:spPr>
                <a:xfrm flipV="1">
                  <a:off x="8602615" y="4915456"/>
                  <a:ext cx="932603" cy="932603"/>
                </a:xfrm>
                <a:prstGeom prst="bentConnector3">
                  <a:avLst/>
                </a:prstGeom>
                <a:ln w="19050">
                  <a:solidFill>
                    <a:schemeClr val="accent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1" name="TextBox 140">
                <a:extLst>
                  <a:ext uri="{FF2B5EF4-FFF2-40B4-BE49-F238E27FC236}">
                    <a16:creationId xmlns:a16="http://schemas.microsoft.com/office/drawing/2014/main" id="{4F477858-39E7-4B21-99DA-5A5D3CC63E21}"/>
                  </a:ext>
                </a:extLst>
              </p:cNvPr>
              <p:cNvSpPr txBox="1"/>
              <p:nvPr/>
            </p:nvSpPr>
            <p:spPr>
              <a:xfrm>
                <a:off x="7174431" y="5569103"/>
                <a:ext cx="1026719" cy="332399"/>
              </a:xfrm>
              <a:prstGeom prst="rect">
                <a:avLst/>
              </a:prstGeom>
              <a:noFill/>
              <a:ln w="19050">
                <a:noFill/>
              </a:ln>
            </p:spPr>
            <p:txBody>
              <a:bodyPr wrap="square" lIns="0" tIns="0" rIns="0" bIns="0" rtlCol="0">
                <a:spAutoFit/>
              </a:bodyPr>
              <a:lstStyle/>
              <a:p>
                <a:pPr algn="ctr" defTabSz="914367">
                  <a:lnSpc>
                    <a:spcPct val="90000"/>
                  </a:lnSpc>
                  <a:defRPr/>
                </a:pPr>
                <a:r>
                  <a:rPr lang="en-US" sz="1176">
                    <a:solidFill>
                      <a:srgbClr val="3C3C41"/>
                    </a:solidFill>
                    <a:latin typeface="Segoe UI"/>
                  </a:rPr>
                  <a:t>Lateral Movement</a:t>
                </a:r>
              </a:p>
            </p:txBody>
          </p:sp>
          <p:cxnSp>
            <p:nvCxnSpPr>
              <p:cNvPr id="142" name="Straight Arrow Connector 141">
                <a:extLst>
                  <a:ext uri="{FF2B5EF4-FFF2-40B4-BE49-F238E27FC236}">
                    <a16:creationId xmlns:a16="http://schemas.microsoft.com/office/drawing/2014/main" id="{92522A8D-C515-4672-95ED-5E0F8AB1D534}"/>
                  </a:ext>
                </a:extLst>
              </p:cNvPr>
              <p:cNvCxnSpPr>
                <a:cxnSpLocks/>
              </p:cNvCxnSpPr>
              <p:nvPr/>
            </p:nvCxnSpPr>
            <p:spPr>
              <a:xfrm>
                <a:off x="10103005" y="4559460"/>
                <a:ext cx="557279" cy="0"/>
              </a:xfrm>
              <a:prstGeom prst="straightConnector1">
                <a:avLst/>
              </a:prstGeom>
              <a:ln w="19050">
                <a:solidFill>
                  <a:schemeClr val="accent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43" name="binary" title="Icon of binary code, ones and zeros">
                <a:extLst>
                  <a:ext uri="{FF2B5EF4-FFF2-40B4-BE49-F238E27FC236}">
                    <a16:creationId xmlns:a16="http://schemas.microsoft.com/office/drawing/2014/main" id="{78AC9536-09E9-4BDD-AF4E-7F7F233ECEA7}"/>
                  </a:ext>
                </a:extLst>
              </p:cNvPr>
              <p:cNvSpPr>
                <a:spLocks noChangeAspect="1" noEditPoints="1"/>
              </p:cNvSpPr>
              <p:nvPr/>
            </p:nvSpPr>
            <p:spPr bwMode="auto">
              <a:xfrm>
                <a:off x="10877918" y="4388195"/>
                <a:ext cx="373041" cy="32212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367">
                  <a:defRPr/>
                </a:pPr>
                <a:endParaRPr lang="en-US">
                  <a:solidFill>
                    <a:srgbClr val="3C3C41"/>
                  </a:solidFill>
                  <a:latin typeface="Segoe UI"/>
                </a:endParaRPr>
              </a:p>
            </p:txBody>
          </p:sp>
          <p:sp>
            <p:nvSpPr>
              <p:cNvPr id="145" name="TextBox 144">
                <a:extLst>
                  <a:ext uri="{FF2B5EF4-FFF2-40B4-BE49-F238E27FC236}">
                    <a16:creationId xmlns:a16="http://schemas.microsoft.com/office/drawing/2014/main" id="{CFA4E40E-C0A8-4EF6-8BF4-07CBE8B0A358}"/>
                  </a:ext>
                </a:extLst>
              </p:cNvPr>
              <p:cNvSpPr txBox="1"/>
              <p:nvPr/>
            </p:nvSpPr>
            <p:spPr>
              <a:xfrm>
                <a:off x="10438941" y="5011257"/>
                <a:ext cx="1250996" cy="332399"/>
              </a:xfrm>
              <a:prstGeom prst="rect">
                <a:avLst/>
              </a:prstGeom>
              <a:noFill/>
              <a:ln w="19050">
                <a:noFill/>
              </a:ln>
            </p:spPr>
            <p:txBody>
              <a:bodyPr wrap="square" lIns="0" tIns="0" rIns="0" bIns="0" rtlCol="0">
                <a:spAutoFit/>
              </a:bodyPr>
              <a:lstStyle/>
              <a:p>
                <a:pPr algn="ctr" defTabSz="914367">
                  <a:lnSpc>
                    <a:spcPct val="90000"/>
                  </a:lnSpc>
                  <a:defRPr/>
                </a:pPr>
                <a:r>
                  <a:rPr lang="en-US" sz="1176">
                    <a:solidFill>
                      <a:srgbClr val="3C3C41"/>
                    </a:solidFill>
                    <a:latin typeface="Segoe UI"/>
                  </a:rPr>
                  <a:t>Data </a:t>
                </a:r>
                <a:br>
                  <a:rPr lang="en-US" sz="1176">
                    <a:solidFill>
                      <a:srgbClr val="3C3C41"/>
                    </a:solidFill>
                    <a:latin typeface="Segoe UI"/>
                  </a:rPr>
                </a:br>
                <a:r>
                  <a:rPr lang="en-US" sz="1176">
                    <a:solidFill>
                      <a:srgbClr val="3C3C41"/>
                    </a:solidFill>
                    <a:latin typeface="Segoe UI"/>
                  </a:rPr>
                  <a:t>exfiltration</a:t>
                </a:r>
              </a:p>
            </p:txBody>
          </p:sp>
          <p:sp>
            <p:nvSpPr>
              <p:cNvPr id="146" name="TextBox 145">
                <a:extLst>
                  <a:ext uri="{FF2B5EF4-FFF2-40B4-BE49-F238E27FC236}">
                    <a16:creationId xmlns:a16="http://schemas.microsoft.com/office/drawing/2014/main" id="{54F7EA8B-5EFF-47CF-80AE-BEADD9A41C01}"/>
                  </a:ext>
                </a:extLst>
              </p:cNvPr>
              <p:cNvSpPr txBox="1"/>
              <p:nvPr/>
            </p:nvSpPr>
            <p:spPr>
              <a:xfrm>
                <a:off x="9156179" y="5011257"/>
                <a:ext cx="1180004" cy="332399"/>
              </a:xfrm>
              <a:prstGeom prst="rect">
                <a:avLst/>
              </a:prstGeom>
              <a:noFill/>
              <a:ln w="19050">
                <a:noFill/>
              </a:ln>
            </p:spPr>
            <p:txBody>
              <a:bodyPr wrap="square" lIns="0" tIns="0" rIns="0" bIns="0" rtlCol="0">
                <a:spAutoFit/>
              </a:bodyPr>
              <a:lstStyle/>
              <a:p>
                <a:pPr algn="ctr" defTabSz="914367">
                  <a:lnSpc>
                    <a:spcPct val="90000"/>
                  </a:lnSpc>
                  <a:defRPr/>
                </a:pPr>
                <a:r>
                  <a:rPr lang="en-US" sz="1176">
                    <a:solidFill>
                      <a:srgbClr val="3C3C41"/>
                    </a:solidFill>
                    <a:latin typeface="Segoe UI"/>
                  </a:rPr>
                  <a:t>Malicious code execution</a:t>
                </a:r>
              </a:p>
            </p:txBody>
          </p:sp>
          <p:grpSp>
            <p:nvGrpSpPr>
              <p:cNvPr id="105" name="Group 104">
                <a:extLst>
                  <a:ext uri="{FF2B5EF4-FFF2-40B4-BE49-F238E27FC236}">
                    <a16:creationId xmlns:a16="http://schemas.microsoft.com/office/drawing/2014/main" id="{9FD36713-EE77-4289-9403-485C3EF8C3E7}"/>
                  </a:ext>
                </a:extLst>
              </p:cNvPr>
              <p:cNvGrpSpPr/>
              <p:nvPr/>
            </p:nvGrpSpPr>
            <p:grpSpPr>
              <a:xfrm>
                <a:off x="7539359" y="4844226"/>
                <a:ext cx="296863" cy="593725"/>
                <a:chOff x="2460625" y="2767013"/>
                <a:chExt cx="296863" cy="593725"/>
              </a:xfrm>
            </p:grpSpPr>
            <p:sp>
              <p:nvSpPr>
                <p:cNvPr id="106" name="Rectangle 5">
                  <a:extLst>
                    <a:ext uri="{FF2B5EF4-FFF2-40B4-BE49-F238E27FC236}">
                      <a16:creationId xmlns:a16="http://schemas.microsoft.com/office/drawing/2014/main" id="{58F73C9D-E433-4003-A673-3DE56A6BDE8F}"/>
                    </a:ext>
                  </a:extLst>
                </p:cNvPr>
                <p:cNvSpPr>
                  <a:spLocks noChangeArrowheads="1"/>
                </p:cNvSpPr>
                <p:nvPr/>
              </p:nvSpPr>
              <p:spPr bwMode="auto">
                <a:xfrm>
                  <a:off x="2460625" y="2767013"/>
                  <a:ext cx="296863" cy="593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07" name="Rectangle 6">
                  <a:extLst>
                    <a:ext uri="{FF2B5EF4-FFF2-40B4-BE49-F238E27FC236}">
                      <a16:creationId xmlns:a16="http://schemas.microsoft.com/office/drawing/2014/main" id="{51EE05BB-C6C7-4321-B912-E205BFF628CF}"/>
                    </a:ext>
                  </a:extLst>
                </p:cNvPr>
                <p:cNvSpPr>
                  <a:spLocks noChangeArrowheads="1"/>
                </p:cNvSpPr>
                <p:nvPr/>
              </p:nvSpPr>
              <p:spPr bwMode="auto">
                <a:xfrm>
                  <a:off x="2497138" y="3194051"/>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08" name="Rectangle 7">
                  <a:extLst>
                    <a:ext uri="{FF2B5EF4-FFF2-40B4-BE49-F238E27FC236}">
                      <a16:creationId xmlns:a16="http://schemas.microsoft.com/office/drawing/2014/main" id="{AB5D5304-55DE-435F-8345-5854E3EA5DDE}"/>
                    </a:ext>
                  </a:extLst>
                </p:cNvPr>
                <p:cNvSpPr>
                  <a:spLocks noChangeArrowheads="1"/>
                </p:cNvSpPr>
                <p:nvPr/>
              </p:nvSpPr>
              <p:spPr bwMode="auto">
                <a:xfrm>
                  <a:off x="2497138" y="2822576"/>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09" name="Rectangle 8">
                  <a:extLst>
                    <a:ext uri="{FF2B5EF4-FFF2-40B4-BE49-F238E27FC236}">
                      <a16:creationId xmlns:a16="http://schemas.microsoft.com/office/drawing/2014/main" id="{B9FAB6B7-6818-4B34-9717-252467672BB9}"/>
                    </a:ext>
                  </a:extLst>
                </p:cNvPr>
                <p:cNvSpPr>
                  <a:spLocks noChangeArrowheads="1"/>
                </p:cNvSpPr>
                <p:nvPr/>
              </p:nvSpPr>
              <p:spPr bwMode="auto">
                <a:xfrm>
                  <a:off x="2497138" y="3268663"/>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grpSp>
            <p:nvGrpSpPr>
              <p:cNvPr id="110" name="Group 109">
                <a:extLst>
                  <a:ext uri="{FF2B5EF4-FFF2-40B4-BE49-F238E27FC236}">
                    <a16:creationId xmlns:a16="http://schemas.microsoft.com/office/drawing/2014/main" id="{1AF8C28A-ED3C-4777-BCF4-A37EB56D1122}"/>
                  </a:ext>
                </a:extLst>
              </p:cNvPr>
              <p:cNvGrpSpPr/>
              <p:nvPr/>
            </p:nvGrpSpPr>
            <p:grpSpPr>
              <a:xfrm>
                <a:off x="9597750" y="4319299"/>
                <a:ext cx="296863" cy="593725"/>
                <a:chOff x="2460625" y="2767013"/>
                <a:chExt cx="296863" cy="593725"/>
              </a:xfrm>
            </p:grpSpPr>
            <p:sp>
              <p:nvSpPr>
                <p:cNvPr id="111" name="Rectangle 5">
                  <a:extLst>
                    <a:ext uri="{FF2B5EF4-FFF2-40B4-BE49-F238E27FC236}">
                      <a16:creationId xmlns:a16="http://schemas.microsoft.com/office/drawing/2014/main" id="{DFA1AC9A-A089-44C5-A539-EFE1F7AE1FA9}"/>
                    </a:ext>
                  </a:extLst>
                </p:cNvPr>
                <p:cNvSpPr>
                  <a:spLocks noChangeArrowheads="1"/>
                </p:cNvSpPr>
                <p:nvPr/>
              </p:nvSpPr>
              <p:spPr bwMode="auto">
                <a:xfrm>
                  <a:off x="2460625" y="2767013"/>
                  <a:ext cx="296863" cy="593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12" name="Rectangle 6">
                  <a:extLst>
                    <a:ext uri="{FF2B5EF4-FFF2-40B4-BE49-F238E27FC236}">
                      <a16:creationId xmlns:a16="http://schemas.microsoft.com/office/drawing/2014/main" id="{F3AD9A86-EE62-4C70-9470-36A712781E59}"/>
                    </a:ext>
                  </a:extLst>
                </p:cNvPr>
                <p:cNvSpPr>
                  <a:spLocks noChangeArrowheads="1"/>
                </p:cNvSpPr>
                <p:nvPr/>
              </p:nvSpPr>
              <p:spPr bwMode="auto">
                <a:xfrm>
                  <a:off x="2497138" y="3194051"/>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13" name="Rectangle 7">
                  <a:extLst>
                    <a:ext uri="{FF2B5EF4-FFF2-40B4-BE49-F238E27FC236}">
                      <a16:creationId xmlns:a16="http://schemas.microsoft.com/office/drawing/2014/main" id="{19CD6ED3-1159-4DB9-9E57-325EE909BC2F}"/>
                    </a:ext>
                  </a:extLst>
                </p:cNvPr>
                <p:cNvSpPr>
                  <a:spLocks noChangeArrowheads="1"/>
                </p:cNvSpPr>
                <p:nvPr/>
              </p:nvSpPr>
              <p:spPr bwMode="auto">
                <a:xfrm>
                  <a:off x="2497138" y="2822576"/>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14" name="Rectangle 8">
                  <a:extLst>
                    <a:ext uri="{FF2B5EF4-FFF2-40B4-BE49-F238E27FC236}">
                      <a16:creationId xmlns:a16="http://schemas.microsoft.com/office/drawing/2014/main" id="{ED28FD81-807A-4F04-A1AF-F0EC9D99EA6F}"/>
                    </a:ext>
                  </a:extLst>
                </p:cNvPr>
                <p:cNvSpPr>
                  <a:spLocks noChangeArrowheads="1"/>
                </p:cNvSpPr>
                <p:nvPr/>
              </p:nvSpPr>
              <p:spPr bwMode="auto">
                <a:xfrm>
                  <a:off x="2497138" y="3268663"/>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grpSp>
            <p:nvGrpSpPr>
              <p:cNvPr id="115" name="Group 114">
                <a:extLst>
                  <a:ext uri="{FF2B5EF4-FFF2-40B4-BE49-F238E27FC236}">
                    <a16:creationId xmlns:a16="http://schemas.microsoft.com/office/drawing/2014/main" id="{3E425B95-3B06-4CAD-856F-FA239611D773}"/>
                  </a:ext>
                </a:extLst>
              </p:cNvPr>
              <p:cNvGrpSpPr/>
              <p:nvPr/>
            </p:nvGrpSpPr>
            <p:grpSpPr>
              <a:xfrm>
                <a:off x="9597750" y="5437951"/>
                <a:ext cx="296863" cy="593725"/>
                <a:chOff x="2460625" y="2767013"/>
                <a:chExt cx="296863" cy="593725"/>
              </a:xfrm>
            </p:grpSpPr>
            <p:sp>
              <p:nvSpPr>
                <p:cNvPr id="116" name="Rectangle 5">
                  <a:extLst>
                    <a:ext uri="{FF2B5EF4-FFF2-40B4-BE49-F238E27FC236}">
                      <a16:creationId xmlns:a16="http://schemas.microsoft.com/office/drawing/2014/main" id="{EEF0C193-8247-4CFF-9409-9EDCBB284681}"/>
                    </a:ext>
                  </a:extLst>
                </p:cNvPr>
                <p:cNvSpPr>
                  <a:spLocks noChangeArrowheads="1"/>
                </p:cNvSpPr>
                <p:nvPr/>
              </p:nvSpPr>
              <p:spPr bwMode="auto">
                <a:xfrm>
                  <a:off x="2460625" y="2767013"/>
                  <a:ext cx="296863" cy="593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17" name="Rectangle 6">
                  <a:extLst>
                    <a:ext uri="{FF2B5EF4-FFF2-40B4-BE49-F238E27FC236}">
                      <a16:creationId xmlns:a16="http://schemas.microsoft.com/office/drawing/2014/main" id="{55B2187D-233D-4344-A93F-F6C26EE98937}"/>
                    </a:ext>
                  </a:extLst>
                </p:cNvPr>
                <p:cNvSpPr>
                  <a:spLocks noChangeArrowheads="1"/>
                </p:cNvSpPr>
                <p:nvPr/>
              </p:nvSpPr>
              <p:spPr bwMode="auto">
                <a:xfrm>
                  <a:off x="2497138" y="3194051"/>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18" name="Rectangle 7">
                  <a:extLst>
                    <a:ext uri="{FF2B5EF4-FFF2-40B4-BE49-F238E27FC236}">
                      <a16:creationId xmlns:a16="http://schemas.microsoft.com/office/drawing/2014/main" id="{88595E43-FB2F-4A05-B4BB-3F1D53F747C7}"/>
                    </a:ext>
                  </a:extLst>
                </p:cNvPr>
                <p:cNvSpPr>
                  <a:spLocks noChangeArrowheads="1"/>
                </p:cNvSpPr>
                <p:nvPr/>
              </p:nvSpPr>
              <p:spPr bwMode="auto">
                <a:xfrm>
                  <a:off x="2497138" y="2822576"/>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19" name="Rectangle 8">
                  <a:extLst>
                    <a:ext uri="{FF2B5EF4-FFF2-40B4-BE49-F238E27FC236}">
                      <a16:creationId xmlns:a16="http://schemas.microsoft.com/office/drawing/2014/main" id="{A5E96EC5-E322-425B-8B5F-E2098C8CC61A}"/>
                    </a:ext>
                  </a:extLst>
                </p:cNvPr>
                <p:cNvSpPr>
                  <a:spLocks noChangeArrowheads="1"/>
                </p:cNvSpPr>
                <p:nvPr/>
              </p:nvSpPr>
              <p:spPr bwMode="auto">
                <a:xfrm>
                  <a:off x="2497138" y="3268663"/>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grpSp>
        <p:sp>
          <p:nvSpPr>
            <p:cNvPr id="124" name="TextBox 123">
              <a:extLst>
                <a:ext uri="{FF2B5EF4-FFF2-40B4-BE49-F238E27FC236}">
                  <a16:creationId xmlns:a16="http://schemas.microsoft.com/office/drawing/2014/main" id="{CB84AD27-5FF0-4225-AC31-B68DBCAABE31}"/>
                </a:ext>
              </a:extLst>
            </p:cNvPr>
            <p:cNvSpPr txBox="1"/>
            <p:nvPr/>
          </p:nvSpPr>
          <p:spPr>
            <a:xfrm>
              <a:off x="6267583" y="1745405"/>
              <a:ext cx="1713736" cy="215444"/>
            </a:xfrm>
            <a:prstGeom prst="rect">
              <a:avLst/>
            </a:prstGeom>
            <a:noFill/>
            <a:ln w="19050">
              <a:noFill/>
            </a:ln>
          </p:spPr>
          <p:txBody>
            <a:bodyPr wrap="square" lIns="0" tIns="0" rIns="0" bIns="0" rtlCol="0">
              <a:spAutoFit/>
            </a:bodyPr>
            <a:lstStyle/>
            <a:p>
              <a:pPr algn="ctr" defTabSz="914367">
                <a:defRPr/>
              </a:pPr>
              <a:r>
                <a:rPr lang="en-US" sz="1372">
                  <a:solidFill>
                    <a:srgbClr val="3C3C41"/>
                  </a:solidFill>
                  <a:latin typeface="Segoe UI Semibold"/>
                </a:rPr>
                <a:t>On-premise</a:t>
              </a:r>
            </a:p>
          </p:txBody>
        </p:sp>
        <p:sp>
          <p:nvSpPr>
            <p:cNvPr id="125" name="TextBox 124">
              <a:extLst>
                <a:ext uri="{FF2B5EF4-FFF2-40B4-BE49-F238E27FC236}">
                  <a16:creationId xmlns:a16="http://schemas.microsoft.com/office/drawing/2014/main" id="{2C00CB1F-E929-4569-922E-F83A2DAFC41F}"/>
                </a:ext>
              </a:extLst>
            </p:cNvPr>
            <p:cNvSpPr txBox="1"/>
            <p:nvPr/>
          </p:nvSpPr>
          <p:spPr>
            <a:xfrm>
              <a:off x="8246789" y="1930009"/>
              <a:ext cx="2075082" cy="215444"/>
            </a:xfrm>
            <a:prstGeom prst="rect">
              <a:avLst/>
            </a:prstGeom>
            <a:noFill/>
            <a:ln w="19050">
              <a:noFill/>
            </a:ln>
          </p:spPr>
          <p:txBody>
            <a:bodyPr wrap="square" lIns="0" tIns="0" rIns="0" bIns="0" rtlCol="0">
              <a:spAutoFit/>
            </a:bodyPr>
            <a:lstStyle/>
            <a:p>
              <a:pPr algn="ctr" defTabSz="914367">
                <a:defRPr/>
              </a:pPr>
              <a:r>
                <a:rPr lang="en-US" sz="1372">
                  <a:solidFill>
                    <a:srgbClr val="3C3C41"/>
                  </a:solidFill>
                  <a:latin typeface="Segoe UI Semibold"/>
                </a:rPr>
                <a:t>Azure, AWS, and GCP</a:t>
              </a:r>
            </a:p>
          </p:txBody>
        </p:sp>
        <p:cxnSp>
          <p:nvCxnSpPr>
            <p:cNvPr id="147" name="Straight Connector 146">
              <a:extLst>
                <a:ext uri="{FF2B5EF4-FFF2-40B4-BE49-F238E27FC236}">
                  <a16:creationId xmlns:a16="http://schemas.microsoft.com/office/drawing/2014/main" id="{9D49DDC3-44BF-47FD-B4B3-9BF208538502}"/>
                </a:ext>
              </a:extLst>
            </p:cNvPr>
            <p:cNvCxnSpPr>
              <a:cxnSpLocks/>
            </p:cNvCxnSpPr>
            <p:nvPr/>
          </p:nvCxnSpPr>
          <p:spPr>
            <a:xfrm>
              <a:off x="5727064" y="4151543"/>
              <a:ext cx="0" cy="924860"/>
            </a:xfrm>
            <a:prstGeom prst="line">
              <a:avLst/>
            </a:prstGeom>
            <a:ln w="19050">
              <a:solidFill>
                <a:schemeClr val="accent1">
                  <a:lumMod val="75000"/>
                </a:schemeClr>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D69BC344-4ED0-4FB4-8F95-2ADBE1A3E611}"/>
                </a:ext>
              </a:extLst>
            </p:cNvPr>
            <p:cNvCxnSpPr>
              <a:cxnSpLocks/>
            </p:cNvCxnSpPr>
            <p:nvPr/>
          </p:nvCxnSpPr>
          <p:spPr>
            <a:xfrm>
              <a:off x="7787357" y="4151543"/>
              <a:ext cx="0" cy="924860"/>
            </a:xfrm>
            <a:prstGeom prst="line">
              <a:avLst/>
            </a:prstGeom>
            <a:ln w="19050">
              <a:solidFill>
                <a:schemeClr val="accent1">
                  <a:lumMod val="75000"/>
                </a:schemeClr>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882DA3BD-880F-4B13-84FE-2FD0D3E762E2}"/>
                </a:ext>
              </a:extLst>
            </p:cNvPr>
            <p:cNvCxnSpPr>
              <a:cxnSpLocks/>
            </p:cNvCxnSpPr>
            <p:nvPr/>
          </p:nvCxnSpPr>
          <p:spPr>
            <a:xfrm>
              <a:off x="9846542" y="4151543"/>
              <a:ext cx="0" cy="425778"/>
            </a:xfrm>
            <a:prstGeom prst="line">
              <a:avLst/>
            </a:prstGeom>
            <a:ln w="19050">
              <a:solidFill>
                <a:schemeClr val="accent1">
                  <a:lumMod val="75000"/>
                </a:schemeClr>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15ADB4E3-30B3-44A1-BAB0-A320231E25DF}"/>
              </a:ext>
            </a:extLst>
          </p:cNvPr>
          <p:cNvGrpSpPr/>
          <p:nvPr/>
        </p:nvGrpSpPr>
        <p:grpSpPr>
          <a:xfrm>
            <a:off x="11029508" y="356289"/>
            <a:ext cx="784104" cy="665244"/>
            <a:chOff x="12203856" y="3508556"/>
            <a:chExt cx="584605" cy="495987"/>
          </a:xfrm>
        </p:grpSpPr>
        <p:sp>
          <p:nvSpPr>
            <p:cNvPr id="76" name="Shield_EA18" title="Icon of a shield">
              <a:extLst>
                <a:ext uri="{FF2B5EF4-FFF2-40B4-BE49-F238E27FC236}">
                  <a16:creationId xmlns:a16="http://schemas.microsoft.com/office/drawing/2014/main" id="{10E64CFB-C4B1-439C-BF97-D96D186E2E32}"/>
                </a:ext>
              </a:extLst>
            </p:cNvPr>
            <p:cNvSpPr>
              <a:spLocks noChangeAspect="1"/>
            </p:cNvSpPr>
            <p:nvPr/>
          </p:nvSpPr>
          <p:spPr bwMode="auto">
            <a:xfrm>
              <a:off x="12203856" y="3508556"/>
              <a:ext cx="465860" cy="495987"/>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a:endParaRPr>
            </a:p>
          </p:txBody>
        </p:sp>
        <p:pic>
          <p:nvPicPr>
            <p:cNvPr id="77" name="Picture 76">
              <a:extLst>
                <a:ext uri="{FF2B5EF4-FFF2-40B4-BE49-F238E27FC236}">
                  <a16:creationId xmlns:a16="http://schemas.microsoft.com/office/drawing/2014/main" id="{7244E26E-7208-4FFD-87F2-EC253FBD0B7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495914" y="3711995"/>
              <a:ext cx="292547" cy="292548"/>
            </a:xfrm>
            <a:prstGeom prst="rect">
              <a:avLst/>
            </a:prstGeom>
          </p:spPr>
        </p:pic>
      </p:grpSp>
    </p:spTree>
    <p:extLst>
      <p:ext uri="{BB962C8B-B14F-4D97-AF65-F5344CB8AC3E}">
        <p14:creationId xmlns:p14="http://schemas.microsoft.com/office/powerpoint/2010/main" val="11820070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54686-E403-224A-570D-6AD1962FEB8C}"/>
              </a:ext>
            </a:extLst>
          </p:cNvPr>
          <p:cNvSpPr>
            <a:spLocks noGrp="1"/>
          </p:cNvSpPr>
          <p:nvPr>
            <p:ph type="title"/>
          </p:nvPr>
        </p:nvSpPr>
        <p:spPr>
          <a:xfrm>
            <a:off x="881886" y="457200"/>
            <a:ext cx="10436354" cy="553998"/>
          </a:xfrm>
        </p:spPr>
        <p:txBody>
          <a:bodyPr wrap="square" anchor="t">
            <a:normAutofit/>
          </a:bodyPr>
          <a:lstStyle/>
          <a:p>
            <a:r>
              <a:rPr lang="en-US"/>
              <a:t>Our Assumptions</a:t>
            </a:r>
          </a:p>
        </p:txBody>
      </p:sp>
      <p:graphicFrame>
        <p:nvGraphicFramePr>
          <p:cNvPr id="5" name="Content Placeholder 2">
            <a:extLst>
              <a:ext uri="{FF2B5EF4-FFF2-40B4-BE49-F238E27FC236}">
                <a16:creationId xmlns:a16="http://schemas.microsoft.com/office/drawing/2014/main" id="{975E854C-4654-8554-D25C-F08036FFB0AF}"/>
              </a:ext>
            </a:extLst>
          </p:cNvPr>
          <p:cNvGraphicFramePr>
            <a:graphicFrameLocks noGrp="1"/>
          </p:cNvGraphicFramePr>
          <p:nvPr>
            <p:ph sz="quarter" idx="10"/>
            <p:extLst>
              <p:ext uri="{D42A27DB-BD31-4B8C-83A1-F6EECF244321}">
                <p14:modId xmlns:p14="http://schemas.microsoft.com/office/powerpoint/2010/main" val="25455504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247891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EA1BC7-EE96-B648-A71C-BB2FB84C653E}"/>
              </a:ext>
            </a:extLst>
          </p:cNvPr>
          <p:cNvSpPr>
            <a:spLocks noGrp="1"/>
          </p:cNvSpPr>
          <p:nvPr>
            <p:ph type="title"/>
          </p:nvPr>
        </p:nvSpPr>
        <p:spPr>
          <a:xfrm>
            <a:off x="585216" y="2916268"/>
            <a:ext cx="9144000" cy="615553"/>
          </a:xfrm>
        </p:spPr>
        <p:txBody>
          <a:bodyPr/>
          <a:lstStyle/>
          <a:p>
            <a:r>
              <a:rPr lang="en-US" dirty="0"/>
              <a:t>Security</a:t>
            </a:r>
          </a:p>
        </p:txBody>
      </p:sp>
      <p:sp>
        <p:nvSpPr>
          <p:cNvPr id="4" name="Text Placeholder 3">
            <a:extLst>
              <a:ext uri="{FF2B5EF4-FFF2-40B4-BE49-F238E27FC236}">
                <a16:creationId xmlns:a16="http://schemas.microsoft.com/office/drawing/2014/main" id="{F2CFE375-4506-3419-8BED-B4D7245197C6}"/>
              </a:ext>
            </a:extLst>
          </p:cNvPr>
          <p:cNvSpPr>
            <a:spLocks noGrp="1"/>
          </p:cNvSpPr>
          <p:nvPr>
            <p:ph type="body" sz="quarter" idx="12"/>
          </p:nvPr>
        </p:nvSpPr>
        <p:spPr/>
        <p:txBody>
          <a:bodyPr/>
          <a:lstStyle/>
          <a:p>
            <a:r>
              <a:rPr lang="en-US" dirty="0"/>
              <a:t>The only way that we get to pretend to be cops that doesn’t get us in trouble…  more trouble</a:t>
            </a:r>
          </a:p>
        </p:txBody>
      </p:sp>
    </p:spTree>
    <p:extLst>
      <p:ext uri="{BB962C8B-B14F-4D97-AF65-F5344CB8AC3E}">
        <p14:creationId xmlns:p14="http://schemas.microsoft.com/office/powerpoint/2010/main" val="427530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580EA1-442E-8831-FE97-3D94425F881C}"/>
              </a:ext>
            </a:extLst>
          </p:cNvPr>
          <p:cNvSpPr>
            <a:spLocks noGrp="1"/>
          </p:cNvSpPr>
          <p:nvPr>
            <p:ph type="title"/>
          </p:nvPr>
        </p:nvSpPr>
        <p:spPr>
          <a:xfrm>
            <a:off x="584200" y="2059622"/>
            <a:ext cx="4663440" cy="1477328"/>
          </a:xfrm>
        </p:spPr>
        <p:txBody>
          <a:bodyPr/>
          <a:lstStyle/>
          <a:p>
            <a:r>
              <a:rPr lang="en-US" dirty="0"/>
              <a:t>Q&amp;A</a:t>
            </a:r>
            <a:br>
              <a:rPr lang="en-US" dirty="0"/>
            </a:br>
            <a:r>
              <a:rPr lang="en-US" dirty="0"/>
              <a:t>Thank You</a:t>
            </a:r>
          </a:p>
        </p:txBody>
      </p:sp>
    </p:spTree>
    <p:extLst>
      <p:ext uri="{BB962C8B-B14F-4D97-AF65-F5344CB8AC3E}">
        <p14:creationId xmlns:p14="http://schemas.microsoft.com/office/powerpoint/2010/main" val="234454908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01936EF-6424-600B-FBBA-E13FA294DB13}"/>
              </a:ext>
            </a:extLst>
          </p:cNvPr>
          <p:cNvSpPr txBox="1"/>
          <p:nvPr/>
        </p:nvSpPr>
        <p:spPr>
          <a:xfrm>
            <a:off x="1197741" y="281251"/>
            <a:ext cx="6473952" cy="769441"/>
          </a:xfrm>
          <a:prstGeom prst="rect">
            <a:avLst/>
          </a:prstGeom>
          <a:noFill/>
        </p:spPr>
        <p:txBody>
          <a:bodyPr wrap="none" rtlCol="0">
            <a:spAutoFit/>
          </a:bodyPr>
          <a:lstStyle/>
          <a:p>
            <a:r>
              <a:rPr lang="en-US" sz="4400" dirty="0"/>
              <a:t>Thank you to our Sponsors!</a:t>
            </a:r>
          </a:p>
        </p:txBody>
      </p:sp>
      <p:pic>
        <p:nvPicPr>
          <p:cNvPr id="8" name="Picture 7" descr="A black circle with white text and green text&#10;&#10;Description automatically generated">
            <a:extLst>
              <a:ext uri="{FF2B5EF4-FFF2-40B4-BE49-F238E27FC236}">
                <a16:creationId xmlns:a16="http://schemas.microsoft.com/office/drawing/2014/main" id="{D7E290D7-C1A3-180C-F9A9-274E9C12B398}"/>
              </a:ext>
            </a:extLst>
          </p:cNvPr>
          <p:cNvPicPr>
            <a:picLocks noChangeAspect="1"/>
          </p:cNvPicPr>
          <p:nvPr/>
        </p:nvPicPr>
        <p:blipFill>
          <a:blip r:embed="rId2"/>
          <a:stretch>
            <a:fillRect/>
          </a:stretch>
        </p:blipFill>
        <p:spPr>
          <a:xfrm>
            <a:off x="4462418" y="1103622"/>
            <a:ext cx="3336316" cy="2355046"/>
          </a:xfrm>
          <a:prstGeom prst="rect">
            <a:avLst/>
          </a:prstGeom>
        </p:spPr>
      </p:pic>
      <p:pic>
        <p:nvPicPr>
          <p:cNvPr id="9" name="Picture 8">
            <a:extLst>
              <a:ext uri="{FF2B5EF4-FFF2-40B4-BE49-F238E27FC236}">
                <a16:creationId xmlns:a16="http://schemas.microsoft.com/office/drawing/2014/main" id="{4283363E-FA38-37CD-C61F-402542EBFFC4}"/>
              </a:ext>
            </a:extLst>
          </p:cNvPr>
          <p:cNvPicPr>
            <a:picLocks noChangeAspect="1"/>
          </p:cNvPicPr>
          <p:nvPr/>
        </p:nvPicPr>
        <p:blipFill>
          <a:blip r:embed="rId3"/>
          <a:stretch>
            <a:fillRect/>
          </a:stretch>
        </p:blipFill>
        <p:spPr>
          <a:xfrm>
            <a:off x="965810" y="1001393"/>
            <a:ext cx="3075873" cy="2317951"/>
          </a:xfrm>
          <a:prstGeom prst="rect">
            <a:avLst/>
          </a:prstGeom>
        </p:spPr>
      </p:pic>
      <p:pic>
        <p:nvPicPr>
          <p:cNvPr id="17" name="Picture 16" descr="A logo of a company&#10;&#10;Description automatically generated">
            <a:extLst>
              <a:ext uri="{FF2B5EF4-FFF2-40B4-BE49-F238E27FC236}">
                <a16:creationId xmlns:a16="http://schemas.microsoft.com/office/drawing/2014/main" id="{C5827BDF-E890-6747-32B0-A06997BC5FBA}"/>
              </a:ext>
            </a:extLst>
          </p:cNvPr>
          <p:cNvPicPr>
            <a:picLocks noChangeAspect="1"/>
          </p:cNvPicPr>
          <p:nvPr/>
        </p:nvPicPr>
        <p:blipFill>
          <a:blip r:embed="rId4"/>
          <a:stretch>
            <a:fillRect/>
          </a:stretch>
        </p:blipFill>
        <p:spPr>
          <a:xfrm>
            <a:off x="3454643" y="4219549"/>
            <a:ext cx="2410127" cy="1810372"/>
          </a:xfrm>
          <a:prstGeom prst="rect">
            <a:avLst/>
          </a:prstGeom>
        </p:spPr>
      </p:pic>
      <p:pic>
        <p:nvPicPr>
          <p:cNvPr id="19" name="Picture 18" descr="A blue and white logo&#10;&#10;Description automatically generated">
            <a:extLst>
              <a:ext uri="{FF2B5EF4-FFF2-40B4-BE49-F238E27FC236}">
                <a16:creationId xmlns:a16="http://schemas.microsoft.com/office/drawing/2014/main" id="{22EC6751-74BD-CBD0-B324-C5ED86B7249B}"/>
              </a:ext>
            </a:extLst>
          </p:cNvPr>
          <p:cNvPicPr>
            <a:picLocks noChangeAspect="1"/>
          </p:cNvPicPr>
          <p:nvPr/>
        </p:nvPicPr>
        <p:blipFill>
          <a:blip r:embed="rId5"/>
          <a:stretch>
            <a:fillRect/>
          </a:stretch>
        </p:blipFill>
        <p:spPr>
          <a:xfrm>
            <a:off x="2060562" y="2661582"/>
            <a:ext cx="2327422" cy="1754150"/>
          </a:xfrm>
          <a:prstGeom prst="rect">
            <a:avLst/>
          </a:prstGeom>
        </p:spPr>
      </p:pic>
      <p:pic>
        <p:nvPicPr>
          <p:cNvPr id="25" name="Picture 24" descr="A red line on a black background&#10;&#10;Description automatically generated">
            <a:extLst>
              <a:ext uri="{FF2B5EF4-FFF2-40B4-BE49-F238E27FC236}">
                <a16:creationId xmlns:a16="http://schemas.microsoft.com/office/drawing/2014/main" id="{314FB13C-38D7-6AEE-DE65-616CBF4F4C69}"/>
              </a:ext>
            </a:extLst>
          </p:cNvPr>
          <p:cNvPicPr>
            <a:picLocks noChangeAspect="1"/>
          </p:cNvPicPr>
          <p:nvPr/>
        </p:nvPicPr>
        <p:blipFill>
          <a:blip r:embed="rId6"/>
          <a:stretch>
            <a:fillRect/>
          </a:stretch>
        </p:blipFill>
        <p:spPr>
          <a:xfrm>
            <a:off x="2897128" y="5586729"/>
            <a:ext cx="1419289" cy="1066102"/>
          </a:xfrm>
          <a:prstGeom prst="rect">
            <a:avLst/>
          </a:prstGeom>
        </p:spPr>
      </p:pic>
      <p:pic>
        <p:nvPicPr>
          <p:cNvPr id="30" name="Picture 29">
            <a:extLst>
              <a:ext uri="{FF2B5EF4-FFF2-40B4-BE49-F238E27FC236}">
                <a16:creationId xmlns:a16="http://schemas.microsoft.com/office/drawing/2014/main" id="{551943B9-2AFF-5459-F1E7-7A80D98DB1EE}"/>
              </a:ext>
            </a:extLst>
          </p:cNvPr>
          <p:cNvPicPr>
            <a:picLocks noChangeAspect="1"/>
          </p:cNvPicPr>
          <p:nvPr/>
        </p:nvPicPr>
        <p:blipFill>
          <a:blip r:embed="rId7"/>
          <a:stretch>
            <a:fillRect/>
          </a:stretch>
        </p:blipFill>
        <p:spPr>
          <a:xfrm>
            <a:off x="797743" y="4457366"/>
            <a:ext cx="1771170" cy="1334738"/>
          </a:xfrm>
          <a:prstGeom prst="rect">
            <a:avLst/>
          </a:prstGeom>
        </p:spPr>
      </p:pic>
      <p:pic>
        <p:nvPicPr>
          <p:cNvPr id="43" name="Picture 42" descr="A blue and white logo&#10;&#10;Description automatically generated">
            <a:extLst>
              <a:ext uri="{FF2B5EF4-FFF2-40B4-BE49-F238E27FC236}">
                <a16:creationId xmlns:a16="http://schemas.microsoft.com/office/drawing/2014/main" id="{8DC6FF4C-0A91-D819-2C56-FE808FD6D67B}"/>
              </a:ext>
            </a:extLst>
          </p:cNvPr>
          <p:cNvPicPr>
            <a:picLocks noChangeAspect="1"/>
          </p:cNvPicPr>
          <p:nvPr/>
        </p:nvPicPr>
        <p:blipFill>
          <a:blip r:embed="rId8"/>
          <a:stretch>
            <a:fillRect/>
          </a:stretch>
        </p:blipFill>
        <p:spPr>
          <a:xfrm>
            <a:off x="5832069" y="5821843"/>
            <a:ext cx="1331555" cy="589491"/>
          </a:xfrm>
          <a:prstGeom prst="rect">
            <a:avLst/>
          </a:prstGeom>
        </p:spPr>
      </p:pic>
      <p:pic>
        <p:nvPicPr>
          <p:cNvPr id="45" name="Picture 44" descr="A close-up of a logo&#10;&#10;Description automatically generated">
            <a:extLst>
              <a:ext uri="{FF2B5EF4-FFF2-40B4-BE49-F238E27FC236}">
                <a16:creationId xmlns:a16="http://schemas.microsoft.com/office/drawing/2014/main" id="{3704BD36-A5B2-A1E4-2134-B17D0D83FA78}"/>
              </a:ext>
            </a:extLst>
          </p:cNvPr>
          <p:cNvPicPr>
            <a:picLocks noChangeAspect="1"/>
          </p:cNvPicPr>
          <p:nvPr/>
        </p:nvPicPr>
        <p:blipFill>
          <a:blip r:embed="rId9"/>
          <a:stretch>
            <a:fillRect/>
          </a:stretch>
        </p:blipFill>
        <p:spPr>
          <a:xfrm>
            <a:off x="8365551" y="5938776"/>
            <a:ext cx="1771170" cy="355626"/>
          </a:xfrm>
          <a:prstGeom prst="rect">
            <a:avLst/>
          </a:prstGeom>
        </p:spPr>
      </p:pic>
      <p:pic>
        <p:nvPicPr>
          <p:cNvPr id="49" name="Picture 48" descr="A logo with blue and black lines&#10;&#10;Description automatically generated">
            <a:extLst>
              <a:ext uri="{FF2B5EF4-FFF2-40B4-BE49-F238E27FC236}">
                <a16:creationId xmlns:a16="http://schemas.microsoft.com/office/drawing/2014/main" id="{E59FD76A-F3F1-A684-77F8-5CE5300E9F93}"/>
              </a:ext>
            </a:extLst>
          </p:cNvPr>
          <p:cNvPicPr>
            <a:picLocks noChangeAspect="1"/>
          </p:cNvPicPr>
          <p:nvPr/>
        </p:nvPicPr>
        <p:blipFill>
          <a:blip r:embed="rId10"/>
          <a:stretch>
            <a:fillRect/>
          </a:stretch>
        </p:blipFill>
        <p:spPr>
          <a:xfrm>
            <a:off x="7588619" y="2558213"/>
            <a:ext cx="3135246" cy="2355046"/>
          </a:xfrm>
          <a:prstGeom prst="rect">
            <a:avLst/>
          </a:prstGeom>
        </p:spPr>
      </p:pic>
      <p:pic>
        <p:nvPicPr>
          <p:cNvPr id="6" name="Picture 5" descr="A red and grey logo&#10;&#10;Description automatically generated">
            <a:extLst>
              <a:ext uri="{FF2B5EF4-FFF2-40B4-BE49-F238E27FC236}">
                <a16:creationId xmlns:a16="http://schemas.microsoft.com/office/drawing/2014/main" id="{E5CDBBBF-219C-ABCB-8D28-4DF0FAAAA6F5}"/>
              </a:ext>
            </a:extLst>
          </p:cNvPr>
          <p:cNvPicPr>
            <a:picLocks noChangeAspect="1"/>
          </p:cNvPicPr>
          <p:nvPr/>
        </p:nvPicPr>
        <p:blipFill>
          <a:blip r:embed="rId11"/>
          <a:stretch>
            <a:fillRect/>
          </a:stretch>
        </p:blipFill>
        <p:spPr>
          <a:xfrm>
            <a:off x="9768856" y="197340"/>
            <a:ext cx="2099806" cy="1313306"/>
          </a:xfrm>
          <a:prstGeom prst="rect">
            <a:avLst/>
          </a:prstGeom>
        </p:spPr>
      </p:pic>
      <p:pic>
        <p:nvPicPr>
          <p:cNvPr id="32" name="Picture 31" descr="A black background with a logo&#10;&#10;Description automatically generated">
            <a:extLst>
              <a:ext uri="{FF2B5EF4-FFF2-40B4-BE49-F238E27FC236}">
                <a16:creationId xmlns:a16="http://schemas.microsoft.com/office/drawing/2014/main" id="{6717C7A1-15FA-F82D-ECE4-71CA0B17434A}"/>
              </a:ext>
            </a:extLst>
          </p:cNvPr>
          <p:cNvPicPr>
            <a:picLocks noChangeAspect="1"/>
          </p:cNvPicPr>
          <p:nvPr/>
        </p:nvPicPr>
        <p:blipFill>
          <a:blip r:embed="rId12"/>
          <a:stretch>
            <a:fillRect/>
          </a:stretch>
        </p:blipFill>
        <p:spPr>
          <a:xfrm>
            <a:off x="8724782" y="3761543"/>
            <a:ext cx="3617395" cy="2726384"/>
          </a:xfrm>
          <a:prstGeom prst="rect">
            <a:avLst/>
          </a:prstGeom>
        </p:spPr>
      </p:pic>
      <p:pic>
        <p:nvPicPr>
          <p:cNvPr id="21" name="Picture 20" descr="A black and red logo&#10;&#10;Description automatically generated">
            <a:extLst>
              <a:ext uri="{FF2B5EF4-FFF2-40B4-BE49-F238E27FC236}">
                <a16:creationId xmlns:a16="http://schemas.microsoft.com/office/drawing/2014/main" id="{BC0A3B4C-FECE-DA4A-F1A3-A6371F825B40}"/>
              </a:ext>
            </a:extLst>
          </p:cNvPr>
          <p:cNvPicPr>
            <a:picLocks noChangeAspect="1"/>
          </p:cNvPicPr>
          <p:nvPr/>
        </p:nvPicPr>
        <p:blipFill>
          <a:blip r:embed="rId13"/>
          <a:stretch>
            <a:fillRect/>
          </a:stretch>
        </p:blipFill>
        <p:spPr>
          <a:xfrm>
            <a:off x="7695079" y="497195"/>
            <a:ext cx="4413428" cy="3326345"/>
          </a:xfrm>
          <a:prstGeom prst="rect">
            <a:avLst/>
          </a:prstGeom>
        </p:spPr>
      </p:pic>
      <p:pic>
        <p:nvPicPr>
          <p:cNvPr id="47" name="Picture 46" descr="A dolphin and text on a black background&#10;&#10;Description automatically generated">
            <a:extLst>
              <a:ext uri="{FF2B5EF4-FFF2-40B4-BE49-F238E27FC236}">
                <a16:creationId xmlns:a16="http://schemas.microsoft.com/office/drawing/2014/main" id="{3ACCC807-5BA8-B534-BE8D-B5E76CBE71FD}"/>
              </a:ext>
            </a:extLst>
          </p:cNvPr>
          <p:cNvPicPr>
            <a:picLocks noChangeAspect="1"/>
          </p:cNvPicPr>
          <p:nvPr/>
        </p:nvPicPr>
        <p:blipFill>
          <a:blip r:embed="rId14"/>
          <a:stretch>
            <a:fillRect/>
          </a:stretch>
        </p:blipFill>
        <p:spPr>
          <a:xfrm>
            <a:off x="7156060" y="4315040"/>
            <a:ext cx="1520803" cy="1146064"/>
          </a:xfrm>
          <a:prstGeom prst="rect">
            <a:avLst/>
          </a:prstGeom>
        </p:spPr>
      </p:pic>
    </p:spTree>
    <p:extLst>
      <p:ext uri="{BB962C8B-B14F-4D97-AF65-F5344CB8AC3E}">
        <p14:creationId xmlns:p14="http://schemas.microsoft.com/office/powerpoint/2010/main" val="2632759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EDDE0-0731-7412-CC53-DFED3A87D47D}"/>
              </a:ext>
            </a:extLst>
          </p:cNvPr>
          <p:cNvSpPr>
            <a:spLocks noGrp="1"/>
          </p:cNvSpPr>
          <p:nvPr>
            <p:ph type="title"/>
          </p:nvPr>
        </p:nvSpPr>
        <p:spPr>
          <a:xfrm>
            <a:off x="881886" y="457200"/>
            <a:ext cx="10436354" cy="553998"/>
          </a:xfrm>
        </p:spPr>
        <p:txBody>
          <a:bodyPr wrap="square" anchor="t">
            <a:normAutofit/>
          </a:bodyPr>
          <a:lstStyle/>
          <a:p>
            <a:r>
              <a:rPr lang="en-US"/>
              <a:t>Some Topics We’ll Cover</a:t>
            </a:r>
          </a:p>
        </p:txBody>
      </p:sp>
      <p:graphicFrame>
        <p:nvGraphicFramePr>
          <p:cNvPr id="5" name="Content Placeholder 2">
            <a:extLst>
              <a:ext uri="{FF2B5EF4-FFF2-40B4-BE49-F238E27FC236}">
                <a16:creationId xmlns:a16="http://schemas.microsoft.com/office/drawing/2014/main" id="{C4490039-9136-000C-4326-D0778F987E09}"/>
              </a:ext>
            </a:extLst>
          </p:cNvPr>
          <p:cNvGraphicFramePr>
            <a:graphicFrameLocks noGrp="1"/>
          </p:cNvGraphicFramePr>
          <p:nvPr>
            <p:ph sz="quarter" idx="10"/>
            <p:extLst>
              <p:ext uri="{D42A27DB-BD31-4B8C-83A1-F6EECF244321}">
                <p14:modId xmlns:p14="http://schemas.microsoft.com/office/powerpoint/2010/main" val="9064885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33984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E60581-FB3A-7713-4BC2-899398FC63C7}"/>
              </a:ext>
            </a:extLst>
          </p:cNvPr>
          <p:cNvSpPr>
            <a:spLocks noGrp="1"/>
          </p:cNvSpPr>
          <p:nvPr>
            <p:ph type="title"/>
          </p:nvPr>
        </p:nvSpPr>
        <p:spPr>
          <a:xfrm>
            <a:off x="585216" y="2977823"/>
            <a:ext cx="9144000" cy="553998"/>
          </a:xfrm>
        </p:spPr>
        <p:txBody>
          <a:bodyPr wrap="square" anchor="b">
            <a:normAutofit/>
          </a:bodyPr>
          <a:lstStyle/>
          <a:p>
            <a:pPr>
              <a:lnSpc>
                <a:spcPct val="90000"/>
              </a:lnSpc>
            </a:pPr>
            <a:r>
              <a:rPr lang="en-US"/>
              <a:t>But First…</a:t>
            </a:r>
          </a:p>
        </p:txBody>
      </p:sp>
      <p:sp>
        <p:nvSpPr>
          <p:cNvPr id="5" name="Text Placeholder 4">
            <a:extLst>
              <a:ext uri="{FF2B5EF4-FFF2-40B4-BE49-F238E27FC236}">
                <a16:creationId xmlns:a16="http://schemas.microsoft.com/office/drawing/2014/main" id="{FDB93552-00DB-C23C-1280-B2D5CB684EA2}"/>
              </a:ext>
            </a:extLst>
          </p:cNvPr>
          <p:cNvSpPr>
            <a:spLocks noGrp="1"/>
          </p:cNvSpPr>
          <p:nvPr>
            <p:ph type="body" sz="quarter" idx="12"/>
          </p:nvPr>
        </p:nvSpPr>
        <p:spPr>
          <a:xfrm>
            <a:off x="585216" y="3977319"/>
            <a:ext cx="9144000" cy="246221"/>
          </a:xfrm>
        </p:spPr>
        <p:txBody>
          <a:bodyPr wrap="square">
            <a:normAutofit/>
          </a:bodyPr>
          <a:lstStyle/>
          <a:p>
            <a:pPr>
              <a:spcAft>
                <a:spcPts val="600"/>
              </a:spcAft>
            </a:pPr>
            <a:r>
              <a:rPr lang="en-US"/>
              <a:t>A bit of an Overview of Azure</a:t>
            </a:r>
          </a:p>
        </p:txBody>
      </p:sp>
    </p:spTree>
    <p:extLst>
      <p:ext uri="{BB962C8B-B14F-4D97-AF65-F5344CB8AC3E}">
        <p14:creationId xmlns:p14="http://schemas.microsoft.com/office/powerpoint/2010/main" val="31942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7" name="Picture 586">
            <a:extLst>
              <a:ext uri="{FF2B5EF4-FFF2-40B4-BE49-F238E27FC236}">
                <a16:creationId xmlns:a16="http://schemas.microsoft.com/office/drawing/2014/main" id="{D95211CD-1B69-DE5D-DCE4-454DF86FECE0}"/>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r="38579"/>
          <a:stretch/>
        </p:blipFill>
        <p:spPr>
          <a:xfrm>
            <a:off x="-1" y="1240971"/>
            <a:ext cx="12192001" cy="4343400"/>
          </a:xfrm>
          <a:prstGeom prst="rect">
            <a:avLst/>
          </a:prstGeom>
        </p:spPr>
      </p:pic>
      <p:sp>
        <p:nvSpPr>
          <p:cNvPr id="588" name="Rounded Rectangle 19">
            <a:extLst>
              <a:ext uri="{FF2B5EF4-FFF2-40B4-BE49-F238E27FC236}">
                <a16:creationId xmlns:a16="http://schemas.microsoft.com/office/drawing/2014/main" id="{3672AE16-D608-BBD9-17E5-2785AF33381B}"/>
              </a:ext>
              <a:ext uri="{C183D7F6-B498-43B3-948B-1728B52AA6E4}">
                <adec:decorative xmlns:adec="http://schemas.microsoft.com/office/drawing/2017/decorative" val="1"/>
              </a:ext>
            </a:extLst>
          </p:cNvPr>
          <p:cNvSpPr/>
          <p:nvPr/>
        </p:nvSpPr>
        <p:spPr bwMode="auto">
          <a:xfrm>
            <a:off x="2002220" y="1307412"/>
            <a:ext cx="8017556" cy="4022766"/>
          </a:xfrm>
          <a:prstGeom prst="roundRect">
            <a:avLst>
              <a:gd name="adj" fmla="val 6175"/>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9F63D442-E9C6-3D87-B805-C5129CC9E402}"/>
              </a:ext>
            </a:extLst>
          </p:cNvPr>
          <p:cNvSpPr>
            <a:spLocks noGrp="1"/>
          </p:cNvSpPr>
          <p:nvPr>
            <p:ph type="title"/>
          </p:nvPr>
        </p:nvSpPr>
        <p:spPr>
          <a:xfrm>
            <a:off x="1570450" y="457200"/>
            <a:ext cx="8791526" cy="553998"/>
          </a:xfrm>
        </p:spPr>
        <p:txBody>
          <a:bodyPr/>
          <a:lstStyle/>
          <a:p>
            <a:pPr algn="ctr"/>
            <a:r>
              <a:rPr lang="en-US"/>
              <a:t>Shared responsibility</a:t>
            </a:r>
          </a:p>
        </p:txBody>
      </p:sp>
      <p:sp>
        <p:nvSpPr>
          <p:cNvPr id="411" name="Freeform: Shape 410">
            <a:extLst>
              <a:ext uri="{FF2B5EF4-FFF2-40B4-BE49-F238E27FC236}">
                <a16:creationId xmlns:a16="http://schemas.microsoft.com/office/drawing/2014/main" id="{9CB8FBB2-AFF1-04B2-4B9E-D7852CB01E56}"/>
              </a:ext>
              <a:ext uri="{C183D7F6-B498-43B3-948B-1728B52AA6E4}">
                <adec:decorative xmlns:adec="http://schemas.microsoft.com/office/drawing/2017/decorative" val="1"/>
              </a:ext>
            </a:extLst>
          </p:cNvPr>
          <p:cNvSpPr/>
          <p:nvPr/>
        </p:nvSpPr>
        <p:spPr>
          <a:xfrm>
            <a:off x="3973728" y="5857508"/>
            <a:ext cx="241216" cy="240998"/>
          </a:xfrm>
          <a:custGeom>
            <a:avLst/>
            <a:gdLst>
              <a:gd name="connsiteX0" fmla="*/ 0 w 241216"/>
              <a:gd name="connsiteY0" fmla="*/ 0 h 240998"/>
              <a:gd name="connsiteX1" fmla="*/ 241217 w 241216"/>
              <a:gd name="connsiteY1" fmla="*/ 0 h 240998"/>
              <a:gd name="connsiteX2" fmla="*/ 241217 w 241216"/>
              <a:gd name="connsiteY2" fmla="*/ 240998 h 240998"/>
              <a:gd name="connsiteX3" fmla="*/ 0 w 241216"/>
              <a:gd name="connsiteY3" fmla="*/ 240998 h 240998"/>
            </a:gdLst>
            <a:ahLst/>
            <a:cxnLst>
              <a:cxn ang="0">
                <a:pos x="connsiteX0" y="connsiteY0"/>
              </a:cxn>
              <a:cxn ang="0">
                <a:pos x="connsiteX1" y="connsiteY1"/>
              </a:cxn>
              <a:cxn ang="0">
                <a:pos x="connsiteX2" y="connsiteY2"/>
              </a:cxn>
              <a:cxn ang="0">
                <a:pos x="connsiteX3" y="connsiteY3"/>
              </a:cxn>
            </a:cxnLst>
            <a:rect l="l" t="t" r="r" b="b"/>
            <a:pathLst>
              <a:path w="241216" h="240998">
                <a:moveTo>
                  <a:pt x="0" y="0"/>
                </a:moveTo>
                <a:lnTo>
                  <a:pt x="241217" y="0"/>
                </a:lnTo>
                <a:lnTo>
                  <a:pt x="241217" y="240998"/>
                </a:lnTo>
                <a:lnTo>
                  <a:pt x="0" y="240998"/>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2" name="Freeform: Shape 411">
            <a:extLst>
              <a:ext uri="{FF2B5EF4-FFF2-40B4-BE49-F238E27FC236}">
                <a16:creationId xmlns:a16="http://schemas.microsoft.com/office/drawing/2014/main" id="{1846633F-4484-467A-FA3C-1CBC454D932D}"/>
              </a:ext>
              <a:ext uri="{C183D7F6-B498-43B3-948B-1728B52AA6E4}">
                <adec:decorative xmlns:adec="http://schemas.microsoft.com/office/drawing/2017/decorative" val="1"/>
              </a:ext>
            </a:extLst>
          </p:cNvPr>
          <p:cNvSpPr/>
          <p:nvPr/>
        </p:nvSpPr>
        <p:spPr>
          <a:xfrm>
            <a:off x="7333586" y="5857508"/>
            <a:ext cx="241216" cy="240998"/>
          </a:xfrm>
          <a:custGeom>
            <a:avLst/>
            <a:gdLst>
              <a:gd name="connsiteX0" fmla="*/ 0 w 241216"/>
              <a:gd name="connsiteY0" fmla="*/ 0 h 240998"/>
              <a:gd name="connsiteX1" fmla="*/ 241217 w 241216"/>
              <a:gd name="connsiteY1" fmla="*/ 0 h 240998"/>
              <a:gd name="connsiteX2" fmla="*/ 241217 w 241216"/>
              <a:gd name="connsiteY2" fmla="*/ 240998 h 240998"/>
              <a:gd name="connsiteX3" fmla="*/ 0 w 241216"/>
              <a:gd name="connsiteY3" fmla="*/ 240998 h 240998"/>
            </a:gdLst>
            <a:ahLst/>
            <a:cxnLst>
              <a:cxn ang="0">
                <a:pos x="connsiteX0" y="connsiteY0"/>
              </a:cxn>
              <a:cxn ang="0">
                <a:pos x="connsiteX1" y="connsiteY1"/>
              </a:cxn>
              <a:cxn ang="0">
                <a:pos x="connsiteX2" y="connsiteY2"/>
              </a:cxn>
              <a:cxn ang="0">
                <a:pos x="connsiteX3" y="connsiteY3"/>
              </a:cxn>
            </a:cxnLst>
            <a:rect l="l" t="t" r="r" b="b"/>
            <a:pathLst>
              <a:path w="241216" h="240998">
                <a:moveTo>
                  <a:pt x="0" y="0"/>
                </a:moveTo>
                <a:lnTo>
                  <a:pt x="241217" y="0"/>
                </a:lnTo>
                <a:lnTo>
                  <a:pt x="241217" y="240998"/>
                </a:lnTo>
                <a:lnTo>
                  <a:pt x="0" y="240998"/>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413" name="Graphic 2">
            <a:extLst>
              <a:ext uri="{FF2B5EF4-FFF2-40B4-BE49-F238E27FC236}">
                <a16:creationId xmlns:a16="http://schemas.microsoft.com/office/drawing/2014/main" id="{8E43B6B7-D2A0-34E8-F45F-A2EF1D706EA4}"/>
              </a:ext>
              <a:ext uri="{C183D7F6-B498-43B3-948B-1728B52AA6E4}">
                <adec:decorative xmlns:adec="http://schemas.microsoft.com/office/drawing/2017/decorative" val="1"/>
              </a:ext>
            </a:extLst>
          </p:cNvPr>
          <p:cNvGrpSpPr/>
          <p:nvPr/>
        </p:nvGrpSpPr>
        <p:grpSpPr>
          <a:xfrm>
            <a:off x="5665833" y="5857508"/>
            <a:ext cx="241216" cy="240998"/>
            <a:chOff x="3647725" y="5955413"/>
            <a:chExt cx="241216" cy="240998"/>
          </a:xfrm>
        </p:grpSpPr>
        <p:sp>
          <p:nvSpPr>
            <p:cNvPr id="426" name="Freeform: Shape 425">
              <a:extLst>
                <a:ext uri="{FF2B5EF4-FFF2-40B4-BE49-F238E27FC236}">
                  <a16:creationId xmlns:a16="http://schemas.microsoft.com/office/drawing/2014/main" id="{EDD72C38-70B5-4959-EFA8-97D2327FE3BA}"/>
                </a:ext>
              </a:extLst>
            </p:cNvPr>
            <p:cNvSpPr/>
            <p:nvPr/>
          </p:nvSpPr>
          <p:spPr>
            <a:xfrm>
              <a:off x="3647726" y="5955413"/>
              <a:ext cx="241216" cy="240998"/>
            </a:xfrm>
            <a:custGeom>
              <a:avLst/>
              <a:gdLst>
                <a:gd name="connsiteX0" fmla="*/ 0 w 241216"/>
                <a:gd name="connsiteY0" fmla="*/ 0 h 240998"/>
                <a:gd name="connsiteX1" fmla="*/ 241217 w 241216"/>
                <a:gd name="connsiteY1" fmla="*/ 0 h 240998"/>
                <a:gd name="connsiteX2" fmla="*/ 241217 w 241216"/>
                <a:gd name="connsiteY2" fmla="*/ 240998 h 240998"/>
                <a:gd name="connsiteX3" fmla="*/ 0 w 241216"/>
                <a:gd name="connsiteY3" fmla="*/ 240998 h 240998"/>
              </a:gdLst>
              <a:ahLst/>
              <a:cxnLst>
                <a:cxn ang="0">
                  <a:pos x="connsiteX0" y="connsiteY0"/>
                </a:cxn>
                <a:cxn ang="0">
                  <a:pos x="connsiteX1" y="connsiteY1"/>
                </a:cxn>
                <a:cxn ang="0">
                  <a:pos x="connsiteX2" y="connsiteY2"/>
                </a:cxn>
                <a:cxn ang="0">
                  <a:pos x="connsiteX3" y="connsiteY3"/>
                </a:cxn>
              </a:cxnLst>
              <a:rect l="l" t="t" r="r" b="b"/>
              <a:pathLst>
                <a:path w="241216" h="240998">
                  <a:moveTo>
                    <a:pt x="0" y="0"/>
                  </a:moveTo>
                  <a:lnTo>
                    <a:pt x="241217" y="0"/>
                  </a:lnTo>
                  <a:lnTo>
                    <a:pt x="241217" y="240998"/>
                  </a:lnTo>
                  <a:lnTo>
                    <a:pt x="0" y="240998"/>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7" name="Freeform: Shape 426">
              <a:extLst>
                <a:ext uri="{FF2B5EF4-FFF2-40B4-BE49-F238E27FC236}">
                  <a16:creationId xmlns:a16="http://schemas.microsoft.com/office/drawing/2014/main" id="{C10120DC-4E0D-5A42-6D40-F7C20D4F7D03}"/>
                </a:ext>
              </a:extLst>
            </p:cNvPr>
            <p:cNvSpPr/>
            <p:nvPr/>
          </p:nvSpPr>
          <p:spPr>
            <a:xfrm>
              <a:off x="3647725" y="5955413"/>
              <a:ext cx="241216" cy="240998"/>
            </a:xfrm>
            <a:custGeom>
              <a:avLst/>
              <a:gdLst>
                <a:gd name="connsiteX0" fmla="*/ 241217 w 241216"/>
                <a:gd name="connsiteY0" fmla="*/ 0 h 240998"/>
                <a:gd name="connsiteX1" fmla="*/ 241217 w 241216"/>
                <a:gd name="connsiteY1" fmla="*/ 240998 h 240998"/>
                <a:gd name="connsiteX2" fmla="*/ 0 w 241216"/>
                <a:gd name="connsiteY2" fmla="*/ 240998 h 240998"/>
              </a:gdLst>
              <a:ahLst/>
              <a:cxnLst>
                <a:cxn ang="0">
                  <a:pos x="connsiteX0" y="connsiteY0"/>
                </a:cxn>
                <a:cxn ang="0">
                  <a:pos x="connsiteX1" y="connsiteY1"/>
                </a:cxn>
                <a:cxn ang="0">
                  <a:pos x="connsiteX2" y="connsiteY2"/>
                </a:cxn>
              </a:cxnLst>
              <a:rect l="l" t="t" r="r" b="b"/>
              <a:pathLst>
                <a:path w="241216" h="240998">
                  <a:moveTo>
                    <a:pt x="241217" y="0"/>
                  </a:moveTo>
                  <a:lnTo>
                    <a:pt x="241217" y="240998"/>
                  </a:lnTo>
                  <a:lnTo>
                    <a:pt x="0" y="240998"/>
                  </a:lnTo>
                </a:path>
              </a:pathLst>
            </a:custGeom>
            <a:solidFill>
              <a:srgbClr val="7030A0"/>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89" name="Group 588" descr="Chart showing responsibilities between customer and Microsoft when moving from on premises to the cloud.">
            <a:extLst>
              <a:ext uri="{FF2B5EF4-FFF2-40B4-BE49-F238E27FC236}">
                <a16:creationId xmlns:a16="http://schemas.microsoft.com/office/drawing/2014/main" id="{F19B9C14-897C-D7CF-2A84-DE6A9CF6BD02}"/>
              </a:ext>
              <a:ext uri="{C183D7F6-B498-43B3-948B-1728B52AA6E4}">
                <adec:decorative xmlns:adec="http://schemas.microsoft.com/office/drawing/2017/decorative" val="0"/>
              </a:ext>
            </a:extLst>
          </p:cNvPr>
          <p:cNvGrpSpPr/>
          <p:nvPr/>
        </p:nvGrpSpPr>
        <p:grpSpPr>
          <a:xfrm>
            <a:off x="2346028" y="1381347"/>
            <a:ext cx="7248264" cy="3735862"/>
            <a:chOff x="2346028" y="1381347"/>
            <a:chExt cx="7248264" cy="3735862"/>
          </a:xfrm>
        </p:grpSpPr>
        <p:sp>
          <p:nvSpPr>
            <p:cNvPr id="510" name="Rectangle: Rounded Corners 509">
              <a:extLst>
                <a:ext uri="{FF2B5EF4-FFF2-40B4-BE49-F238E27FC236}">
                  <a16:creationId xmlns:a16="http://schemas.microsoft.com/office/drawing/2014/main" id="{334543B0-A27F-5FCD-9B63-D7CA2B61368C}"/>
                </a:ext>
                <a:ext uri="{C183D7F6-B498-43B3-948B-1728B52AA6E4}">
                  <adec:decorative xmlns:adec="http://schemas.microsoft.com/office/drawing/2017/decorative" val="1"/>
                </a:ext>
              </a:extLst>
            </p:cNvPr>
            <p:cNvSpPr/>
            <p:nvPr/>
          </p:nvSpPr>
          <p:spPr>
            <a:xfrm>
              <a:off x="2406038" y="4166233"/>
              <a:ext cx="7188254" cy="950976"/>
            </a:xfrm>
            <a:prstGeom prst="roundRect">
              <a:avLst/>
            </a:prstGeom>
            <a:solidFill>
              <a:schemeClr val="bg1">
                <a:lumMod val="95000"/>
              </a:schemeClr>
            </a:solidFill>
            <a:ln w="1095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560" name="Graphic 2" descr="Diagram showing responsibility zones.">
              <a:extLst>
                <a:ext uri="{FF2B5EF4-FFF2-40B4-BE49-F238E27FC236}">
                  <a16:creationId xmlns:a16="http://schemas.microsoft.com/office/drawing/2014/main" id="{3631ED18-7DFE-86EB-72B0-B23CC4863332}"/>
                </a:ext>
              </a:extLst>
            </p:cNvPr>
            <p:cNvGrpSpPr/>
            <p:nvPr/>
          </p:nvGrpSpPr>
          <p:grpSpPr>
            <a:xfrm>
              <a:off x="4550261" y="4134614"/>
              <a:ext cx="2616103" cy="306724"/>
              <a:chOff x="3146379" y="2800416"/>
              <a:chExt cx="2616103" cy="306724"/>
            </a:xfrm>
            <a:solidFill>
              <a:srgbClr val="E8E6DF"/>
            </a:solidFill>
            <a:effectLst/>
          </p:grpSpPr>
          <p:grpSp>
            <p:nvGrpSpPr>
              <p:cNvPr id="561" name="Graphic 2" descr="Diagram showing responsibility zones.">
                <a:extLst>
                  <a:ext uri="{FF2B5EF4-FFF2-40B4-BE49-F238E27FC236}">
                    <a16:creationId xmlns:a16="http://schemas.microsoft.com/office/drawing/2014/main" id="{7A0AE997-3651-DD03-D241-31D1F01621DF}"/>
                  </a:ext>
                </a:extLst>
              </p:cNvPr>
              <p:cNvGrpSpPr/>
              <p:nvPr/>
            </p:nvGrpSpPr>
            <p:grpSpPr>
              <a:xfrm>
                <a:off x="3157343" y="2811370"/>
                <a:ext cx="2605139" cy="295770"/>
                <a:chOff x="3157343" y="2811370"/>
                <a:chExt cx="2605139" cy="295770"/>
              </a:xfrm>
              <a:grpFill/>
            </p:grpSpPr>
            <p:sp>
              <p:nvSpPr>
                <p:cNvPr id="565" name="Freeform: Shape 564">
                  <a:extLst>
                    <a:ext uri="{FF2B5EF4-FFF2-40B4-BE49-F238E27FC236}">
                      <a16:creationId xmlns:a16="http://schemas.microsoft.com/office/drawing/2014/main" id="{7FB18752-7B71-8C86-FFCC-DE41D0C7BBBB}"/>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6" name="Freeform: Shape 565">
                  <a:extLst>
                    <a:ext uri="{FF2B5EF4-FFF2-40B4-BE49-F238E27FC236}">
                      <a16:creationId xmlns:a16="http://schemas.microsoft.com/office/drawing/2014/main" id="{531D8490-FA7D-13DA-CD4A-3F6488073B51}"/>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62" name="Graphic 2" descr="Diagram showing responsibility zones.">
                <a:extLst>
                  <a:ext uri="{FF2B5EF4-FFF2-40B4-BE49-F238E27FC236}">
                    <a16:creationId xmlns:a16="http://schemas.microsoft.com/office/drawing/2014/main" id="{7FC61C3F-98B9-21D9-3F35-7701D180A26D}"/>
                  </a:ext>
                </a:extLst>
              </p:cNvPr>
              <p:cNvGrpSpPr/>
              <p:nvPr/>
            </p:nvGrpSpPr>
            <p:grpSpPr>
              <a:xfrm>
                <a:off x="3146379" y="2800416"/>
                <a:ext cx="2605139" cy="295770"/>
                <a:chOff x="3146379" y="2800416"/>
                <a:chExt cx="2605139" cy="295770"/>
              </a:xfrm>
              <a:grpFill/>
            </p:grpSpPr>
            <p:sp>
              <p:nvSpPr>
                <p:cNvPr id="563" name="Freeform: Shape 562">
                  <a:extLst>
                    <a:ext uri="{FF2B5EF4-FFF2-40B4-BE49-F238E27FC236}">
                      <a16:creationId xmlns:a16="http://schemas.microsoft.com/office/drawing/2014/main" id="{32DB082A-3785-1560-79CA-7BF7ACAF15B2}"/>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4" name="Freeform: Shape 563">
                  <a:extLst>
                    <a:ext uri="{FF2B5EF4-FFF2-40B4-BE49-F238E27FC236}">
                      <a16:creationId xmlns:a16="http://schemas.microsoft.com/office/drawing/2014/main" id="{DB1195C2-B1A8-CEB1-6207-F369435669C7}"/>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567" name="Graphic 2" descr="Diagram showing responsibility zones.">
              <a:extLst>
                <a:ext uri="{FF2B5EF4-FFF2-40B4-BE49-F238E27FC236}">
                  <a16:creationId xmlns:a16="http://schemas.microsoft.com/office/drawing/2014/main" id="{F7078555-2340-BDAF-1606-B5858F527282}"/>
                </a:ext>
              </a:extLst>
            </p:cNvPr>
            <p:cNvGrpSpPr/>
            <p:nvPr/>
          </p:nvGrpSpPr>
          <p:grpSpPr>
            <a:xfrm>
              <a:off x="4550261" y="4470400"/>
              <a:ext cx="2616103" cy="306725"/>
              <a:chOff x="3146379" y="2800416"/>
              <a:chExt cx="2616103" cy="306725"/>
            </a:xfrm>
            <a:solidFill>
              <a:srgbClr val="E8E6DF"/>
            </a:solidFill>
            <a:effectLst/>
          </p:grpSpPr>
          <p:grpSp>
            <p:nvGrpSpPr>
              <p:cNvPr id="568" name="Graphic 2" descr="Diagram showing responsibility zones.">
                <a:extLst>
                  <a:ext uri="{FF2B5EF4-FFF2-40B4-BE49-F238E27FC236}">
                    <a16:creationId xmlns:a16="http://schemas.microsoft.com/office/drawing/2014/main" id="{7F8C60B7-506F-FD11-0942-20311D33EE83}"/>
                  </a:ext>
                </a:extLst>
              </p:cNvPr>
              <p:cNvGrpSpPr/>
              <p:nvPr/>
            </p:nvGrpSpPr>
            <p:grpSpPr>
              <a:xfrm>
                <a:off x="3157343" y="2811370"/>
                <a:ext cx="2605139" cy="295770"/>
                <a:chOff x="3157343" y="2811370"/>
                <a:chExt cx="2605139" cy="295770"/>
              </a:xfrm>
              <a:grpFill/>
            </p:grpSpPr>
            <p:sp>
              <p:nvSpPr>
                <p:cNvPr id="572" name="Freeform: Shape 571">
                  <a:extLst>
                    <a:ext uri="{FF2B5EF4-FFF2-40B4-BE49-F238E27FC236}">
                      <a16:creationId xmlns:a16="http://schemas.microsoft.com/office/drawing/2014/main" id="{60CE42DF-D48D-3F71-C862-CDA0AA9D66FA}"/>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3" name="Freeform: Shape 572">
                  <a:extLst>
                    <a:ext uri="{FF2B5EF4-FFF2-40B4-BE49-F238E27FC236}">
                      <a16:creationId xmlns:a16="http://schemas.microsoft.com/office/drawing/2014/main" id="{6986B6CB-B953-DABF-8DAD-31DD92039FB8}"/>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69" name="Graphic 2" descr="Diagram showing responsibility zones.">
                <a:extLst>
                  <a:ext uri="{FF2B5EF4-FFF2-40B4-BE49-F238E27FC236}">
                    <a16:creationId xmlns:a16="http://schemas.microsoft.com/office/drawing/2014/main" id="{8890843E-B32B-7890-FCE2-A6345476F681}"/>
                  </a:ext>
                </a:extLst>
              </p:cNvPr>
              <p:cNvGrpSpPr/>
              <p:nvPr/>
            </p:nvGrpSpPr>
            <p:grpSpPr>
              <a:xfrm>
                <a:off x="3146379" y="2800416"/>
                <a:ext cx="2605139" cy="295770"/>
                <a:chOff x="3146379" y="2800416"/>
                <a:chExt cx="2605139" cy="295770"/>
              </a:xfrm>
              <a:grpFill/>
            </p:grpSpPr>
            <p:sp>
              <p:nvSpPr>
                <p:cNvPr id="570" name="Freeform: Shape 569">
                  <a:extLst>
                    <a:ext uri="{FF2B5EF4-FFF2-40B4-BE49-F238E27FC236}">
                      <a16:creationId xmlns:a16="http://schemas.microsoft.com/office/drawing/2014/main" id="{858FD7A3-E05B-61C9-AFF0-2BD730858A75}"/>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1" name="Freeform: Shape 570">
                  <a:extLst>
                    <a:ext uri="{FF2B5EF4-FFF2-40B4-BE49-F238E27FC236}">
                      <a16:creationId xmlns:a16="http://schemas.microsoft.com/office/drawing/2014/main" id="{3278635C-90F1-B086-7D8A-667E63FFEE39}"/>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574" name="Graphic 2" descr="Diagram showing responsibility zones.">
              <a:extLst>
                <a:ext uri="{FF2B5EF4-FFF2-40B4-BE49-F238E27FC236}">
                  <a16:creationId xmlns:a16="http://schemas.microsoft.com/office/drawing/2014/main" id="{7EDA5EFC-4C8B-39A7-E0E3-77929ACD7389}"/>
                </a:ext>
              </a:extLst>
            </p:cNvPr>
            <p:cNvGrpSpPr/>
            <p:nvPr/>
          </p:nvGrpSpPr>
          <p:grpSpPr>
            <a:xfrm>
              <a:off x="4550261" y="4805659"/>
              <a:ext cx="2616103" cy="306725"/>
              <a:chOff x="3146379" y="2800416"/>
              <a:chExt cx="2616103" cy="306725"/>
            </a:xfrm>
            <a:solidFill>
              <a:srgbClr val="E8E6DF"/>
            </a:solidFill>
            <a:effectLst/>
          </p:grpSpPr>
          <p:grpSp>
            <p:nvGrpSpPr>
              <p:cNvPr id="575" name="Graphic 2" descr="Diagram showing responsibility zones.">
                <a:extLst>
                  <a:ext uri="{FF2B5EF4-FFF2-40B4-BE49-F238E27FC236}">
                    <a16:creationId xmlns:a16="http://schemas.microsoft.com/office/drawing/2014/main" id="{A5B93A32-988E-1993-69B5-39C2E9A1F9ED}"/>
                  </a:ext>
                </a:extLst>
              </p:cNvPr>
              <p:cNvGrpSpPr/>
              <p:nvPr/>
            </p:nvGrpSpPr>
            <p:grpSpPr>
              <a:xfrm>
                <a:off x="3157343" y="2811370"/>
                <a:ext cx="2605139" cy="295770"/>
                <a:chOff x="3157343" y="2811370"/>
                <a:chExt cx="2605139" cy="295770"/>
              </a:xfrm>
              <a:grpFill/>
            </p:grpSpPr>
            <p:sp>
              <p:nvSpPr>
                <p:cNvPr id="579" name="Freeform: Shape 578">
                  <a:extLst>
                    <a:ext uri="{FF2B5EF4-FFF2-40B4-BE49-F238E27FC236}">
                      <a16:creationId xmlns:a16="http://schemas.microsoft.com/office/drawing/2014/main" id="{35A85096-B4AB-BB87-E18A-65FB537110BD}"/>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0" name="Freeform: Shape 579">
                  <a:extLst>
                    <a:ext uri="{FF2B5EF4-FFF2-40B4-BE49-F238E27FC236}">
                      <a16:creationId xmlns:a16="http://schemas.microsoft.com/office/drawing/2014/main" id="{EE16BFFB-CB30-D567-D3F3-8C959B37567A}"/>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76" name="Graphic 2" descr="Diagram showing responsibility zones.">
                <a:extLst>
                  <a:ext uri="{FF2B5EF4-FFF2-40B4-BE49-F238E27FC236}">
                    <a16:creationId xmlns:a16="http://schemas.microsoft.com/office/drawing/2014/main" id="{F73D8F86-8F58-4E64-679B-E5B18E9CA98E}"/>
                  </a:ext>
                </a:extLst>
              </p:cNvPr>
              <p:cNvGrpSpPr/>
              <p:nvPr/>
            </p:nvGrpSpPr>
            <p:grpSpPr>
              <a:xfrm>
                <a:off x="3146379" y="2800416"/>
                <a:ext cx="2605139" cy="295770"/>
                <a:chOff x="3146379" y="2800416"/>
                <a:chExt cx="2605139" cy="295770"/>
              </a:xfrm>
              <a:grpFill/>
            </p:grpSpPr>
            <p:sp>
              <p:nvSpPr>
                <p:cNvPr id="577" name="Freeform: Shape 576">
                  <a:extLst>
                    <a:ext uri="{FF2B5EF4-FFF2-40B4-BE49-F238E27FC236}">
                      <a16:creationId xmlns:a16="http://schemas.microsoft.com/office/drawing/2014/main" id="{60A7CCF6-FEEF-DD6B-8055-5DC956E8D0F8}"/>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8" name="Freeform: Shape 577">
                  <a:extLst>
                    <a:ext uri="{FF2B5EF4-FFF2-40B4-BE49-F238E27FC236}">
                      <a16:creationId xmlns:a16="http://schemas.microsoft.com/office/drawing/2014/main" id="{095159DA-DB2A-8260-655E-95B94F8BF229}"/>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509" name="Rectangle: Rounded Corners 508">
              <a:extLst>
                <a:ext uri="{FF2B5EF4-FFF2-40B4-BE49-F238E27FC236}">
                  <a16:creationId xmlns:a16="http://schemas.microsoft.com/office/drawing/2014/main" id="{63F06086-2016-01A2-A0D8-0D51D1E57C3C}"/>
                </a:ext>
                <a:ext uri="{C183D7F6-B498-43B3-948B-1728B52AA6E4}">
                  <adec:decorative xmlns:adec="http://schemas.microsoft.com/office/drawing/2017/decorative" val="1"/>
                </a:ext>
              </a:extLst>
            </p:cNvPr>
            <p:cNvSpPr/>
            <p:nvPr/>
          </p:nvSpPr>
          <p:spPr>
            <a:xfrm>
              <a:off x="2406038" y="2804348"/>
              <a:ext cx="7188254" cy="1298448"/>
            </a:xfrm>
            <a:prstGeom prst="roundRect">
              <a:avLst/>
            </a:prstGeom>
            <a:solidFill>
              <a:schemeClr val="bg1">
                <a:lumMod val="95000"/>
              </a:schemeClr>
            </a:solidFill>
            <a:ln w="1095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532" name="Graphic 2" descr="Diagram showing responsibility zones.">
              <a:extLst>
                <a:ext uri="{FF2B5EF4-FFF2-40B4-BE49-F238E27FC236}">
                  <a16:creationId xmlns:a16="http://schemas.microsoft.com/office/drawing/2014/main" id="{3D33D667-8A26-2F32-F223-31788F4025F7}"/>
                </a:ext>
              </a:extLst>
            </p:cNvPr>
            <p:cNvGrpSpPr/>
            <p:nvPr/>
          </p:nvGrpSpPr>
          <p:grpSpPr>
            <a:xfrm>
              <a:off x="4550261" y="2804116"/>
              <a:ext cx="2616103" cy="306725"/>
              <a:chOff x="3146379" y="2800416"/>
              <a:chExt cx="2616103" cy="306725"/>
            </a:xfrm>
            <a:solidFill>
              <a:srgbClr val="E8E6DF"/>
            </a:solidFill>
            <a:effectLst/>
          </p:grpSpPr>
          <p:grpSp>
            <p:nvGrpSpPr>
              <p:cNvPr id="533" name="Graphic 2" descr="Diagram showing responsibility zones.">
                <a:extLst>
                  <a:ext uri="{FF2B5EF4-FFF2-40B4-BE49-F238E27FC236}">
                    <a16:creationId xmlns:a16="http://schemas.microsoft.com/office/drawing/2014/main" id="{06CBDC7D-7AA3-DBD1-B9F9-D145F7543700}"/>
                  </a:ext>
                </a:extLst>
              </p:cNvPr>
              <p:cNvGrpSpPr/>
              <p:nvPr/>
            </p:nvGrpSpPr>
            <p:grpSpPr>
              <a:xfrm>
                <a:off x="3157343" y="2811370"/>
                <a:ext cx="2605139" cy="295770"/>
                <a:chOff x="3157343" y="2811370"/>
                <a:chExt cx="2605139" cy="295770"/>
              </a:xfrm>
              <a:grpFill/>
            </p:grpSpPr>
            <p:sp>
              <p:nvSpPr>
                <p:cNvPr id="537" name="Freeform: Shape 536">
                  <a:extLst>
                    <a:ext uri="{FF2B5EF4-FFF2-40B4-BE49-F238E27FC236}">
                      <a16:creationId xmlns:a16="http://schemas.microsoft.com/office/drawing/2014/main" id="{12C0F4B6-7504-863D-008F-BDFF7899FB9B}"/>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8" name="Freeform: Shape 537">
                  <a:extLst>
                    <a:ext uri="{FF2B5EF4-FFF2-40B4-BE49-F238E27FC236}">
                      <a16:creationId xmlns:a16="http://schemas.microsoft.com/office/drawing/2014/main" id="{8FC22AE3-94C6-4F91-3744-678DAD25D54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34" name="Graphic 2" descr="Diagram showing responsibility zones.">
                <a:extLst>
                  <a:ext uri="{FF2B5EF4-FFF2-40B4-BE49-F238E27FC236}">
                    <a16:creationId xmlns:a16="http://schemas.microsoft.com/office/drawing/2014/main" id="{CE4C2DD3-BB8A-5094-2A0F-B6FCF04124AC}"/>
                  </a:ext>
                </a:extLst>
              </p:cNvPr>
              <p:cNvGrpSpPr/>
              <p:nvPr/>
            </p:nvGrpSpPr>
            <p:grpSpPr>
              <a:xfrm>
                <a:off x="3146379" y="2800416"/>
                <a:ext cx="2605139" cy="295770"/>
                <a:chOff x="3146379" y="2800416"/>
                <a:chExt cx="2605139" cy="295770"/>
              </a:xfrm>
              <a:grpFill/>
            </p:grpSpPr>
            <p:sp>
              <p:nvSpPr>
                <p:cNvPr id="535" name="Freeform: Shape 534">
                  <a:extLst>
                    <a:ext uri="{FF2B5EF4-FFF2-40B4-BE49-F238E27FC236}">
                      <a16:creationId xmlns:a16="http://schemas.microsoft.com/office/drawing/2014/main" id="{AC7CDC7D-E848-699F-0C6C-B2ECFFA33010}"/>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6" name="Freeform: Shape 535">
                  <a:extLst>
                    <a:ext uri="{FF2B5EF4-FFF2-40B4-BE49-F238E27FC236}">
                      <a16:creationId xmlns:a16="http://schemas.microsoft.com/office/drawing/2014/main" id="{3E6FA014-142D-17D5-02F2-B7BC5D8B7B40}"/>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539" name="Graphic 2" descr="Diagram showing responsibility zones.">
              <a:extLst>
                <a:ext uri="{FF2B5EF4-FFF2-40B4-BE49-F238E27FC236}">
                  <a16:creationId xmlns:a16="http://schemas.microsoft.com/office/drawing/2014/main" id="{FEE74C2E-140C-E29E-C38D-4B70012323C4}"/>
                </a:ext>
              </a:extLst>
            </p:cNvPr>
            <p:cNvGrpSpPr/>
            <p:nvPr/>
          </p:nvGrpSpPr>
          <p:grpSpPr>
            <a:xfrm>
              <a:off x="4550261" y="3130948"/>
              <a:ext cx="2616103" cy="306725"/>
              <a:chOff x="3146379" y="2800416"/>
              <a:chExt cx="2616103" cy="306725"/>
            </a:xfrm>
            <a:solidFill>
              <a:srgbClr val="E8E6DF"/>
            </a:solidFill>
            <a:effectLst/>
          </p:grpSpPr>
          <p:grpSp>
            <p:nvGrpSpPr>
              <p:cNvPr id="540" name="Graphic 2" descr="Diagram showing responsibility zones.">
                <a:extLst>
                  <a:ext uri="{FF2B5EF4-FFF2-40B4-BE49-F238E27FC236}">
                    <a16:creationId xmlns:a16="http://schemas.microsoft.com/office/drawing/2014/main" id="{595A4C68-F740-7A62-9849-7D728F002DC4}"/>
                  </a:ext>
                </a:extLst>
              </p:cNvPr>
              <p:cNvGrpSpPr/>
              <p:nvPr/>
            </p:nvGrpSpPr>
            <p:grpSpPr>
              <a:xfrm>
                <a:off x="3157343" y="2811370"/>
                <a:ext cx="2605139" cy="295770"/>
                <a:chOff x="3157343" y="2811370"/>
                <a:chExt cx="2605139" cy="295770"/>
              </a:xfrm>
              <a:grpFill/>
            </p:grpSpPr>
            <p:sp>
              <p:nvSpPr>
                <p:cNvPr id="544" name="Freeform: Shape 543">
                  <a:extLst>
                    <a:ext uri="{FF2B5EF4-FFF2-40B4-BE49-F238E27FC236}">
                      <a16:creationId xmlns:a16="http://schemas.microsoft.com/office/drawing/2014/main" id="{DCF60B01-B4AD-8E18-8C48-951D4EE5376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5" name="Freeform: Shape 544">
                  <a:extLst>
                    <a:ext uri="{FF2B5EF4-FFF2-40B4-BE49-F238E27FC236}">
                      <a16:creationId xmlns:a16="http://schemas.microsoft.com/office/drawing/2014/main" id="{73B05586-B28B-06DC-8215-A88AD9FADD2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41" name="Graphic 2" descr="Diagram showing responsibility zones.">
                <a:extLst>
                  <a:ext uri="{FF2B5EF4-FFF2-40B4-BE49-F238E27FC236}">
                    <a16:creationId xmlns:a16="http://schemas.microsoft.com/office/drawing/2014/main" id="{E47579E2-5607-568C-A4A9-58959C35EC64}"/>
                  </a:ext>
                </a:extLst>
              </p:cNvPr>
              <p:cNvGrpSpPr/>
              <p:nvPr/>
            </p:nvGrpSpPr>
            <p:grpSpPr>
              <a:xfrm>
                <a:off x="3146379" y="2800416"/>
                <a:ext cx="2605139" cy="295770"/>
                <a:chOff x="3146379" y="2800416"/>
                <a:chExt cx="2605139" cy="295770"/>
              </a:xfrm>
              <a:grpFill/>
            </p:grpSpPr>
            <p:sp>
              <p:nvSpPr>
                <p:cNvPr id="542" name="Freeform: Shape 541">
                  <a:extLst>
                    <a:ext uri="{FF2B5EF4-FFF2-40B4-BE49-F238E27FC236}">
                      <a16:creationId xmlns:a16="http://schemas.microsoft.com/office/drawing/2014/main" id="{C3AC3254-B92F-AD2C-157F-FCFBCE60FD04}"/>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3" name="Freeform: Shape 542">
                  <a:extLst>
                    <a:ext uri="{FF2B5EF4-FFF2-40B4-BE49-F238E27FC236}">
                      <a16:creationId xmlns:a16="http://schemas.microsoft.com/office/drawing/2014/main" id="{257D905B-3A63-F50F-2B33-36A4DF48FC71}"/>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546" name="Graphic 2" descr="Diagram showing responsibility zones.">
              <a:extLst>
                <a:ext uri="{FF2B5EF4-FFF2-40B4-BE49-F238E27FC236}">
                  <a16:creationId xmlns:a16="http://schemas.microsoft.com/office/drawing/2014/main" id="{8A638618-6E7B-C640-61BC-F71664FCBF03}"/>
                </a:ext>
              </a:extLst>
            </p:cNvPr>
            <p:cNvGrpSpPr/>
            <p:nvPr/>
          </p:nvGrpSpPr>
          <p:grpSpPr>
            <a:xfrm>
              <a:off x="4550261" y="3457780"/>
              <a:ext cx="2616103" cy="306725"/>
              <a:chOff x="3146379" y="2800416"/>
              <a:chExt cx="2616103" cy="306725"/>
            </a:xfrm>
            <a:solidFill>
              <a:srgbClr val="E8E6DF"/>
            </a:solidFill>
            <a:effectLst/>
          </p:grpSpPr>
          <p:grpSp>
            <p:nvGrpSpPr>
              <p:cNvPr id="547" name="Graphic 2" descr="Diagram showing responsibility zones.">
                <a:extLst>
                  <a:ext uri="{FF2B5EF4-FFF2-40B4-BE49-F238E27FC236}">
                    <a16:creationId xmlns:a16="http://schemas.microsoft.com/office/drawing/2014/main" id="{34D63045-C199-ADE3-9F39-40C3A1771D50}"/>
                  </a:ext>
                </a:extLst>
              </p:cNvPr>
              <p:cNvGrpSpPr/>
              <p:nvPr/>
            </p:nvGrpSpPr>
            <p:grpSpPr>
              <a:xfrm>
                <a:off x="3157343" y="2811370"/>
                <a:ext cx="2605139" cy="295770"/>
                <a:chOff x="3157343" y="2811370"/>
                <a:chExt cx="2605139" cy="295770"/>
              </a:xfrm>
              <a:grpFill/>
            </p:grpSpPr>
            <p:sp>
              <p:nvSpPr>
                <p:cNvPr id="551" name="Freeform: Shape 550">
                  <a:extLst>
                    <a:ext uri="{FF2B5EF4-FFF2-40B4-BE49-F238E27FC236}">
                      <a16:creationId xmlns:a16="http://schemas.microsoft.com/office/drawing/2014/main" id="{08B42894-E049-5164-5FAC-988005AA2918}"/>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2" name="Freeform: Shape 551">
                  <a:extLst>
                    <a:ext uri="{FF2B5EF4-FFF2-40B4-BE49-F238E27FC236}">
                      <a16:creationId xmlns:a16="http://schemas.microsoft.com/office/drawing/2014/main" id="{8805C418-C5E0-14D0-6426-5635EC95C03B}"/>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48" name="Graphic 2" descr="Diagram showing responsibility zones.">
                <a:extLst>
                  <a:ext uri="{FF2B5EF4-FFF2-40B4-BE49-F238E27FC236}">
                    <a16:creationId xmlns:a16="http://schemas.microsoft.com/office/drawing/2014/main" id="{61185502-C3F5-898C-9B84-DC3A4E4CC429}"/>
                  </a:ext>
                </a:extLst>
              </p:cNvPr>
              <p:cNvGrpSpPr/>
              <p:nvPr/>
            </p:nvGrpSpPr>
            <p:grpSpPr>
              <a:xfrm>
                <a:off x="3146379" y="2800416"/>
                <a:ext cx="2605139" cy="295770"/>
                <a:chOff x="3146379" y="2800416"/>
                <a:chExt cx="2605139" cy="295770"/>
              </a:xfrm>
              <a:grpFill/>
            </p:grpSpPr>
            <p:sp>
              <p:nvSpPr>
                <p:cNvPr id="549" name="Freeform: Shape 548">
                  <a:extLst>
                    <a:ext uri="{FF2B5EF4-FFF2-40B4-BE49-F238E27FC236}">
                      <a16:creationId xmlns:a16="http://schemas.microsoft.com/office/drawing/2014/main" id="{54DDFEB7-5B1E-E509-C593-8B214050AD8F}"/>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0" name="Freeform: Shape 549">
                  <a:extLst>
                    <a:ext uri="{FF2B5EF4-FFF2-40B4-BE49-F238E27FC236}">
                      <a16:creationId xmlns:a16="http://schemas.microsoft.com/office/drawing/2014/main" id="{BCC42604-5828-01E1-FE5D-BC2C61709B93}"/>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553" name="Graphic 2" descr="Diagram showing responsibility zones.">
              <a:extLst>
                <a:ext uri="{FF2B5EF4-FFF2-40B4-BE49-F238E27FC236}">
                  <a16:creationId xmlns:a16="http://schemas.microsoft.com/office/drawing/2014/main" id="{20F803CF-FAA0-E9C3-4A26-638899E720ED}"/>
                </a:ext>
              </a:extLst>
            </p:cNvPr>
            <p:cNvGrpSpPr/>
            <p:nvPr/>
          </p:nvGrpSpPr>
          <p:grpSpPr>
            <a:xfrm>
              <a:off x="4550261" y="3784611"/>
              <a:ext cx="2616103" cy="306725"/>
              <a:chOff x="3146379" y="2800416"/>
              <a:chExt cx="2616103" cy="306725"/>
            </a:xfrm>
            <a:solidFill>
              <a:srgbClr val="E8E6DF"/>
            </a:solidFill>
            <a:effectLst/>
          </p:grpSpPr>
          <p:grpSp>
            <p:nvGrpSpPr>
              <p:cNvPr id="554" name="Graphic 2" descr="Diagram showing responsibility zones.">
                <a:extLst>
                  <a:ext uri="{FF2B5EF4-FFF2-40B4-BE49-F238E27FC236}">
                    <a16:creationId xmlns:a16="http://schemas.microsoft.com/office/drawing/2014/main" id="{8236B95F-BF6F-FCB3-7AC5-BD2A6AE3C9F2}"/>
                  </a:ext>
                </a:extLst>
              </p:cNvPr>
              <p:cNvGrpSpPr/>
              <p:nvPr/>
            </p:nvGrpSpPr>
            <p:grpSpPr>
              <a:xfrm>
                <a:off x="3157343" y="2811370"/>
                <a:ext cx="2605139" cy="295770"/>
                <a:chOff x="3157343" y="2811370"/>
                <a:chExt cx="2605139" cy="295770"/>
              </a:xfrm>
              <a:grpFill/>
            </p:grpSpPr>
            <p:sp>
              <p:nvSpPr>
                <p:cNvPr id="558" name="Freeform: Shape 557">
                  <a:extLst>
                    <a:ext uri="{FF2B5EF4-FFF2-40B4-BE49-F238E27FC236}">
                      <a16:creationId xmlns:a16="http://schemas.microsoft.com/office/drawing/2014/main" id="{EE45D7DF-522D-3B93-0C20-2511C79B418F}"/>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9" name="Freeform: Shape 558">
                  <a:extLst>
                    <a:ext uri="{FF2B5EF4-FFF2-40B4-BE49-F238E27FC236}">
                      <a16:creationId xmlns:a16="http://schemas.microsoft.com/office/drawing/2014/main" id="{4FB6BC3F-93B1-5094-8973-3C711138156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55" name="Graphic 2" descr="Diagram showing responsibility zones.">
                <a:extLst>
                  <a:ext uri="{FF2B5EF4-FFF2-40B4-BE49-F238E27FC236}">
                    <a16:creationId xmlns:a16="http://schemas.microsoft.com/office/drawing/2014/main" id="{1BED3F9C-3420-2674-7F9C-E68C7B58B997}"/>
                  </a:ext>
                </a:extLst>
              </p:cNvPr>
              <p:cNvGrpSpPr/>
              <p:nvPr/>
            </p:nvGrpSpPr>
            <p:grpSpPr>
              <a:xfrm>
                <a:off x="3146379" y="2800416"/>
                <a:ext cx="2605139" cy="295770"/>
                <a:chOff x="3146379" y="2800416"/>
                <a:chExt cx="2605139" cy="295770"/>
              </a:xfrm>
              <a:grpFill/>
            </p:grpSpPr>
            <p:sp>
              <p:nvSpPr>
                <p:cNvPr id="556" name="Freeform: Shape 555">
                  <a:extLst>
                    <a:ext uri="{FF2B5EF4-FFF2-40B4-BE49-F238E27FC236}">
                      <a16:creationId xmlns:a16="http://schemas.microsoft.com/office/drawing/2014/main" id="{186E6111-32B4-6A91-0A9B-54C016B39B6E}"/>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7" name="Freeform: Shape 556">
                  <a:extLst>
                    <a:ext uri="{FF2B5EF4-FFF2-40B4-BE49-F238E27FC236}">
                      <a16:creationId xmlns:a16="http://schemas.microsoft.com/office/drawing/2014/main" id="{3D9116D8-6FD2-6CD8-2D2E-CAFB672644EC}"/>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503" name="Rectangle: Rounded Corners 502">
              <a:extLst>
                <a:ext uri="{FF2B5EF4-FFF2-40B4-BE49-F238E27FC236}">
                  <a16:creationId xmlns:a16="http://schemas.microsoft.com/office/drawing/2014/main" id="{635850B9-A5F3-F449-B25D-88F977E2D866}"/>
                </a:ext>
                <a:ext uri="{C183D7F6-B498-43B3-948B-1728B52AA6E4}">
                  <adec:decorative xmlns:adec="http://schemas.microsoft.com/office/drawing/2017/decorative" val="1"/>
                </a:ext>
              </a:extLst>
            </p:cNvPr>
            <p:cNvSpPr/>
            <p:nvPr/>
          </p:nvSpPr>
          <p:spPr>
            <a:xfrm>
              <a:off x="2406038" y="1781129"/>
              <a:ext cx="7188254" cy="932789"/>
            </a:xfrm>
            <a:prstGeom prst="roundRect">
              <a:avLst/>
            </a:prstGeom>
            <a:solidFill>
              <a:schemeClr val="bg1">
                <a:lumMod val="95000"/>
              </a:schemeClr>
            </a:solidFill>
            <a:ln w="10955"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518" name="Graphic 2" descr="Diagram showing responsibility zones.">
              <a:extLst>
                <a:ext uri="{FF2B5EF4-FFF2-40B4-BE49-F238E27FC236}">
                  <a16:creationId xmlns:a16="http://schemas.microsoft.com/office/drawing/2014/main" id="{63DE4E5B-2F46-04A4-EAB0-30B4C7E9D376}"/>
                </a:ext>
              </a:extLst>
            </p:cNvPr>
            <p:cNvGrpSpPr/>
            <p:nvPr/>
          </p:nvGrpSpPr>
          <p:grpSpPr>
            <a:xfrm>
              <a:off x="4550261" y="2094153"/>
              <a:ext cx="2616103" cy="306725"/>
              <a:chOff x="3146379" y="2800416"/>
              <a:chExt cx="2616103" cy="306725"/>
            </a:xfrm>
            <a:solidFill>
              <a:srgbClr val="E8E6DF"/>
            </a:solidFill>
            <a:effectLst/>
          </p:grpSpPr>
          <p:grpSp>
            <p:nvGrpSpPr>
              <p:cNvPr id="519" name="Graphic 2" descr="Diagram showing responsibility zones.">
                <a:extLst>
                  <a:ext uri="{FF2B5EF4-FFF2-40B4-BE49-F238E27FC236}">
                    <a16:creationId xmlns:a16="http://schemas.microsoft.com/office/drawing/2014/main" id="{A4E4FAEF-9E29-0D08-CF92-8DF3269C298D}"/>
                  </a:ext>
                </a:extLst>
              </p:cNvPr>
              <p:cNvGrpSpPr/>
              <p:nvPr/>
            </p:nvGrpSpPr>
            <p:grpSpPr>
              <a:xfrm>
                <a:off x="3157343" y="2811370"/>
                <a:ext cx="2605139" cy="295770"/>
                <a:chOff x="3157343" y="2811370"/>
                <a:chExt cx="2605139" cy="295770"/>
              </a:xfrm>
              <a:grpFill/>
            </p:grpSpPr>
            <p:sp>
              <p:nvSpPr>
                <p:cNvPr id="523" name="Freeform: Shape 522">
                  <a:extLst>
                    <a:ext uri="{FF2B5EF4-FFF2-40B4-BE49-F238E27FC236}">
                      <a16:creationId xmlns:a16="http://schemas.microsoft.com/office/drawing/2014/main" id="{C71D105A-E785-7A7F-D005-8651DD409CC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4" name="Freeform: Shape 523">
                  <a:extLst>
                    <a:ext uri="{FF2B5EF4-FFF2-40B4-BE49-F238E27FC236}">
                      <a16:creationId xmlns:a16="http://schemas.microsoft.com/office/drawing/2014/main" id="{48DAC992-9377-BE5E-7D7A-EB7B7E17797C}"/>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20" name="Graphic 2" descr="Diagram showing responsibility zones.">
                <a:extLst>
                  <a:ext uri="{FF2B5EF4-FFF2-40B4-BE49-F238E27FC236}">
                    <a16:creationId xmlns:a16="http://schemas.microsoft.com/office/drawing/2014/main" id="{457CF70C-2CFD-4A78-DA88-05D6A10D8ABE}"/>
                  </a:ext>
                </a:extLst>
              </p:cNvPr>
              <p:cNvGrpSpPr/>
              <p:nvPr/>
            </p:nvGrpSpPr>
            <p:grpSpPr>
              <a:xfrm>
                <a:off x="3146379" y="2800416"/>
                <a:ext cx="2605139" cy="295770"/>
                <a:chOff x="3146379" y="2800416"/>
                <a:chExt cx="2605139" cy="295770"/>
              </a:xfrm>
              <a:grpFill/>
            </p:grpSpPr>
            <p:sp>
              <p:nvSpPr>
                <p:cNvPr id="521" name="Freeform: Shape 520">
                  <a:extLst>
                    <a:ext uri="{FF2B5EF4-FFF2-40B4-BE49-F238E27FC236}">
                      <a16:creationId xmlns:a16="http://schemas.microsoft.com/office/drawing/2014/main" id="{2ECCB958-B164-4DC1-B19C-BA51C36F5B39}"/>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2" name="Freeform: Shape 521">
                  <a:extLst>
                    <a:ext uri="{FF2B5EF4-FFF2-40B4-BE49-F238E27FC236}">
                      <a16:creationId xmlns:a16="http://schemas.microsoft.com/office/drawing/2014/main" id="{FCD20890-73A3-0F46-770D-AAF1677CA6BF}"/>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525" name="Graphic 2" descr="Diagram showing responsibility zones.">
              <a:extLst>
                <a:ext uri="{FF2B5EF4-FFF2-40B4-BE49-F238E27FC236}">
                  <a16:creationId xmlns:a16="http://schemas.microsoft.com/office/drawing/2014/main" id="{255D3E19-7AC4-FFD2-828B-A3D4424E5FA3}"/>
                </a:ext>
              </a:extLst>
            </p:cNvPr>
            <p:cNvGrpSpPr/>
            <p:nvPr/>
          </p:nvGrpSpPr>
          <p:grpSpPr>
            <a:xfrm>
              <a:off x="4550261" y="1775558"/>
              <a:ext cx="2616103" cy="306725"/>
              <a:chOff x="3146379" y="2800416"/>
              <a:chExt cx="2616103" cy="306725"/>
            </a:xfrm>
            <a:solidFill>
              <a:srgbClr val="E8E6DF"/>
            </a:solidFill>
            <a:effectLst/>
          </p:grpSpPr>
          <p:grpSp>
            <p:nvGrpSpPr>
              <p:cNvPr id="526" name="Graphic 2" descr="Diagram showing responsibility zones.">
                <a:extLst>
                  <a:ext uri="{FF2B5EF4-FFF2-40B4-BE49-F238E27FC236}">
                    <a16:creationId xmlns:a16="http://schemas.microsoft.com/office/drawing/2014/main" id="{077736AD-EAEF-A363-9CB3-0F8365AC7B22}"/>
                  </a:ext>
                </a:extLst>
              </p:cNvPr>
              <p:cNvGrpSpPr/>
              <p:nvPr/>
            </p:nvGrpSpPr>
            <p:grpSpPr>
              <a:xfrm>
                <a:off x="3157343" y="2811370"/>
                <a:ext cx="2605139" cy="295770"/>
                <a:chOff x="3157343" y="2811370"/>
                <a:chExt cx="2605139" cy="295770"/>
              </a:xfrm>
              <a:grpFill/>
            </p:grpSpPr>
            <p:sp>
              <p:nvSpPr>
                <p:cNvPr id="530" name="Freeform: Shape 529">
                  <a:extLst>
                    <a:ext uri="{FF2B5EF4-FFF2-40B4-BE49-F238E27FC236}">
                      <a16:creationId xmlns:a16="http://schemas.microsoft.com/office/drawing/2014/main" id="{432B9582-3A7E-8F20-7DE0-102385A734A1}"/>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1" name="Freeform: Shape 530">
                  <a:extLst>
                    <a:ext uri="{FF2B5EF4-FFF2-40B4-BE49-F238E27FC236}">
                      <a16:creationId xmlns:a16="http://schemas.microsoft.com/office/drawing/2014/main" id="{9289E6CE-A8BF-5A8B-5539-60446C3663A0}"/>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27" name="Graphic 2" descr="Diagram showing responsibility zones.">
                <a:extLst>
                  <a:ext uri="{FF2B5EF4-FFF2-40B4-BE49-F238E27FC236}">
                    <a16:creationId xmlns:a16="http://schemas.microsoft.com/office/drawing/2014/main" id="{069FDB37-B283-95AB-F8A2-E3B0123C73B8}"/>
                  </a:ext>
                </a:extLst>
              </p:cNvPr>
              <p:cNvGrpSpPr/>
              <p:nvPr/>
            </p:nvGrpSpPr>
            <p:grpSpPr>
              <a:xfrm>
                <a:off x="3146379" y="2800416"/>
                <a:ext cx="2605139" cy="295770"/>
                <a:chOff x="3146379" y="2800416"/>
                <a:chExt cx="2605139" cy="295770"/>
              </a:xfrm>
              <a:grpFill/>
            </p:grpSpPr>
            <p:sp>
              <p:nvSpPr>
                <p:cNvPr id="528" name="Freeform: Shape 527">
                  <a:extLst>
                    <a:ext uri="{FF2B5EF4-FFF2-40B4-BE49-F238E27FC236}">
                      <a16:creationId xmlns:a16="http://schemas.microsoft.com/office/drawing/2014/main" id="{BD1E2E9A-5C2E-D4A0-8F7E-D3F2E31C60FA}"/>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9" name="Freeform: Shape 528">
                  <a:extLst>
                    <a:ext uri="{FF2B5EF4-FFF2-40B4-BE49-F238E27FC236}">
                      <a16:creationId xmlns:a16="http://schemas.microsoft.com/office/drawing/2014/main" id="{0F273C07-702D-CB63-D468-645276BD7162}"/>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511" name="Graphic 2" descr="Diagram showing responsibility zones.">
              <a:extLst>
                <a:ext uri="{FF2B5EF4-FFF2-40B4-BE49-F238E27FC236}">
                  <a16:creationId xmlns:a16="http://schemas.microsoft.com/office/drawing/2014/main" id="{8DD314C4-53FF-93CF-23CE-59B66DC28FB0}"/>
                </a:ext>
              </a:extLst>
            </p:cNvPr>
            <p:cNvGrpSpPr/>
            <p:nvPr/>
          </p:nvGrpSpPr>
          <p:grpSpPr>
            <a:xfrm>
              <a:off x="4550261" y="2416308"/>
              <a:ext cx="2616103" cy="306725"/>
              <a:chOff x="3146379" y="2800416"/>
              <a:chExt cx="2616103" cy="306725"/>
            </a:xfrm>
            <a:solidFill>
              <a:srgbClr val="E8E6DF"/>
            </a:solidFill>
            <a:effectLst/>
          </p:grpSpPr>
          <p:grpSp>
            <p:nvGrpSpPr>
              <p:cNvPr id="512" name="Graphic 2" descr="Diagram showing responsibility zones.">
                <a:extLst>
                  <a:ext uri="{FF2B5EF4-FFF2-40B4-BE49-F238E27FC236}">
                    <a16:creationId xmlns:a16="http://schemas.microsoft.com/office/drawing/2014/main" id="{C68952CD-DD56-5519-E243-A77B8A06EC0B}"/>
                  </a:ext>
                </a:extLst>
              </p:cNvPr>
              <p:cNvGrpSpPr/>
              <p:nvPr/>
            </p:nvGrpSpPr>
            <p:grpSpPr>
              <a:xfrm>
                <a:off x="3157343" y="2811370"/>
                <a:ext cx="2605139" cy="295770"/>
                <a:chOff x="3157343" y="2811370"/>
                <a:chExt cx="2605139" cy="295770"/>
              </a:xfrm>
              <a:grpFill/>
            </p:grpSpPr>
            <p:sp>
              <p:nvSpPr>
                <p:cNvPr id="516" name="Freeform: Shape 515">
                  <a:extLst>
                    <a:ext uri="{FF2B5EF4-FFF2-40B4-BE49-F238E27FC236}">
                      <a16:creationId xmlns:a16="http://schemas.microsoft.com/office/drawing/2014/main" id="{5170B870-42D4-134E-A71F-F61707D35108}"/>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7" name="Freeform: Shape 516">
                  <a:extLst>
                    <a:ext uri="{FF2B5EF4-FFF2-40B4-BE49-F238E27FC236}">
                      <a16:creationId xmlns:a16="http://schemas.microsoft.com/office/drawing/2014/main" id="{4A6092FC-4EEB-CC7E-89D0-263A49719477}"/>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13" name="Graphic 2" descr="Diagram showing responsibility zones.">
                <a:extLst>
                  <a:ext uri="{FF2B5EF4-FFF2-40B4-BE49-F238E27FC236}">
                    <a16:creationId xmlns:a16="http://schemas.microsoft.com/office/drawing/2014/main" id="{35DFAE78-6B0F-4942-98F6-0CCC2B7E160C}"/>
                  </a:ext>
                </a:extLst>
              </p:cNvPr>
              <p:cNvGrpSpPr/>
              <p:nvPr/>
            </p:nvGrpSpPr>
            <p:grpSpPr>
              <a:xfrm>
                <a:off x="3146379" y="2800416"/>
                <a:ext cx="2605139" cy="295770"/>
                <a:chOff x="3146379" y="2800416"/>
                <a:chExt cx="2605139" cy="295770"/>
              </a:xfrm>
              <a:grpFill/>
            </p:grpSpPr>
            <p:sp>
              <p:nvSpPr>
                <p:cNvPr id="514" name="Freeform: Shape 513">
                  <a:extLst>
                    <a:ext uri="{FF2B5EF4-FFF2-40B4-BE49-F238E27FC236}">
                      <a16:creationId xmlns:a16="http://schemas.microsoft.com/office/drawing/2014/main" id="{1B5772BC-A58E-3DA5-A954-8A9BBACE68F7}"/>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5" name="Freeform: Shape 514">
                  <a:extLst>
                    <a:ext uri="{FF2B5EF4-FFF2-40B4-BE49-F238E27FC236}">
                      <a16:creationId xmlns:a16="http://schemas.microsoft.com/office/drawing/2014/main" id="{334CCEC0-B952-D57B-17F9-82DDE91E3910}"/>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505" name="Freeform: Shape 504">
              <a:extLst>
                <a:ext uri="{FF2B5EF4-FFF2-40B4-BE49-F238E27FC236}">
                  <a16:creationId xmlns:a16="http://schemas.microsoft.com/office/drawing/2014/main" id="{7383F013-0895-9BB5-065B-4C3102EBCDE6}"/>
                </a:ext>
              </a:extLst>
            </p:cNvPr>
            <p:cNvSpPr/>
            <p:nvPr/>
          </p:nvSpPr>
          <p:spPr>
            <a:xfrm>
              <a:off x="2346028" y="1935328"/>
              <a:ext cx="7188254" cy="674795"/>
            </a:xfrm>
            <a:custGeom>
              <a:avLst/>
              <a:gdLst>
                <a:gd name="connsiteX0" fmla="*/ 0 w 7188254"/>
                <a:gd name="connsiteY0" fmla="*/ 0 h 674795"/>
                <a:gd name="connsiteX1" fmla="*/ 7188254 w 7188254"/>
                <a:gd name="connsiteY1" fmla="*/ 0 h 674795"/>
                <a:gd name="connsiteX2" fmla="*/ 7188254 w 7188254"/>
                <a:gd name="connsiteY2" fmla="*/ 674795 h 674795"/>
                <a:gd name="connsiteX3" fmla="*/ 0 w 7188254"/>
                <a:gd name="connsiteY3" fmla="*/ 674795 h 674795"/>
              </a:gdLst>
              <a:ahLst/>
              <a:cxnLst>
                <a:cxn ang="0">
                  <a:pos x="connsiteX0" y="connsiteY0"/>
                </a:cxn>
                <a:cxn ang="0">
                  <a:pos x="connsiteX1" y="connsiteY1"/>
                </a:cxn>
                <a:cxn ang="0">
                  <a:pos x="connsiteX2" y="connsiteY2"/>
                </a:cxn>
                <a:cxn ang="0">
                  <a:pos x="connsiteX3" y="connsiteY3"/>
                </a:cxn>
              </a:cxnLst>
              <a:rect l="l" t="t" r="r" b="b"/>
              <a:pathLst>
                <a:path w="7188254" h="674795">
                  <a:moveTo>
                    <a:pt x="0" y="0"/>
                  </a:moveTo>
                  <a:lnTo>
                    <a:pt x="7188254" y="0"/>
                  </a:lnTo>
                  <a:lnTo>
                    <a:pt x="7188254" y="674795"/>
                  </a:lnTo>
                  <a:lnTo>
                    <a:pt x="0" y="674795"/>
                  </a:lnTo>
                  <a:close/>
                </a:path>
              </a:pathLst>
            </a:custGeom>
            <a:no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5" name="Freeform: Shape 374">
              <a:extLst>
                <a:ext uri="{FF2B5EF4-FFF2-40B4-BE49-F238E27FC236}">
                  <a16:creationId xmlns:a16="http://schemas.microsoft.com/office/drawing/2014/main" id="{AB2C7137-C3AC-A182-0149-C612DB406882}"/>
                </a:ext>
              </a:extLst>
            </p:cNvPr>
            <p:cNvSpPr/>
            <p:nvPr/>
          </p:nvSpPr>
          <p:spPr>
            <a:xfrm>
              <a:off x="7304125" y="1779775"/>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6" name="Freeform: Shape 375">
              <a:extLst>
                <a:ext uri="{FF2B5EF4-FFF2-40B4-BE49-F238E27FC236}">
                  <a16:creationId xmlns:a16="http://schemas.microsoft.com/office/drawing/2014/main" id="{4DD8E7CC-55A8-8EE6-9266-5090D6A148D1}"/>
                </a:ext>
              </a:extLst>
            </p:cNvPr>
            <p:cNvSpPr/>
            <p:nvPr/>
          </p:nvSpPr>
          <p:spPr>
            <a:xfrm>
              <a:off x="7304125" y="2111082"/>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7" name="Freeform: Shape 376">
              <a:extLst>
                <a:ext uri="{FF2B5EF4-FFF2-40B4-BE49-F238E27FC236}">
                  <a16:creationId xmlns:a16="http://schemas.microsoft.com/office/drawing/2014/main" id="{F1675438-3907-ED8D-860C-688F0FB7E362}"/>
                </a:ext>
              </a:extLst>
            </p:cNvPr>
            <p:cNvSpPr/>
            <p:nvPr/>
          </p:nvSpPr>
          <p:spPr>
            <a:xfrm>
              <a:off x="7304125" y="2442400"/>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8" name="Freeform: Shape 377">
              <a:extLst>
                <a:ext uri="{FF2B5EF4-FFF2-40B4-BE49-F238E27FC236}">
                  <a16:creationId xmlns:a16="http://schemas.microsoft.com/office/drawing/2014/main" id="{CE89EDFF-DF2A-B9F2-F97B-807FE009AFD4}"/>
                </a:ext>
              </a:extLst>
            </p:cNvPr>
            <p:cNvSpPr/>
            <p:nvPr/>
          </p:nvSpPr>
          <p:spPr>
            <a:xfrm>
              <a:off x="7880852" y="1779775"/>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9" name="Freeform: Shape 378">
              <a:extLst>
                <a:ext uri="{FF2B5EF4-FFF2-40B4-BE49-F238E27FC236}">
                  <a16:creationId xmlns:a16="http://schemas.microsoft.com/office/drawing/2014/main" id="{D3BEA3E3-EDC2-FDEC-A803-3A30579C3371}"/>
                </a:ext>
              </a:extLst>
            </p:cNvPr>
            <p:cNvSpPr/>
            <p:nvPr/>
          </p:nvSpPr>
          <p:spPr>
            <a:xfrm>
              <a:off x="7880852" y="2111082"/>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0" name="Freeform: Shape 379">
              <a:extLst>
                <a:ext uri="{FF2B5EF4-FFF2-40B4-BE49-F238E27FC236}">
                  <a16:creationId xmlns:a16="http://schemas.microsoft.com/office/drawing/2014/main" id="{0132B0C3-F92C-F728-0EFA-2E1A09F8EE4B}"/>
                </a:ext>
              </a:extLst>
            </p:cNvPr>
            <p:cNvSpPr/>
            <p:nvPr/>
          </p:nvSpPr>
          <p:spPr>
            <a:xfrm>
              <a:off x="7880852" y="2442400"/>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1" name="Freeform: Shape 380">
              <a:extLst>
                <a:ext uri="{FF2B5EF4-FFF2-40B4-BE49-F238E27FC236}">
                  <a16:creationId xmlns:a16="http://schemas.microsoft.com/office/drawing/2014/main" id="{18DB68C7-3ADF-25F1-9A45-273FCB362970}"/>
                </a:ext>
              </a:extLst>
            </p:cNvPr>
            <p:cNvSpPr/>
            <p:nvPr/>
          </p:nvSpPr>
          <p:spPr>
            <a:xfrm>
              <a:off x="8457579" y="1779775"/>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2" name="Freeform: Shape 381">
              <a:extLst>
                <a:ext uri="{FF2B5EF4-FFF2-40B4-BE49-F238E27FC236}">
                  <a16:creationId xmlns:a16="http://schemas.microsoft.com/office/drawing/2014/main" id="{80BFF0DC-2208-9A36-0DC6-A4A7EC9DAB28}"/>
                </a:ext>
              </a:extLst>
            </p:cNvPr>
            <p:cNvSpPr/>
            <p:nvPr/>
          </p:nvSpPr>
          <p:spPr>
            <a:xfrm>
              <a:off x="8457579" y="2111082"/>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3" name="Freeform: Shape 382">
              <a:extLst>
                <a:ext uri="{FF2B5EF4-FFF2-40B4-BE49-F238E27FC236}">
                  <a16:creationId xmlns:a16="http://schemas.microsoft.com/office/drawing/2014/main" id="{2BFB8B23-19DF-5D16-00CC-438CFEA62ADE}"/>
                </a:ext>
              </a:extLst>
            </p:cNvPr>
            <p:cNvSpPr/>
            <p:nvPr/>
          </p:nvSpPr>
          <p:spPr>
            <a:xfrm>
              <a:off x="8457579" y="2442400"/>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4" name="Freeform: Shape 383">
              <a:extLst>
                <a:ext uri="{FF2B5EF4-FFF2-40B4-BE49-F238E27FC236}">
                  <a16:creationId xmlns:a16="http://schemas.microsoft.com/office/drawing/2014/main" id="{E4CC46B2-E6AD-4419-7FE5-56E849EC5CF8}"/>
                </a:ext>
              </a:extLst>
            </p:cNvPr>
            <p:cNvSpPr/>
            <p:nvPr/>
          </p:nvSpPr>
          <p:spPr>
            <a:xfrm>
              <a:off x="8457579" y="2773707"/>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5" name="Freeform: Shape 384">
              <a:extLst>
                <a:ext uri="{FF2B5EF4-FFF2-40B4-BE49-F238E27FC236}">
                  <a16:creationId xmlns:a16="http://schemas.microsoft.com/office/drawing/2014/main" id="{77E2092B-8DAF-7917-E8B4-254DDAC5AD83}"/>
                </a:ext>
              </a:extLst>
            </p:cNvPr>
            <p:cNvSpPr/>
            <p:nvPr/>
          </p:nvSpPr>
          <p:spPr>
            <a:xfrm>
              <a:off x="8457579" y="3105024"/>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6" name="Freeform: Shape 385">
              <a:extLst>
                <a:ext uri="{FF2B5EF4-FFF2-40B4-BE49-F238E27FC236}">
                  <a16:creationId xmlns:a16="http://schemas.microsoft.com/office/drawing/2014/main" id="{048E4EDC-153D-33D9-F948-64D173C0A7D2}"/>
                </a:ext>
              </a:extLst>
            </p:cNvPr>
            <p:cNvSpPr/>
            <p:nvPr/>
          </p:nvSpPr>
          <p:spPr>
            <a:xfrm>
              <a:off x="8457579" y="343633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7" name="Freeform: Shape 386">
              <a:extLst>
                <a:ext uri="{FF2B5EF4-FFF2-40B4-BE49-F238E27FC236}">
                  <a16:creationId xmlns:a16="http://schemas.microsoft.com/office/drawing/2014/main" id="{B0A0259E-FD42-F5F1-4982-D00970D95C99}"/>
                </a:ext>
              </a:extLst>
            </p:cNvPr>
            <p:cNvSpPr/>
            <p:nvPr/>
          </p:nvSpPr>
          <p:spPr>
            <a:xfrm>
              <a:off x="8457579" y="3767639"/>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8" name="Freeform: Shape 387">
              <a:extLst>
                <a:ext uri="{FF2B5EF4-FFF2-40B4-BE49-F238E27FC236}">
                  <a16:creationId xmlns:a16="http://schemas.microsoft.com/office/drawing/2014/main" id="{3AFD433C-62D3-45F2-550C-2976F9819B99}"/>
                </a:ext>
              </a:extLst>
            </p:cNvPr>
            <p:cNvSpPr/>
            <p:nvPr/>
          </p:nvSpPr>
          <p:spPr>
            <a:xfrm>
              <a:off x="9034306" y="1779775"/>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9" name="Freeform: Shape 388">
              <a:extLst>
                <a:ext uri="{FF2B5EF4-FFF2-40B4-BE49-F238E27FC236}">
                  <a16:creationId xmlns:a16="http://schemas.microsoft.com/office/drawing/2014/main" id="{1B70C4B8-76EF-DD3F-7742-B1A4995C6FAB}"/>
                </a:ext>
              </a:extLst>
            </p:cNvPr>
            <p:cNvSpPr/>
            <p:nvPr/>
          </p:nvSpPr>
          <p:spPr>
            <a:xfrm>
              <a:off x="9034306" y="2111082"/>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0" name="Freeform: Shape 389">
              <a:extLst>
                <a:ext uri="{FF2B5EF4-FFF2-40B4-BE49-F238E27FC236}">
                  <a16:creationId xmlns:a16="http://schemas.microsoft.com/office/drawing/2014/main" id="{2052733B-F545-EAD9-D869-39AA9E4E2144}"/>
                </a:ext>
              </a:extLst>
            </p:cNvPr>
            <p:cNvSpPr/>
            <p:nvPr/>
          </p:nvSpPr>
          <p:spPr>
            <a:xfrm>
              <a:off x="9034306" y="2442400"/>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1" name="Freeform: Shape 390">
              <a:extLst>
                <a:ext uri="{FF2B5EF4-FFF2-40B4-BE49-F238E27FC236}">
                  <a16:creationId xmlns:a16="http://schemas.microsoft.com/office/drawing/2014/main" id="{BBC30DB4-4440-18A2-A4A3-0918008C4516}"/>
                </a:ext>
              </a:extLst>
            </p:cNvPr>
            <p:cNvSpPr/>
            <p:nvPr/>
          </p:nvSpPr>
          <p:spPr>
            <a:xfrm>
              <a:off x="9034306" y="2773707"/>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2" name="Freeform: Shape 391">
              <a:extLst>
                <a:ext uri="{FF2B5EF4-FFF2-40B4-BE49-F238E27FC236}">
                  <a16:creationId xmlns:a16="http://schemas.microsoft.com/office/drawing/2014/main" id="{91CEA00B-82B0-205E-D15A-F6A93C6BBB6B}"/>
                </a:ext>
              </a:extLst>
            </p:cNvPr>
            <p:cNvSpPr/>
            <p:nvPr/>
          </p:nvSpPr>
          <p:spPr>
            <a:xfrm>
              <a:off x="9034306" y="3105024"/>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3" name="Freeform: Shape 392">
              <a:extLst>
                <a:ext uri="{FF2B5EF4-FFF2-40B4-BE49-F238E27FC236}">
                  <a16:creationId xmlns:a16="http://schemas.microsoft.com/office/drawing/2014/main" id="{AADFD6C0-F447-0E5D-1EA3-21C322775119}"/>
                </a:ext>
              </a:extLst>
            </p:cNvPr>
            <p:cNvSpPr/>
            <p:nvPr/>
          </p:nvSpPr>
          <p:spPr>
            <a:xfrm>
              <a:off x="9034306" y="3436331"/>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4" name="Freeform: Shape 393">
              <a:extLst>
                <a:ext uri="{FF2B5EF4-FFF2-40B4-BE49-F238E27FC236}">
                  <a16:creationId xmlns:a16="http://schemas.microsoft.com/office/drawing/2014/main" id="{9A7B6419-3E8B-AF02-2197-A9399B806E6C}"/>
                </a:ext>
              </a:extLst>
            </p:cNvPr>
            <p:cNvSpPr/>
            <p:nvPr/>
          </p:nvSpPr>
          <p:spPr>
            <a:xfrm>
              <a:off x="9034306" y="3767639"/>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5" name="Freeform: Shape 394">
              <a:extLst>
                <a:ext uri="{FF2B5EF4-FFF2-40B4-BE49-F238E27FC236}">
                  <a16:creationId xmlns:a16="http://schemas.microsoft.com/office/drawing/2014/main" id="{1E3C3103-AC84-B513-C74A-9D9AE5B367C3}"/>
                </a:ext>
              </a:extLst>
            </p:cNvPr>
            <p:cNvSpPr/>
            <p:nvPr/>
          </p:nvSpPr>
          <p:spPr>
            <a:xfrm>
              <a:off x="9034306" y="4098956"/>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6" name="Freeform: Shape 395">
              <a:extLst>
                <a:ext uri="{FF2B5EF4-FFF2-40B4-BE49-F238E27FC236}">
                  <a16:creationId xmlns:a16="http://schemas.microsoft.com/office/drawing/2014/main" id="{AE73DF62-34D2-D016-A72B-E2E3E074083D}"/>
                </a:ext>
              </a:extLst>
            </p:cNvPr>
            <p:cNvSpPr/>
            <p:nvPr/>
          </p:nvSpPr>
          <p:spPr>
            <a:xfrm>
              <a:off x="9034306" y="4430263"/>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7" name="Freeform: Shape 396">
              <a:extLst>
                <a:ext uri="{FF2B5EF4-FFF2-40B4-BE49-F238E27FC236}">
                  <a16:creationId xmlns:a16="http://schemas.microsoft.com/office/drawing/2014/main" id="{662D50D8-CFDE-6F05-E90A-9C284DB78CF0}"/>
                </a:ext>
              </a:extLst>
            </p:cNvPr>
            <p:cNvSpPr/>
            <p:nvPr/>
          </p:nvSpPr>
          <p:spPr>
            <a:xfrm>
              <a:off x="9034306" y="4761581"/>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8" name="Freeform: Shape 397">
              <a:extLst>
                <a:ext uri="{FF2B5EF4-FFF2-40B4-BE49-F238E27FC236}">
                  <a16:creationId xmlns:a16="http://schemas.microsoft.com/office/drawing/2014/main" id="{E6B98F2F-8D24-5099-A1EB-D80AA813B82D}"/>
                </a:ext>
              </a:extLst>
            </p:cNvPr>
            <p:cNvSpPr/>
            <p:nvPr/>
          </p:nvSpPr>
          <p:spPr>
            <a:xfrm>
              <a:off x="7304125" y="3105024"/>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9" name="Freeform: Shape 398">
              <a:extLst>
                <a:ext uri="{FF2B5EF4-FFF2-40B4-BE49-F238E27FC236}">
                  <a16:creationId xmlns:a16="http://schemas.microsoft.com/office/drawing/2014/main" id="{EF3206DB-4C7D-B618-BD85-6980916C17E1}"/>
                </a:ext>
              </a:extLst>
            </p:cNvPr>
            <p:cNvSpPr/>
            <p:nvPr/>
          </p:nvSpPr>
          <p:spPr>
            <a:xfrm>
              <a:off x="7304125" y="343633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0" name="Freeform: Shape 399">
              <a:extLst>
                <a:ext uri="{FF2B5EF4-FFF2-40B4-BE49-F238E27FC236}">
                  <a16:creationId xmlns:a16="http://schemas.microsoft.com/office/drawing/2014/main" id="{35879B7E-BDE1-E6B4-6593-58FB8802E4C4}"/>
                </a:ext>
              </a:extLst>
            </p:cNvPr>
            <p:cNvSpPr/>
            <p:nvPr/>
          </p:nvSpPr>
          <p:spPr>
            <a:xfrm>
              <a:off x="7304125" y="3767639"/>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1" name="Freeform: Shape 400">
              <a:extLst>
                <a:ext uri="{FF2B5EF4-FFF2-40B4-BE49-F238E27FC236}">
                  <a16:creationId xmlns:a16="http://schemas.microsoft.com/office/drawing/2014/main" id="{DA949540-6E00-A274-B4AD-31356086F98C}"/>
                </a:ext>
              </a:extLst>
            </p:cNvPr>
            <p:cNvSpPr/>
            <p:nvPr/>
          </p:nvSpPr>
          <p:spPr>
            <a:xfrm>
              <a:off x="7304125" y="4098956"/>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2" name="Freeform: Shape 401">
              <a:extLst>
                <a:ext uri="{FF2B5EF4-FFF2-40B4-BE49-F238E27FC236}">
                  <a16:creationId xmlns:a16="http://schemas.microsoft.com/office/drawing/2014/main" id="{FB76D38C-141D-245D-558C-9E5BB4AA4E25}"/>
                </a:ext>
              </a:extLst>
            </p:cNvPr>
            <p:cNvSpPr/>
            <p:nvPr/>
          </p:nvSpPr>
          <p:spPr>
            <a:xfrm>
              <a:off x="7304125" y="4430263"/>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3" name="Freeform: Shape 402">
              <a:extLst>
                <a:ext uri="{FF2B5EF4-FFF2-40B4-BE49-F238E27FC236}">
                  <a16:creationId xmlns:a16="http://schemas.microsoft.com/office/drawing/2014/main" id="{9377F600-D3F7-E2D2-2027-2EB367C0CA2C}"/>
                </a:ext>
              </a:extLst>
            </p:cNvPr>
            <p:cNvSpPr/>
            <p:nvPr/>
          </p:nvSpPr>
          <p:spPr>
            <a:xfrm>
              <a:off x="7304125" y="476158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4" name="Freeform: Shape 403">
              <a:extLst>
                <a:ext uri="{FF2B5EF4-FFF2-40B4-BE49-F238E27FC236}">
                  <a16:creationId xmlns:a16="http://schemas.microsoft.com/office/drawing/2014/main" id="{D1409797-F8EF-0607-AF98-911E1A637D68}"/>
                </a:ext>
              </a:extLst>
            </p:cNvPr>
            <p:cNvSpPr/>
            <p:nvPr/>
          </p:nvSpPr>
          <p:spPr>
            <a:xfrm>
              <a:off x="8457579" y="4098956"/>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5" name="Freeform: Shape 404">
              <a:extLst>
                <a:ext uri="{FF2B5EF4-FFF2-40B4-BE49-F238E27FC236}">
                  <a16:creationId xmlns:a16="http://schemas.microsoft.com/office/drawing/2014/main" id="{CBF203DD-12EE-76D5-0FB9-83EF7998F01C}"/>
                </a:ext>
              </a:extLst>
            </p:cNvPr>
            <p:cNvSpPr/>
            <p:nvPr/>
          </p:nvSpPr>
          <p:spPr>
            <a:xfrm>
              <a:off x="8457579" y="4430263"/>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6" name="Freeform: Shape 405">
              <a:extLst>
                <a:ext uri="{FF2B5EF4-FFF2-40B4-BE49-F238E27FC236}">
                  <a16:creationId xmlns:a16="http://schemas.microsoft.com/office/drawing/2014/main" id="{C0135B14-D848-1CC8-51FE-CD4F5DB32B73}"/>
                </a:ext>
              </a:extLst>
            </p:cNvPr>
            <p:cNvSpPr/>
            <p:nvPr/>
          </p:nvSpPr>
          <p:spPr>
            <a:xfrm>
              <a:off x="8457579" y="476158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7" name="Freeform: Shape 406">
              <a:extLst>
                <a:ext uri="{FF2B5EF4-FFF2-40B4-BE49-F238E27FC236}">
                  <a16:creationId xmlns:a16="http://schemas.microsoft.com/office/drawing/2014/main" id="{B1F4E432-394F-F742-DB60-02C1949D0580}"/>
                </a:ext>
              </a:extLst>
            </p:cNvPr>
            <p:cNvSpPr/>
            <p:nvPr/>
          </p:nvSpPr>
          <p:spPr>
            <a:xfrm>
              <a:off x="7880852" y="3767639"/>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8" name="Freeform: Shape 407">
              <a:extLst>
                <a:ext uri="{FF2B5EF4-FFF2-40B4-BE49-F238E27FC236}">
                  <a16:creationId xmlns:a16="http://schemas.microsoft.com/office/drawing/2014/main" id="{DF46DA5C-489C-6FCE-553A-61D6F4B4F9B1}"/>
                </a:ext>
              </a:extLst>
            </p:cNvPr>
            <p:cNvSpPr/>
            <p:nvPr/>
          </p:nvSpPr>
          <p:spPr>
            <a:xfrm>
              <a:off x="7880852" y="4098956"/>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9" name="Freeform: Shape 408">
              <a:extLst>
                <a:ext uri="{FF2B5EF4-FFF2-40B4-BE49-F238E27FC236}">
                  <a16:creationId xmlns:a16="http://schemas.microsoft.com/office/drawing/2014/main" id="{D0D33811-DE5B-FFD1-537E-0A082EF40417}"/>
                </a:ext>
              </a:extLst>
            </p:cNvPr>
            <p:cNvSpPr/>
            <p:nvPr/>
          </p:nvSpPr>
          <p:spPr>
            <a:xfrm>
              <a:off x="7880852" y="4430263"/>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0" name="Freeform: Shape 409">
              <a:extLst>
                <a:ext uri="{FF2B5EF4-FFF2-40B4-BE49-F238E27FC236}">
                  <a16:creationId xmlns:a16="http://schemas.microsoft.com/office/drawing/2014/main" id="{CC6782AA-E997-607D-9FDB-DCB60B8C0D9C}"/>
                </a:ext>
              </a:extLst>
            </p:cNvPr>
            <p:cNvSpPr/>
            <p:nvPr/>
          </p:nvSpPr>
          <p:spPr>
            <a:xfrm>
              <a:off x="7880852" y="4761581"/>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414" name="Graphic 2" descr="Diagram showing responsibility zones.">
              <a:extLst>
                <a:ext uri="{FF2B5EF4-FFF2-40B4-BE49-F238E27FC236}">
                  <a16:creationId xmlns:a16="http://schemas.microsoft.com/office/drawing/2014/main" id="{75787A12-2B69-21B9-176E-4872926DC9DB}"/>
                </a:ext>
              </a:extLst>
            </p:cNvPr>
            <p:cNvGrpSpPr/>
            <p:nvPr/>
          </p:nvGrpSpPr>
          <p:grpSpPr>
            <a:xfrm>
              <a:off x="7304125" y="2773707"/>
              <a:ext cx="296038" cy="295770"/>
              <a:chOff x="5896248" y="3463041"/>
              <a:chExt cx="296038" cy="295770"/>
            </a:xfrm>
          </p:grpSpPr>
          <p:sp>
            <p:nvSpPr>
              <p:cNvPr id="424" name="Freeform: Shape 423">
                <a:extLst>
                  <a:ext uri="{FF2B5EF4-FFF2-40B4-BE49-F238E27FC236}">
                    <a16:creationId xmlns:a16="http://schemas.microsoft.com/office/drawing/2014/main" id="{4317ACD3-CA83-AA22-7589-E2C2AA1CDE9D}"/>
                  </a:ext>
                </a:extLst>
              </p:cNvPr>
              <p:cNvSpPr/>
              <p:nvPr/>
            </p:nvSpPr>
            <p:spPr>
              <a:xfrm>
                <a:off x="5896248" y="346304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5" name="Freeform: Shape 424">
                <a:extLst>
                  <a:ext uri="{FF2B5EF4-FFF2-40B4-BE49-F238E27FC236}">
                    <a16:creationId xmlns:a16="http://schemas.microsoft.com/office/drawing/2014/main" id="{7149FD80-86D9-3F1C-2E71-B3D8372D899A}"/>
                  </a:ext>
                </a:extLst>
              </p:cNvPr>
              <p:cNvSpPr/>
              <p:nvPr/>
            </p:nvSpPr>
            <p:spPr>
              <a:xfrm>
                <a:off x="5896248" y="3463041"/>
                <a:ext cx="296038" cy="295770"/>
              </a:xfrm>
              <a:custGeom>
                <a:avLst/>
                <a:gdLst>
                  <a:gd name="connsiteX0" fmla="*/ 296039 w 296038"/>
                  <a:gd name="connsiteY0" fmla="*/ 0 h 295770"/>
                  <a:gd name="connsiteX1" fmla="*/ 296039 w 296038"/>
                  <a:gd name="connsiteY1" fmla="*/ 295771 h 295770"/>
                  <a:gd name="connsiteX2" fmla="*/ 0 w 296038"/>
                  <a:gd name="connsiteY2" fmla="*/ 295771 h 295770"/>
                </a:gdLst>
                <a:ahLst/>
                <a:cxnLst>
                  <a:cxn ang="0">
                    <a:pos x="connsiteX0" y="connsiteY0"/>
                  </a:cxn>
                  <a:cxn ang="0">
                    <a:pos x="connsiteX1" y="connsiteY1"/>
                  </a:cxn>
                  <a:cxn ang="0">
                    <a:pos x="connsiteX2" y="connsiteY2"/>
                  </a:cxn>
                </a:cxnLst>
                <a:rect l="l" t="t" r="r" b="b"/>
                <a:pathLst>
                  <a:path w="296038" h="295770">
                    <a:moveTo>
                      <a:pt x="296039" y="0"/>
                    </a:moveTo>
                    <a:lnTo>
                      <a:pt x="296039" y="295771"/>
                    </a:lnTo>
                    <a:lnTo>
                      <a:pt x="0" y="295771"/>
                    </a:lnTo>
                  </a:path>
                </a:pathLst>
              </a:custGeom>
              <a:solidFill>
                <a:srgbClr val="7030A0"/>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15" name="Graphic 2" descr="Diagram showing responsibility zones.">
              <a:extLst>
                <a:ext uri="{FF2B5EF4-FFF2-40B4-BE49-F238E27FC236}">
                  <a16:creationId xmlns:a16="http://schemas.microsoft.com/office/drawing/2014/main" id="{0D491DA1-5A9C-CDAF-814F-77A7292ADEBB}"/>
                </a:ext>
              </a:extLst>
            </p:cNvPr>
            <p:cNvGrpSpPr/>
            <p:nvPr/>
          </p:nvGrpSpPr>
          <p:grpSpPr>
            <a:xfrm>
              <a:off x="7880852" y="2773707"/>
              <a:ext cx="296038" cy="295770"/>
              <a:chOff x="6472975" y="3463041"/>
              <a:chExt cx="296038" cy="295770"/>
            </a:xfrm>
          </p:grpSpPr>
          <p:sp>
            <p:nvSpPr>
              <p:cNvPr id="422" name="Freeform: Shape 421">
                <a:extLst>
                  <a:ext uri="{FF2B5EF4-FFF2-40B4-BE49-F238E27FC236}">
                    <a16:creationId xmlns:a16="http://schemas.microsoft.com/office/drawing/2014/main" id="{D7B2F791-5802-75EF-97E8-8D140230168E}"/>
                  </a:ext>
                </a:extLst>
              </p:cNvPr>
              <p:cNvSpPr/>
              <p:nvPr/>
            </p:nvSpPr>
            <p:spPr>
              <a:xfrm>
                <a:off x="6472975" y="3463041"/>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3" name="Freeform: Shape 422">
                <a:extLst>
                  <a:ext uri="{FF2B5EF4-FFF2-40B4-BE49-F238E27FC236}">
                    <a16:creationId xmlns:a16="http://schemas.microsoft.com/office/drawing/2014/main" id="{9EBD78D5-3398-3AFF-6286-39749658482C}"/>
                  </a:ext>
                </a:extLst>
              </p:cNvPr>
              <p:cNvSpPr/>
              <p:nvPr/>
            </p:nvSpPr>
            <p:spPr>
              <a:xfrm>
                <a:off x="6472975" y="3463041"/>
                <a:ext cx="296038" cy="295770"/>
              </a:xfrm>
              <a:custGeom>
                <a:avLst/>
                <a:gdLst>
                  <a:gd name="connsiteX0" fmla="*/ 296039 w 296038"/>
                  <a:gd name="connsiteY0" fmla="*/ 0 h 295770"/>
                  <a:gd name="connsiteX1" fmla="*/ 296039 w 296038"/>
                  <a:gd name="connsiteY1" fmla="*/ 295771 h 295770"/>
                  <a:gd name="connsiteX2" fmla="*/ 0 w 296038"/>
                  <a:gd name="connsiteY2" fmla="*/ 295771 h 295770"/>
                </a:gdLst>
                <a:ahLst/>
                <a:cxnLst>
                  <a:cxn ang="0">
                    <a:pos x="connsiteX0" y="connsiteY0"/>
                  </a:cxn>
                  <a:cxn ang="0">
                    <a:pos x="connsiteX1" y="connsiteY1"/>
                  </a:cxn>
                  <a:cxn ang="0">
                    <a:pos x="connsiteX2" y="connsiteY2"/>
                  </a:cxn>
                </a:cxnLst>
                <a:rect l="l" t="t" r="r" b="b"/>
                <a:pathLst>
                  <a:path w="296038" h="295770">
                    <a:moveTo>
                      <a:pt x="296039" y="0"/>
                    </a:moveTo>
                    <a:lnTo>
                      <a:pt x="296039" y="295771"/>
                    </a:lnTo>
                    <a:lnTo>
                      <a:pt x="0" y="295771"/>
                    </a:lnTo>
                  </a:path>
                </a:pathLst>
              </a:custGeom>
              <a:solidFill>
                <a:srgbClr val="7030A0"/>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16" name="Graphic 2" descr="Diagram showing responsibility zones.">
              <a:extLst>
                <a:ext uri="{FF2B5EF4-FFF2-40B4-BE49-F238E27FC236}">
                  <a16:creationId xmlns:a16="http://schemas.microsoft.com/office/drawing/2014/main" id="{47A3EC44-3C80-6C8B-4AD1-84E50654B384}"/>
                </a:ext>
              </a:extLst>
            </p:cNvPr>
            <p:cNvGrpSpPr/>
            <p:nvPr/>
          </p:nvGrpSpPr>
          <p:grpSpPr>
            <a:xfrm>
              <a:off x="7880852" y="3105024"/>
              <a:ext cx="296038" cy="295770"/>
              <a:chOff x="6472975" y="3794358"/>
              <a:chExt cx="296038" cy="295770"/>
            </a:xfrm>
          </p:grpSpPr>
          <p:sp>
            <p:nvSpPr>
              <p:cNvPr id="420" name="Freeform: Shape 419">
                <a:extLst>
                  <a:ext uri="{FF2B5EF4-FFF2-40B4-BE49-F238E27FC236}">
                    <a16:creationId xmlns:a16="http://schemas.microsoft.com/office/drawing/2014/main" id="{3235F343-E038-6DD7-0EAC-EA08A99BBA2E}"/>
                  </a:ext>
                </a:extLst>
              </p:cNvPr>
              <p:cNvSpPr/>
              <p:nvPr/>
            </p:nvSpPr>
            <p:spPr>
              <a:xfrm>
                <a:off x="6472975" y="3794358"/>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1" name="Freeform: Shape 420">
                <a:extLst>
                  <a:ext uri="{FF2B5EF4-FFF2-40B4-BE49-F238E27FC236}">
                    <a16:creationId xmlns:a16="http://schemas.microsoft.com/office/drawing/2014/main" id="{1AA813B6-0B82-CC3D-B8B7-B9E056BFF347}"/>
                  </a:ext>
                </a:extLst>
              </p:cNvPr>
              <p:cNvSpPr/>
              <p:nvPr/>
            </p:nvSpPr>
            <p:spPr>
              <a:xfrm>
                <a:off x="6472975" y="3794358"/>
                <a:ext cx="296038" cy="295770"/>
              </a:xfrm>
              <a:custGeom>
                <a:avLst/>
                <a:gdLst>
                  <a:gd name="connsiteX0" fmla="*/ 296039 w 296038"/>
                  <a:gd name="connsiteY0" fmla="*/ 0 h 295770"/>
                  <a:gd name="connsiteX1" fmla="*/ 296039 w 296038"/>
                  <a:gd name="connsiteY1" fmla="*/ 295771 h 295770"/>
                  <a:gd name="connsiteX2" fmla="*/ 0 w 296038"/>
                  <a:gd name="connsiteY2" fmla="*/ 295771 h 295770"/>
                </a:gdLst>
                <a:ahLst/>
                <a:cxnLst>
                  <a:cxn ang="0">
                    <a:pos x="connsiteX0" y="connsiteY0"/>
                  </a:cxn>
                  <a:cxn ang="0">
                    <a:pos x="connsiteX1" y="connsiteY1"/>
                  </a:cxn>
                  <a:cxn ang="0">
                    <a:pos x="connsiteX2" y="connsiteY2"/>
                  </a:cxn>
                </a:cxnLst>
                <a:rect l="l" t="t" r="r" b="b"/>
                <a:pathLst>
                  <a:path w="296038" h="295770">
                    <a:moveTo>
                      <a:pt x="296039" y="0"/>
                    </a:moveTo>
                    <a:lnTo>
                      <a:pt x="296039" y="295771"/>
                    </a:lnTo>
                    <a:lnTo>
                      <a:pt x="0" y="295771"/>
                    </a:lnTo>
                  </a:path>
                </a:pathLst>
              </a:custGeom>
              <a:solidFill>
                <a:srgbClr val="702573"/>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17" name="Graphic 2" descr="Diagram showing responsibility zones.">
              <a:extLst>
                <a:ext uri="{FF2B5EF4-FFF2-40B4-BE49-F238E27FC236}">
                  <a16:creationId xmlns:a16="http://schemas.microsoft.com/office/drawing/2014/main" id="{F89FAB4B-AD9C-CA52-994E-478E87AF1BA1}"/>
                </a:ext>
              </a:extLst>
            </p:cNvPr>
            <p:cNvGrpSpPr/>
            <p:nvPr/>
          </p:nvGrpSpPr>
          <p:grpSpPr>
            <a:xfrm>
              <a:off x="7880852" y="3436331"/>
              <a:ext cx="296038" cy="295770"/>
              <a:chOff x="6472975" y="4125665"/>
              <a:chExt cx="296038" cy="295770"/>
            </a:xfrm>
          </p:grpSpPr>
          <p:sp>
            <p:nvSpPr>
              <p:cNvPr id="418" name="Freeform: Shape 417">
                <a:extLst>
                  <a:ext uri="{FF2B5EF4-FFF2-40B4-BE49-F238E27FC236}">
                    <a16:creationId xmlns:a16="http://schemas.microsoft.com/office/drawing/2014/main" id="{AD1F4F09-EC76-ACF4-2763-54F5BA273D52}"/>
                  </a:ext>
                </a:extLst>
              </p:cNvPr>
              <p:cNvSpPr/>
              <p:nvPr/>
            </p:nvSpPr>
            <p:spPr>
              <a:xfrm>
                <a:off x="6472975" y="4125665"/>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9" name="Freeform: Shape 418">
                <a:extLst>
                  <a:ext uri="{FF2B5EF4-FFF2-40B4-BE49-F238E27FC236}">
                    <a16:creationId xmlns:a16="http://schemas.microsoft.com/office/drawing/2014/main" id="{06BC37D6-1DCA-6EF1-EDF3-D810333E4FBF}"/>
                  </a:ext>
                </a:extLst>
              </p:cNvPr>
              <p:cNvSpPr/>
              <p:nvPr/>
            </p:nvSpPr>
            <p:spPr>
              <a:xfrm>
                <a:off x="6472975" y="4125665"/>
                <a:ext cx="296038" cy="295770"/>
              </a:xfrm>
              <a:custGeom>
                <a:avLst/>
                <a:gdLst>
                  <a:gd name="connsiteX0" fmla="*/ 296039 w 296038"/>
                  <a:gd name="connsiteY0" fmla="*/ 0 h 295770"/>
                  <a:gd name="connsiteX1" fmla="*/ 296039 w 296038"/>
                  <a:gd name="connsiteY1" fmla="*/ 295771 h 295770"/>
                  <a:gd name="connsiteX2" fmla="*/ 0 w 296038"/>
                  <a:gd name="connsiteY2" fmla="*/ 295771 h 295770"/>
                </a:gdLst>
                <a:ahLst/>
                <a:cxnLst>
                  <a:cxn ang="0">
                    <a:pos x="connsiteX0" y="connsiteY0"/>
                  </a:cxn>
                  <a:cxn ang="0">
                    <a:pos x="connsiteX1" y="connsiteY1"/>
                  </a:cxn>
                  <a:cxn ang="0">
                    <a:pos x="connsiteX2" y="connsiteY2"/>
                  </a:cxn>
                </a:cxnLst>
                <a:rect l="l" t="t" r="r" b="b"/>
                <a:pathLst>
                  <a:path w="296038" h="295770">
                    <a:moveTo>
                      <a:pt x="296039" y="0"/>
                    </a:moveTo>
                    <a:lnTo>
                      <a:pt x="296039" y="295771"/>
                    </a:lnTo>
                    <a:lnTo>
                      <a:pt x="0" y="295771"/>
                    </a:lnTo>
                  </a:path>
                </a:pathLst>
              </a:custGeom>
              <a:solidFill>
                <a:srgbClr val="7030A0"/>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6" name="Graphic 2" descr="Diagram showing responsibility zones.">
              <a:extLst>
                <a:ext uri="{FF2B5EF4-FFF2-40B4-BE49-F238E27FC236}">
                  <a16:creationId xmlns:a16="http://schemas.microsoft.com/office/drawing/2014/main" id="{1D3B4F92-8001-2A15-C1DB-5EBE45DFED30}"/>
                </a:ext>
              </a:extLst>
            </p:cNvPr>
            <p:cNvGrpSpPr/>
            <p:nvPr/>
          </p:nvGrpSpPr>
          <p:grpSpPr>
            <a:xfrm>
              <a:off x="4654156" y="1885253"/>
              <a:ext cx="2390334" cy="3128710"/>
              <a:chOff x="3244499" y="2563836"/>
              <a:chExt cx="2390334" cy="3128710"/>
            </a:xfrm>
            <a:solidFill>
              <a:srgbClr val="2F2F2F"/>
            </a:solidFill>
          </p:grpSpPr>
          <p:sp>
            <p:nvSpPr>
              <p:cNvPr id="179" name="Freeform: Shape 178">
                <a:extLst>
                  <a:ext uri="{FF2B5EF4-FFF2-40B4-BE49-F238E27FC236}">
                    <a16:creationId xmlns:a16="http://schemas.microsoft.com/office/drawing/2014/main" id="{66946082-82EA-3137-3164-EB10644318CA}"/>
                  </a:ext>
                </a:extLst>
              </p:cNvPr>
              <p:cNvSpPr/>
              <p:nvPr/>
            </p:nvSpPr>
            <p:spPr>
              <a:xfrm>
                <a:off x="3256955" y="2571675"/>
                <a:ext cx="12598" cy="107353"/>
              </a:xfrm>
              <a:custGeom>
                <a:avLst/>
                <a:gdLst>
                  <a:gd name="connsiteX0" fmla="*/ 12598 w 12598"/>
                  <a:gd name="connsiteY0" fmla="*/ 107354 h 107353"/>
                  <a:gd name="connsiteX1" fmla="*/ 0 w 12598"/>
                  <a:gd name="connsiteY1" fmla="*/ 107354 h 107353"/>
                  <a:gd name="connsiteX2" fmla="*/ 0 w 12598"/>
                  <a:gd name="connsiteY2" fmla="*/ 0 h 107353"/>
                  <a:gd name="connsiteX3" fmla="*/ 12598 w 12598"/>
                  <a:gd name="connsiteY3" fmla="*/ 0 h 107353"/>
                </a:gdLst>
                <a:ahLst/>
                <a:cxnLst>
                  <a:cxn ang="0">
                    <a:pos x="connsiteX0" y="connsiteY0"/>
                  </a:cxn>
                  <a:cxn ang="0">
                    <a:pos x="connsiteX1" y="connsiteY1"/>
                  </a:cxn>
                  <a:cxn ang="0">
                    <a:pos x="connsiteX2" y="connsiteY2"/>
                  </a:cxn>
                  <a:cxn ang="0">
                    <a:pos x="connsiteX3" y="connsiteY3"/>
                  </a:cxn>
                </a:cxnLst>
                <a:rect l="l" t="t" r="r" b="b"/>
                <a:pathLst>
                  <a:path w="12598" h="107353">
                    <a:moveTo>
                      <a:pt x="12598" y="107354"/>
                    </a:moveTo>
                    <a:lnTo>
                      <a:pt x="0" y="107354"/>
                    </a:lnTo>
                    <a:lnTo>
                      <a:pt x="0" y="0"/>
                    </a:lnTo>
                    <a:lnTo>
                      <a:pt x="12598"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0" name="Freeform: Shape 179">
                <a:extLst>
                  <a:ext uri="{FF2B5EF4-FFF2-40B4-BE49-F238E27FC236}">
                    <a16:creationId xmlns:a16="http://schemas.microsoft.com/office/drawing/2014/main" id="{EB2A6F42-8663-5360-63BA-5D3043776B56}"/>
                  </a:ext>
                </a:extLst>
              </p:cNvPr>
              <p:cNvSpPr/>
              <p:nvPr/>
            </p:nvSpPr>
            <p:spPr>
              <a:xfrm>
                <a:off x="3294398" y="2600550"/>
                <a:ext cx="63819" cy="78522"/>
              </a:xfrm>
              <a:custGeom>
                <a:avLst/>
                <a:gdLst>
                  <a:gd name="connsiteX0" fmla="*/ 63681 w 63819"/>
                  <a:gd name="connsiteY0" fmla="*/ 78479 h 78522"/>
                  <a:gd name="connsiteX1" fmla="*/ 51390 w 63819"/>
                  <a:gd name="connsiteY1" fmla="*/ 78479 h 78522"/>
                  <a:gd name="connsiteX2" fmla="*/ 51390 w 63819"/>
                  <a:gd name="connsiteY2" fmla="*/ 34738 h 78522"/>
                  <a:gd name="connsiteX3" fmla="*/ 33551 w 63819"/>
                  <a:gd name="connsiteY3" fmla="*/ 10331 h 78522"/>
                  <a:gd name="connsiteX4" fmla="*/ 18299 w 63819"/>
                  <a:gd name="connsiteY4" fmla="*/ 17255 h 78522"/>
                  <a:gd name="connsiteX5" fmla="*/ 12269 w 63819"/>
                  <a:gd name="connsiteY5" fmla="*/ 34782 h 78522"/>
                  <a:gd name="connsiteX6" fmla="*/ 12269 w 63819"/>
                  <a:gd name="connsiteY6" fmla="*/ 78523 h 78522"/>
                  <a:gd name="connsiteX7" fmla="*/ 0 w 63819"/>
                  <a:gd name="connsiteY7" fmla="*/ 78523 h 78522"/>
                  <a:gd name="connsiteX8" fmla="*/ 0 w 63819"/>
                  <a:gd name="connsiteY8" fmla="*/ 1842 h 78522"/>
                  <a:gd name="connsiteX9" fmla="*/ 12291 w 63819"/>
                  <a:gd name="connsiteY9" fmla="*/ 1842 h 78522"/>
                  <a:gd name="connsiteX10" fmla="*/ 12291 w 63819"/>
                  <a:gd name="connsiteY10" fmla="*/ 14571 h 78522"/>
                  <a:gd name="connsiteX11" fmla="*/ 12587 w 63819"/>
                  <a:gd name="connsiteY11" fmla="*/ 14571 h 78522"/>
                  <a:gd name="connsiteX12" fmla="*/ 37805 w 63819"/>
                  <a:gd name="connsiteY12" fmla="*/ 45 h 78522"/>
                  <a:gd name="connsiteX13" fmla="*/ 57070 w 63819"/>
                  <a:gd name="connsiteY13" fmla="*/ 8162 h 78522"/>
                  <a:gd name="connsiteX14" fmla="*/ 63736 w 63819"/>
                  <a:gd name="connsiteY14" fmla="*/ 31638 h 7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22">
                    <a:moveTo>
                      <a:pt x="63681" y="78479"/>
                    </a:moveTo>
                    <a:lnTo>
                      <a:pt x="51390" y="78479"/>
                    </a:lnTo>
                    <a:lnTo>
                      <a:pt x="51390" y="34738"/>
                    </a:lnTo>
                    <a:cubicBezTo>
                      <a:pt x="51390" y="18474"/>
                      <a:pt x="45447" y="10339"/>
                      <a:pt x="33551" y="10331"/>
                    </a:cubicBezTo>
                    <a:cubicBezTo>
                      <a:pt x="27685" y="10211"/>
                      <a:pt x="22071" y="12757"/>
                      <a:pt x="18299" y="17255"/>
                    </a:cubicBezTo>
                    <a:cubicBezTo>
                      <a:pt x="14177" y="22146"/>
                      <a:pt x="12028" y="28394"/>
                      <a:pt x="12269" y="34782"/>
                    </a:cubicBezTo>
                    <a:lnTo>
                      <a:pt x="12269" y="78523"/>
                    </a:lnTo>
                    <a:lnTo>
                      <a:pt x="0" y="78523"/>
                    </a:lnTo>
                    <a:lnTo>
                      <a:pt x="0" y="1842"/>
                    </a:lnTo>
                    <a:lnTo>
                      <a:pt x="12291" y="1842"/>
                    </a:lnTo>
                    <a:lnTo>
                      <a:pt x="12291" y="14571"/>
                    </a:lnTo>
                    <a:lnTo>
                      <a:pt x="12587" y="14571"/>
                    </a:lnTo>
                    <a:cubicBezTo>
                      <a:pt x="17565" y="5350"/>
                      <a:pt x="27323" y="-273"/>
                      <a:pt x="37805" y="45"/>
                    </a:cubicBezTo>
                    <a:cubicBezTo>
                      <a:pt x="45140" y="-410"/>
                      <a:pt x="52278" y="2594"/>
                      <a:pt x="57070" y="8162"/>
                    </a:cubicBezTo>
                    <a:cubicBezTo>
                      <a:pt x="61949" y="14979"/>
                      <a:pt x="64306" y="23277"/>
                      <a:pt x="63736" y="3163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1" name="Freeform: Shape 180">
                <a:extLst>
                  <a:ext uri="{FF2B5EF4-FFF2-40B4-BE49-F238E27FC236}">
                    <a16:creationId xmlns:a16="http://schemas.microsoft.com/office/drawing/2014/main" id="{B4191F78-0C70-D7BE-8C65-4163CBA556A4}"/>
                  </a:ext>
                </a:extLst>
              </p:cNvPr>
              <p:cNvSpPr/>
              <p:nvPr/>
            </p:nvSpPr>
            <p:spPr>
              <a:xfrm>
                <a:off x="3370995" y="2563836"/>
                <a:ext cx="46401" cy="115192"/>
              </a:xfrm>
              <a:custGeom>
                <a:avLst/>
                <a:gdLst>
                  <a:gd name="connsiteX0" fmla="*/ 46401 w 46401"/>
                  <a:gd name="connsiteY0" fmla="*/ 12451 h 115192"/>
                  <a:gd name="connsiteX1" fmla="*/ 38233 w 46401"/>
                  <a:gd name="connsiteY1" fmla="*/ 10424 h 115192"/>
                  <a:gd name="connsiteX2" fmla="*/ 25339 w 46401"/>
                  <a:gd name="connsiteY2" fmla="*/ 26681 h 115192"/>
                  <a:gd name="connsiteX3" fmla="*/ 25339 w 46401"/>
                  <a:gd name="connsiteY3" fmla="*/ 38512 h 115192"/>
                  <a:gd name="connsiteX4" fmla="*/ 43320 w 46401"/>
                  <a:gd name="connsiteY4" fmla="*/ 38512 h 115192"/>
                  <a:gd name="connsiteX5" fmla="*/ 43320 w 46401"/>
                  <a:gd name="connsiteY5" fmla="*/ 48995 h 115192"/>
                  <a:gd name="connsiteX6" fmla="*/ 25372 w 46401"/>
                  <a:gd name="connsiteY6" fmla="*/ 48995 h 115192"/>
                  <a:gd name="connsiteX7" fmla="*/ 25372 w 46401"/>
                  <a:gd name="connsiteY7" fmla="*/ 115193 h 115192"/>
                  <a:gd name="connsiteX8" fmla="*/ 13157 w 46401"/>
                  <a:gd name="connsiteY8" fmla="*/ 115193 h 115192"/>
                  <a:gd name="connsiteX9" fmla="*/ 13157 w 46401"/>
                  <a:gd name="connsiteY9" fmla="*/ 48995 h 115192"/>
                  <a:gd name="connsiteX10" fmla="*/ 0 w 46401"/>
                  <a:gd name="connsiteY10" fmla="*/ 48995 h 115192"/>
                  <a:gd name="connsiteX11" fmla="*/ 0 w 46401"/>
                  <a:gd name="connsiteY11" fmla="*/ 38512 h 115192"/>
                  <a:gd name="connsiteX12" fmla="*/ 13157 w 46401"/>
                  <a:gd name="connsiteY12" fmla="*/ 38512 h 115192"/>
                  <a:gd name="connsiteX13" fmla="*/ 13157 w 46401"/>
                  <a:gd name="connsiteY13" fmla="*/ 26078 h 115192"/>
                  <a:gd name="connsiteX14" fmla="*/ 20120 w 46401"/>
                  <a:gd name="connsiteY14" fmla="*/ 7018 h 115192"/>
                  <a:gd name="connsiteX15" fmla="*/ 37432 w 46401"/>
                  <a:gd name="connsiteY15" fmla="*/ 18 h 115192"/>
                  <a:gd name="connsiteX16" fmla="*/ 46357 w 46401"/>
                  <a:gd name="connsiteY16" fmla="*/ 1365 h 11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401" h="115192">
                    <a:moveTo>
                      <a:pt x="46401" y="12451"/>
                    </a:moveTo>
                    <a:cubicBezTo>
                      <a:pt x="43901" y="11080"/>
                      <a:pt x="41084" y="10381"/>
                      <a:pt x="38233" y="10424"/>
                    </a:cubicBezTo>
                    <a:cubicBezTo>
                      <a:pt x="29637" y="10424"/>
                      <a:pt x="25339" y="15844"/>
                      <a:pt x="25339" y="26681"/>
                    </a:cubicBezTo>
                    <a:lnTo>
                      <a:pt x="25339" y="38512"/>
                    </a:lnTo>
                    <a:lnTo>
                      <a:pt x="43320" y="38512"/>
                    </a:lnTo>
                    <a:lnTo>
                      <a:pt x="43320" y="48995"/>
                    </a:lnTo>
                    <a:lnTo>
                      <a:pt x="25372" y="48995"/>
                    </a:lnTo>
                    <a:lnTo>
                      <a:pt x="25372" y="115193"/>
                    </a:lnTo>
                    <a:lnTo>
                      <a:pt x="13157" y="115193"/>
                    </a:lnTo>
                    <a:lnTo>
                      <a:pt x="13157" y="48995"/>
                    </a:lnTo>
                    <a:lnTo>
                      <a:pt x="0" y="48995"/>
                    </a:lnTo>
                    <a:lnTo>
                      <a:pt x="0" y="38512"/>
                    </a:lnTo>
                    <a:lnTo>
                      <a:pt x="13157" y="38512"/>
                    </a:lnTo>
                    <a:lnTo>
                      <a:pt x="13157" y="26078"/>
                    </a:lnTo>
                    <a:cubicBezTo>
                      <a:pt x="12774" y="19041"/>
                      <a:pt x="15295" y="12155"/>
                      <a:pt x="20120" y="7018"/>
                    </a:cubicBezTo>
                    <a:cubicBezTo>
                      <a:pt x="24681" y="2400"/>
                      <a:pt x="30942" y="-132"/>
                      <a:pt x="37432" y="18"/>
                    </a:cubicBezTo>
                    <a:cubicBezTo>
                      <a:pt x="40470" y="-98"/>
                      <a:pt x="43496" y="358"/>
                      <a:pt x="46357" y="136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2" name="Freeform: Shape 181">
                <a:extLst>
                  <a:ext uri="{FF2B5EF4-FFF2-40B4-BE49-F238E27FC236}">
                    <a16:creationId xmlns:a16="http://schemas.microsoft.com/office/drawing/2014/main" id="{F72A01BB-EA64-34C3-B72E-2AB97EDDA19B}"/>
                  </a:ext>
                </a:extLst>
              </p:cNvPr>
              <p:cNvSpPr/>
              <p:nvPr/>
            </p:nvSpPr>
            <p:spPr>
              <a:xfrm>
                <a:off x="3421380" y="2600508"/>
                <a:ext cx="75646" cy="80355"/>
              </a:xfrm>
              <a:custGeom>
                <a:avLst/>
                <a:gdLst>
                  <a:gd name="connsiteX0" fmla="*/ 37396 w 75646"/>
                  <a:gd name="connsiteY0" fmla="*/ 80318 h 80355"/>
                  <a:gd name="connsiteX1" fmla="*/ 10226 w 75646"/>
                  <a:gd name="connsiteY1" fmla="*/ 69572 h 80355"/>
                  <a:gd name="connsiteX2" fmla="*/ 73 w 75646"/>
                  <a:gd name="connsiteY2" fmla="*/ 41090 h 80355"/>
                  <a:gd name="connsiteX3" fmla="*/ 10643 w 75646"/>
                  <a:gd name="connsiteY3" fmla="*/ 10910 h 80355"/>
                  <a:gd name="connsiteX4" fmla="*/ 39150 w 75646"/>
                  <a:gd name="connsiteY4" fmla="*/ 54 h 80355"/>
                  <a:gd name="connsiteX5" fmla="*/ 65947 w 75646"/>
                  <a:gd name="connsiteY5" fmla="*/ 10604 h 80355"/>
                  <a:gd name="connsiteX6" fmla="*/ 75574 w 75646"/>
                  <a:gd name="connsiteY6" fmla="*/ 39885 h 80355"/>
                  <a:gd name="connsiteX7" fmla="*/ 65202 w 75646"/>
                  <a:gd name="connsiteY7" fmla="*/ 69276 h 80355"/>
                  <a:gd name="connsiteX8" fmla="*/ 37396 w 75646"/>
                  <a:gd name="connsiteY8" fmla="*/ 80318 h 80355"/>
                  <a:gd name="connsiteX9" fmla="*/ 38295 w 75646"/>
                  <a:gd name="connsiteY9" fmla="*/ 10374 h 80355"/>
                  <a:gd name="connsiteX10" fmla="*/ 19557 w 75646"/>
                  <a:gd name="connsiteY10" fmla="*/ 18425 h 80355"/>
                  <a:gd name="connsiteX11" fmla="*/ 12660 w 75646"/>
                  <a:gd name="connsiteY11" fmla="*/ 40630 h 80355"/>
                  <a:gd name="connsiteX12" fmla="*/ 19634 w 75646"/>
                  <a:gd name="connsiteY12" fmla="*/ 62122 h 80355"/>
                  <a:gd name="connsiteX13" fmla="*/ 38273 w 75646"/>
                  <a:gd name="connsiteY13" fmla="*/ 69977 h 80355"/>
                  <a:gd name="connsiteX14" fmla="*/ 56605 w 75646"/>
                  <a:gd name="connsiteY14" fmla="*/ 62309 h 80355"/>
                  <a:gd name="connsiteX15" fmla="*/ 63009 w 75646"/>
                  <a:gd name="connsiteY15" fmla="*/ 40400 h 80355"/>
                  <a:gd name="connsiteX16" fmla="*/ 56605 w 75646"/>
                  <a:gd name="connsiteY16" fmla="*/ 18239 h 80355"/>
                  <a:gd name="connsiteX17" fmla="*/ 38295 w 75646"/>
                  <a:gd name="connsiteY17" fmla="*/ 10374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46" h="80355">
                    <a:moveTo>
                      <a:pt x="37396" y="80318"/>
                    </a:moveTo>
                    <a:cubicBezTo>
                      <a:pt x="27221" y="80786"/>
                      <a:pt x="17331" y="76873"/>
                      <a:pt x="10226" y="69572"/>
                    </a:cubicBezTo>
                    <a:cubicBezTo>
                      <a:pt x="3220" y="61783"/>
                      <a:pt x="-431" y="51549"/>
                      <a:pt x="73" y="41090"/>
                    </a:cubicBezTo>
                    <a:cubicBezTo>
                      <a:pt x="-585" y="30023"/>
                      <a:pt x="3220" y="19152"/>
                      <a:pt x="10643" y="10910"/>
                    </a:cubicBezTo>
                    <a:cubicBezTo>
                      <a:pt x="18208" y="3468"/>
                      <a:pt x="28548" y="-469"/>
                      <a:pt x="39150" y="54"/>
                    </a:cubicBezTo>
                    <a:cubicBezTo>
                      <a:pt x="49193" y="-511"/>
                      <a:pt x="58985" y="3344"/>
                      <a:pt x="65947" y="10604"/>
                    </a:cubicBezTo>
                    <a:cubicBezTo>
                      <a:pt x="72767" y="18788"/>
                      <a:pt x="76199" y="29257"/>
                      <a:pt x="75574" y="39885"/>
                    </a:cubicBezTo>
                    <a:cubicBezTo>
                      <a:pt x="76100" y="50661"/>
                      <a:pt x="72383" y="61214"/>
                      <a:pt x="65202" y="69276"/>
                    </a:cubicBezTo>
                    <a:cubicBezTo>
                      <a:pt x="57943" y="76772"/>
                      <a:pt x="47823" y="80793"/>
                      <a:pt x="37396" y="80318"/>
                    </a:cubicBezTo>
                    <a:close/>
                    <a:moveTo>
                      <a:pt x="38295" y="10374"/>
                    </a:moveTo>
                    <a:cubicBezTo>
                      <a:pt x="31146" y="10052"/>
                      <a:pt x="24239" y="13018"/>
                      <a:pt x="19557" y="18425"/>
                    </a:cubicBezTo>
                    <a:cubicBezTo>
                      <a:pt x="14645" y="24749"/>
                      <a:pt x="12189" y="32639"/>
                      <a:pt x="12660" y="40630"/>
                    </a:cubicBezTo>
                    <a:cubicBezTo>
                      <a:pt x="12222" y="48412"/>
                      <a:pt x="14710" y="56077"/>
                      <a:pt x="19634" y="62122"/>
                    </a:cubicBezTo>
                    <a:cubicBezTo>
                      <a:pt x="24359" y="67390"/>
                      <a:pt x="31201" y="70272"/>
                      <a:pt x="38273" y="69977"/>
                    </a:cubicBezTo>
                    <a:cubicBezTo>
                      <a:pt x="45246" y="70402"/>
                      <a:pt x="52022" y="67569"/>
                      <a:pt x="56605" y="62309"/>
                    </a:cubicBezTo>
                    <a:cubicBezTo>
                      <a:pt x="61243" y="55979"/>
                      <a:pt x="63502" y="48227"/>
                      <a:pt x="63009" y="40400"/>
                    </a:cubicBezTo>
                    <a:cubicBezTo>
                      <a:pt x="63513" y="32494"/>
                      <a:pt x="61254" y="24657"/>
                      <a:pt x="56605" y="18239"/>
                    </a:cubicBezTo>
                    <a:cubicBezTo>
                      <a:pt x="52066" y="12897"/>
                      <a:pt x="45290" y="9987"/>
                      <a:pt x="38295" y="103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3" name="Freeform: Shape 182">
                <a:extLst>
                  <a:ext uri="{FF2B5EF4-FFF2-40B4-BE49-F238E27FC236}">
                    <a16:creationId xmlns:a16="http://schemas.microsoft.com/office/drawing/2014/main" id="{F5206404-6CD8-4DAC-359F-07282B235570}"/>
                  </a:ext>
                </a:extLst>
              </p:cNvPr>
              <p:cNvSpPr/>
              <p:nvPr/>
            </p:nvSpPr>
            <p:spPr>
              <a:xfrm>
                <a:off x="3515879" y="2600980"/>
                <a:ext cx="40019" cy="78048"/>
              </a:xfrm>
              <a:custGeom>
                <a:avLst/>
                <a:gdLst>
                  <a:gd name="connsiteX0" fmla="*/ 39976 w 40019"/>
                  <a:gd name="connsiteY0" fmla="*/ 13790 h 78048"/>
                  <a:gd name="connsiteX1" fmla="*/ 30678 w 40019"/>
                  <a:gd name="connsiteY1" fmla="*/ 11325 h 78048"/>
                  <a:gd name="connsiteX2" fmla="*/ 17521 w 40019"/>
                  <a:gd name="connsiteY2" fmla="*/ 18741 h 78048"/>
                  <a:gd name="connsiteX3" fmla="*/ 12236 w 40019"/>
                  <a:gd name="connsiteY3" fmla="*/ 38952 h 78048"/>
                  <a:gd name="connsiteX4" fmla="*/ 12236 w 40019"/>
                  <a:gd name="connsiteY4" fmla="*/ 78049 h 78048"/>
                  <a:gd name="connsiteX5" fmla="*/ 0 w 40019"/>
                  <a:gd name="connsiteY5" fmla="*/ 78049 h 78048"/>
                  <a:gd name="connsiteX6" fmla="*/ 0 w 40019"/>
                  <a:gd name="connsiteY6" fmla="*/ 1368 h 78048"/>
                  <a:gd name="connsiteX7" fmla="*/ 12291 w 40019"/>
                  <a:gd name="connsiteY7" fmla="*/ 1368 h 78048"/>
                  <a:gd name="connsiteX8" fmla="*/ 12291 w 40019"/>
                  <a:gd name="connsiteY8" fmla="*/ 17164 h 78048"/>
                  <a:gd name="connsiteX9" fmla="*/ 12598 w 40019"/>
                  <a:gd name="connsiteY9" fmla="*/ 17164 h 78048"/>
                  <a:gd name="connsiteX10" fmla="*/ 20613 w 40019"/>
                  <a:gd name="connsiteY10" fmla="*/ 4544 h 78048"/>
                  <a:gd name="connsiteX11" fmla="*/ 32674 w 40019"/>
                  <a:gd name="connsiteY11" fmla="*/ 20 h 78048"/>
                  <a:gd name="connsiteX12" fmla="*/ 40020 w 40019"/>
                  <a:gd name="connsiteY12" fmla="*/ 1061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19" h="78048">
                    <a:moveTo>
                      <a:pt x="39976" y="13790"/>
                    </a:moveTo>
                    <a:cubicBezTo>
                      <a:pt x="37224" y="11976"/>
                      <a:pt x="33968" y="11111"/>
                      <a:pt x="30678" y="11325"/>
                    </a:cubicBezTo>
                    <a:cubicBezTo>
                      <a:pt x="25306" y="11384"/>
                      <a:pt x="20350" y="14182"/>
                      <a:pt x="17521" y="18741"/>
                    </a:cubicBezTo>
                    <a:cubicBezTo>
                      <a:pt x="13694" y="24765"/>
                      <a:pt x="11852" y="31830"/>
                      <a:pt x="12236" y="38952"/>
                    </a:cubicBezTo>
                    <a:lnTo>
                      <a:pt x="12236" y="78049"/>
                    </a:lnTo>
                    <a:lnTo>
                      <a:pt x="0" y="78049"/>
                    </a:lnTo>
                    <a:lnTo>
                      <a:pt x="0" y="1368"/>
                    </a:lnTo>
                    <a:lnTo>
                      <a:pt x="12291" y="1368"/>
                    </a:lnTo>
                    <a:lnTo>
                      <a:pt x="12291" y="17164"/>
                    </a:lnTo>
                    <a:lnTo>
                      <a:pt x="12598" y="17164"/>
                    </a:lnTo>
                    <a:cubicBezTo>
                      <a:pt x="14012" y="12283"/>
                      <a:pt x="16797" y="7905"/>
                      <a:pt x="20613" y="4544"/>
                    </a:cubicBezTo>
                    <a:cubicBezTo>
                      <a:pt x="23946" y="1623"/>
                      <a:pt x="28233" y="15"/>
                      <a:pt x="32674" y="20"/>
                    </a:cubicBezTo>
                    <a:cubicBezTo>
                      <a:pt x="35163" y="-92"/>
                      <a:pt x="37663" y="261"/>
                      <a:pt x="40020" y="10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4" name="Freeform: Shape 183">
                <a:extLst>
                  <a:ext uri="{FF2B5EF4-FFF2-40B4-BE49-F238E27FC236}">
                    <a16:creationId xmlns:a16="http://schemas.microsoft.com/office/drawing/2014/main" id="{315DAF86-26E6-9CD6-C440-D767BDAA2F2B}"/>
                  </a:ext>
                </a:extLst>
              </p:cNvPr>
              <p:cNvSpPr/>
              <p:nvPr/>
            </p:nvSpPr>
            <p:spPr>
              <a:xfrm>
                <a:off x="3569505" y="2600540"/>
                <a:ext cx="108986" cy="78488"/>
              </a:xfrm>
              <a:custGeom>
                <a:avLst/>
                <a:gdLst>
                  <a:gd name="connsiteX0" fmla="*/ 108953 w 108986"/>
                  <a:gd name="connsiteY0" fmla="*/ 78489 h 78488"/>
                  <a:gd name="connsiteX1" fmla="*/ 96662 w 108986"/>
                  <a:gd name="connsiteY1" fmla="*/ 78489 h 78488"/>
                  <a:gd name="connsiteX2" fmla="*/ 96662 w 108986"/>
                  <a:gd name="connsiteY2" fmla="*/ 34452 h 78488"/>
                  <a:gd name="connsiteX3" fmla="*/ 92726 w 108986"/>
                  <a:gd name="connsiteY3" fmla="*/ 16027 h 78488"/>
                  <a:gd name="connsiteX4" fmla="*/ 79492 w 108986"/>
                  <a:gd name="connsiteY4" fmla="*/ 10341 h 78488"/>
                  <a:gd name="connsiteX5" fmla="*/ 66115 w 108986"/>
                  <a:gd name="connsiteY5" fmla="*/ 17527 h 78488"/>
                  <a:gd name="connsiteX6" fmla="*/ 60633 w 108986"/>
                  <a:gd name="connsiteY6" fmla="*/ 34748 h 78488"/>
                  <a:gd name="connsiteX7" fmla="*/ 60633 w 108986"/>
                  <a:gd name="connsiteY7" fmla="*/ 78489 h 78488"/>
                  <a:gd name="connsiteX8" fmla="*/ 48342 w 108986"/>
                  <a:gd name="connsiteY8" fmla="*/ 78489 h 78488"/>
                  <a:gd name="connsiteX9" fmla="*/ 48342 w 108986"/>
                  <a:gd name="connsiteY9" fmla="*/ 32951 h 78488"/>
                  <a:gd name="connsiteX10" fmla="*/ 30887 w 108986"/>
                  <a:gd name="connsiteY10" fmla="*/ 10341 h 78488"/>
                  <a:gd name="connsiteX11" fmla="*/ 17543 w 108986"/>
                  <a:gd name="connsiteY11" fmla="*/ 17122 h 78488"/>
                  <a:gd name="connsiteX12" fmla="*/ 12291 w 108986"/>
                  <a:gd name="connsiteY12" fmla="*/ 34748 h 78488"/>
                  <a:gd name="connsiteX13" fmla="*/ 12291 w 108986"/>
                  <a:gd name="connsiteY13" fmla="*/ 78489 h 78488"/>
                  <a:gd name="connsiteX14" fmla="*/ 0 w 108986"/>
                  <a:gd name="connsiteY14" fmla="*/ 78489 h 78488"/>
                  <a:gd name="connsiteX15" fmla="*/ 0 w 108986"/>
                  <a:gd name="connsiteY15" fmla="*/ 1808 h 78488"/>
                  <a:gd name="connsiteX16" fmla="*/ 12291 w 108986"/>
                  <a:gd name="connsiteY16" fmla="*/ 1808 h 78488"/>
                  <a:gd name="connsiteX17" fmla="*/ 12291 w 108986"/>
                  <a:gd name="connsiteY17" fmla="*/ 13934 h 78488"/>
                  <a:gd name="connsiteX18" fmla="*/ 12598 w 108986"/>
                  <a:gd name="connsiteY18" fmla="*/ 13934 h 78488"/>
                  <a:gd name="connsiteX19" fmla="*/ 36435 w 108986"/>
                  <a:gd name="connsiteY19" fmla="*/ 11 h 78488"/>
                  <a:gd name="connsiteX20" fmla="*/ 58166 w 108986"/>
                  <a:gd name="connsiteY20" fmla="*/ 15884 h 78488"/>
                  <a:gd name="connsiteX21" fmla="*/ 83647 w 108986"/>
                  <a:gd name="connsiteY21" fmla="*/ 11 h 78488"/>
                  <a:gd name="connsiteX22" fmla="*/ 108986 w 108986"/>
                  <a:gd name="connsiteY22" fmla="*/ 31231 h 7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986" h="78488">
                    <a:moveTo>
                      <a:pt x="108953" y="78489"/>
                    </a:moveTo>
                    <a:lnTo>
                      <a:pt x="96662" y="78489"/>
                    </a:lnTo>
                    <a:lnTo>
                      <a:pt x="96662" y="34452"/>
                    </a:lnTo>
                    <a:cubicBezTo>
                      <a:pt x="97156" y="28060"/>
                      <a:pt x="95785" y="21662"/>
                      <a:pt x="92726" y="16027"/>
                    </a:cubicBezTo>
                    <a:cubicBezTo>
                      <a:pt x="89579" y="11989"/>
                      <a:pt x="84590" y="9843"/>
                      <a:pt x="79492" y="10341"/>
                    </a:cubicBezTo>
                    <a:cubicBezTo>
                      <a:pt x="74130" y="10414"/>
                      <a:pt x="69131" y="13095"/>
                      <a:pt x="66115" y="17527"/>
                    </a:cubicBezTo>
                    <a:cubicBezTo>
                      <a:pt x="62409" y="22490"/>
                      <a:pt x="60469" y="28555"/>
                      <a:pt x="60633" y="34748"/>
                    </a:cubicBezTo>
                    <a:lnTo>
                      <a:pt x="60633" y="78489"/>
                    </a:lnTo>
                    <a:lnTo>
                      <a:pt x="48342" y="78489"/>
                    </a:lnTo>
                    <a:lnTo>
                      <a:pt x="48342" y="32951"/>
                    </a:lnTo>
                    <a:cubicBezTo>
                      <a:pt x="48342" y="17878"/>
                      <a:pt x="42520" y="10341"/>
                      <a:pt x="30887" y="10341"/>
                    </a:cubicBezTo>
                    <a:cubicBezTo>
                      <a:pt x="25591" y="10283"/>
                      <a:pt x="20613" y="12816"/>
                      <a:pt x="17543" y="17122"/>
                    </a:cubicBezTo>
                    <a:cubicBezTo>
                      <a:pt x="13859" y="22241"/>
                      <a:pt x="12006" y="28450"/>
                      <a:pt x="12291" y="34748"/>
                    </a:cubicBezTo>
                    <a:lnTo>
                      <a:pt x="12291" y="78489"/>
                    </a:lnTo>
                    <a:lnTo>
                      <a:pt x="0" y="78489"/>
                    </a:lnTo>
                    <a:lnTo>
                      <a:pt x="0" y="1808"/>
                    </a:lnTo>
                    <a:lnTo>
                      <a:pt x="12291" y="1808"/>
                    </a:lnTo>
                    <a:lnTo>
                      <a:pt x="12291" y="13934"/>
                    </a:lnTo>
                    <a:lnTo>
                      <a:pt x="12598" y="13934"/>
                    </a:lnTo>
                    <a:cubicBezTo>
                      <a:pt x="17225" y="5124"/>
                      <a:pt x="26479" y="-279"/>
                      <a:pt x="36435" y="11"/>
                    </a:cubicBezTo>
                    <a:cubicBezTo>
                      <a:pt x="46434" y="-216"/>
                      <a:pt x="55348" y="6292"/>
                      <a:pt x="58166" y="15884"/>
                    </a:cubicBezTo>
                    <a:cubicBezTo>
                      <a:pt x="62749" y="6002"/>
                      <a:pt x="72749" y="-230"/>
                      <a:pt x="83647" y="11"/>
                    </a:cubicBezTo>
                    <a:cubicBezTo>
                      <a:pt x="100543" y="11"/>
                      <a:pt x="108986" y="10418"/>
                      <a:pt x="108986" y="3123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5" name="Freeform: Shape 184">
                <a:extLst>
                  <a:ext uri="{FF2B5EF4-FFF2-40B4-BE49-F238E27FC236}">
                    <a16:creationId xmlns:a16="http://schemas.microsoft.com/office/drawing/2014/main" id="{7BA2FEB0-6DAF-0592-34C9-0AE88684CA76}"/>
                  </a:ext>
                </a:extLst>
              </p:cNvPr>
              <p:cNvSpPr/>
              <p:nvPr/>
            </p:nvSpPr>
            <p:spPr>
              <a:xfrm>
                <a:off x="3694940" y="2600542"/>
                <a:ext cx="60663" cy="80326"/>
              </a:xfrm>
              <a:custGeom>
                <a:avLst/>
                <a:gdLst>
                  <a:gd name="connsiteX0" fmla="*/ 60653 w 60663"/>
                  <a:gd name="connsiteY0" fmla="*/ 78487 h 80326"/>
                  <a:gd name="connsiteX1" fmla="*/ 48362 w 60663"/>
                  <a:gd name="connsiteY1" fmla="*/ 78487 h 80326"/>
                  <a:gd name="connsiteX2" fmla="*/ 48362 w 60663"/>
                  <a:gd name="connsiteY2" fmla="*/ 66503 h 80326"/>
                  <a:gd name="connsiteX3" fmla="*/ 48055 w 60663"/>
                  <a:gd name="connsiteY3" fmla="*/ 66503 h 80326"/>
                  <a:gd name="connsiteX4" fmla="*/ 24449 w 60663"/>
                  <a:gd name="connsiteY4" fmla="*/ 80284 h 80326"/>
                  <a:gd name="connsiteX5" fmla="*/ 6489 w 60663"/>
                  <a:gd name="connsiteY5" fmla="*/ 74215 h 80326"/>
                  <a:gd name="connsiteX6" fmla="*/ 20 w 60663"/>
                  <a:gd name="connsiteY6" fmla="*/ 58112 h 80326"/>
                  <a:gd name="connsiteX7" fmla="*/ 25348 w 60663"/>
                  <a:gd name="connsiteY7" fmla="*/ 33103 h 80326"/>
                  <a:gd name="connsiteX8" fmla="*/ 48373 w 60663"/>
                  <a:gd name="connsiteY8" fmla="*/ 29882 h 80326"/>
                  <a:gd name="connsiteX9" fmla="*/ 32551 w 60663"/>
                  <a:gd name="connsiteY9" fmla="*/ 10339 h 80326"/>
                  <a:gd name="connsiteX10" fmla="*/ 7519 w 60663"/>
                  <a:gd name="connsiteY10" fmla="*/ 19771 h 80326"/>
                  <a:gd name="connsiteX11" fmla="*/ 7519 w 60663"/>
                  <a:gd name="connsiteY11" fmla="*/ 7195 h 80326"/>
                  <a:gd name="connsiteX12" fmla="*/ 33604 w 60663"/>
                  <a:gd name="connsiteY12" fmla="*/ 9 h 80326"/>
                  <a:gd name="connsiteX13" fmla="*/ 60664 w 60663"/>
                  <a:gd name="connsiteY13" fmla="*/ 28611 h 80326"/>
                  <a:gd name="connsiteX14" fmla="*/ 48362 w 60663"/>
                  <a:gd name="connsiteY14" fmla="*/ 39697 h 80326"/>
                  <a:gd name="connsiteX15" fmla="*/ 29843 w 60663"/>
                  <a:gd name="connsiteY15" fmla="*/ 42239 h 80326"/>
                  <a:gd name="connsiteX16" fmla="*/ 16960 w 60663"/>
                  <a:gd name="connsiteY16" fmla="*/ 46467 h 80326"/>
                  <a:gd name="connsiteX17" fmla="*/ 12574 w 60663"/>
                  <a:gd name="connsiteY17" fmla="*/ 57213 h 80326"/>
                  <a:gd name="connsiteX18" fmla="*/ 16576 w 60663"/>
                  <a:gd name="connsiteY18" fmla="*/ 66393 h 80326"/>
                  <a:gd name="connsiteX19" fmla="*/ 27267 w 60663"/>
                  <a:gd name="connsiteY19" fmla="*/ 69943 h 80326"/>
                  <a:gd name="connsiteX20" fmla="*/ 42419 w 60663"/>
                  <a:gd name="connsiteY20" fmla="*/ 63545 h 80326"/>
                  <a:gd name="connsiteX21" fmla="*/ 48384 w 60663"/>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7"/>
                    </a:moveTo>
                    <a:lnTo>
                      <a:pt x="48362" y="78487"/>
                    </a:lnTo>
                    <a:lnTo>
                      <a:pt x="48362" y="66503"/>
                    </a:lnTo>
                    <a:lnTo>
                      <a:pt x="48055" y="66503"/>
                    </a:lnTo>
                    <a:cubicBezTo>
                      <a:pt x="43483" y="75235"/>
                      <a:pt x="34306" y="80586"/>
                      <a:pt x="24449" y="80284"/>
                    </a:cubicBezTo>
                    <a:cubicBezTo>
                      <a:pt x="17903" y="80665"/>
                      <a:pt x="11456" y="78488"/>
                      <a:pt x="6489" y="74215"/>
                    </a:cubicBezTo>
                    <a:cubicBezTo>
                      <a:pt x="2114" y="70026"/>
                      <a:pt x="-243" y="64159"/>
                      <a:pt x="20" y="58112"/>
                    </a:cubicBezTo>
                    <a:cubicBezTo>
                      <a:pt x="20" y="43783"/>
                      <a:pt x="8463" y="35447"/>
                      <a:pt x="25348" y="33103"/>
                    </a:cubicBezTo>
                    <a:lnTo>
                      <a:pt x="48373" y="29882"/>
                    </a:lnTo>
                    <a:cubicBezTo>
                      <a:pt x="48373" y="16854"/>
                      <a:pt x="43099" y="10339"/>
                      <a:pt x="32551" y="10339"/>
                    </a:cubicBezTo>
                    <a:cubicBezTo>
                      <a:pt x="23330" y="10328"/>
                      <a:pt x="14438" y="13683"/>
                      <a:pt x="7519" y="19771"/>
                    </a:cubicBezTo>
                    <a:lnTo>
                      <a:pt x="7519" y="7195"/>
                    </a:lnTo>
                    <a:cubicBezTo>
                      <a:pt x="15337" y="2325"/>
                      <a:pt x="24394" y="-172"/>
                      <a:pt x="33604" y="9"/>
                    </a:cubicBezTo>
                    <a:cubicBezTo>
                      <a:pt x="51640" y="9"/>
                      <a:pt x="60653" y="9543"/>
                      <a:pt x="60664" y="28611"/>
                    </a:cubicBezTo>
                    <a:close/>
                    <a:moveTo>
                      <a:pt x="48362" y="39697"/>
                    </a:moveTo>
                    <a:lnTo>
                      <a:pt x="29843" y="42239"/>
                    </a:lnTo>
                    <a:cubicBezTo>
                      <a:pt x="25282" y="42649"/>
                      <a:pt x="20874" y="44097"/>
                      <a:pt x="16960" y="46467"/>
                    </a:cubicBezTo>
                    <a:cubicBezTo>
                      <a:pt x="13780" y="49080"/>
                      <a:pt x="12125" y="53121"/>
                      <a:pt x="12574" y="57213"/>
                    </a:cubicBezTo>
                    <a:cubicBezTo>
                      <a:pt x="12476" y="60717"/>
                      <a:pt x="13934" y="64083"/>
                      <a:pt x="16576" y="66393"/>
                    </a:cubicBezTo>
                    <a:cubicBezTo>
                      <a:pt x="19569" y="68871"/>
                      <a:pt x="23385" y="70138"/>
                      <a:pt x="27267" y="69943"/>
                    </a:cubicBezTo>
                    <a:cubicBezTo>
                      <a:pt x="33012" y="70116"/>
                      <a:pt x="38538" y="67779"/>
                      <a:pt x="42419" y="63545"/>
                    </a:cubicBezTo>
                    <a:cubicBezTo>
                      <a:pt x="46454" y="59126"/>
                      <a:pt x="48592" y="53307"/>
                      <a:pt x="48384" y="473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6" name="Freeform: Shape 185">
                <a:extLst>
                  <a:ext uri="{FF2B5EF4-FFF2-40B4-BE49-F238E27FC236}">
                    <a16:creationId xmlns:a16="http://schemas.microsoft.com/office/drawing/2014/main" id="{6859A243-4E20-D881-F727-D692E466D33A}"/>
                  </a:ext>
                </a:extLst>
              </p:cNvPr>
              <p:cNvSpPr/>
              <p:nvPr/>
            </p:nvSpPr>
            <p:spPr>
              <a:xfrm>
                <a:off x="3768465" y="2579650"/>
                <a:ext cx="44789" cy="101044"/>
              </a:xfrm>
              <a:custGeom>
                <a:avLst/>
                <a:gdLst>
                  <a:gd name="connsiteX0" fmla="*/ 44789 w 44789"/>
                  <a:gd name="connsiteY0" fmla="*/ 98623 h 101044"/>
                  <a:gd name="connsiteX1" fmla="*/ 33321 w 44789"/>
                  <a:gd name="connsiteY1" fmla="*/ 101022 h 101044"/>
                  <a:gd name="connsiteX2" fmla="*/ 13157 w 44789"/>
                  <a:gd name="connsiteY2" fmla="*/ 78554 h 101044"/>
                  <a:gd name="connsiteX3" fmla="*/ 13157 w 44789"/>
                  <a:gd name="connsiteY3" fmla="*/ 33181 h 101044"/>
                  <a:gd name="connsiteX4" fmla="*/ 0 w 44789"/>
                  <a:gd name="connsiteY4" fmla="*/ 33181 h 101044"/>
                  <a:gd name="connsiteX5" fmla="*/ 0 w 44789"/>
                  <a:gd name="connsiteY5" fmla="*/ 22698 h 101044"/>
                  <a:gd name="connsiteX6" fmla="*/ 13157 w 44789"/>
                  <a:gd name="connsiteY6" fmla="*/ 22698 h 101044"/>
                  <a:gd name="connsiteX7" fmla="*/ 13157 w 44789"/>
                  <a:gd name="connsiteY7" fmla="*/ 3976 h 101044"/>
                  <a:gd name="connsiteX8" fmla="*/ 25448 w 44789"/>
                  <a:gd name="connsiteY8" fmla="*/ 0 h 101044"/>
                  <a:gd name="connsiteX9" fmla="*/ 25448 w 44789"/>
                  <a:gd name="connsiteY9" fmla="*/ 22698 h 101044"/>
                  <a:gd name="connsiteX10" fmla="*/ 44789 w 44789"/>
                  <a:gd name="connsiteY10" fmla="*/ 22698 h 101044"/>
                  <a:gd name="connsiteX11" fmla="*/ 44789 w 44789"/>
                  <a:gd name="connsiteY11" fmla="*/ 33181 h 101044"/>
                  <a:gd name="connsiteX12" fmla="*/ 25448 w 44789"/>
                  <a:gd name="connsiteY12" fmla="*/ 33181 h 101044"/>
                  <a:gd name="connsiteX13" fmla="*/ 25448 w 44789"/>
                  <a:gd name="connsiteY13" fmla="*/ 76386 h 101044"/>
                  <a:gd name="connsiteX14" fmla="*/ 28069 w 44789"/>
                  <a:gd name="connsiteY14" fmla="*/ 87395 h 101044"/>
                  <a:gd name="connsiteX15" fmla="*/ 36764 w 44789"/>
                  <a:gd name="connsiteY15" fmla="*/ 90681 h 101044"/>
                  <a:gd name="connsiteX16" fmla="*/ 44789 w 44789"/>
                  <a:gd name="connsiteY16" fmla="*/ 88129 h 10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4">
                    <a:moveTo>
                      <a:pt x="44789" y="98623"/>
                    </a:moveTo>
                    <a:cubicBezTo>
                      <a:pt x="41226" y="100368"/>
                      <a:pt x="37279" y="101193"/>
                      <a:pt x="33321" y="101022"/>
                    </a:cubicBezTo>
                    <a:cubicBezTo>
                      <a:pt x="19867" y="101022"/>
                      <a:pt x="13146" y="93533"/>
                      <a:pt x="13157" y="78554"/>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448" y="33181"/>
                    </a:lnTo>
                    <a:lnTo>
                      <a:pt x="25448" y="76386"/>
                    </a:lnTo>
                    <a:cubicBezTo>
                      <a:pt x="25109" y="80241"/>
                      <a:pt x="26029" y="84105"/>
                      <a:pt x="28069" y="87395"/>
                    </a:cubicBezTo>
                    <a:cubicBezTo>
                      <a:pt x="30295" y="89789"/>
                      <a:pt x="33507" y="91005"/>
                      <a:pt x="36764" y="90681"/>
                    </a:cubicBezTo>
                    <a:cubicBezTo>
                      <a:pt x="39647" y="90748"/>
                      <a:pt x="42476" y="89850"/>
                      <a:pt x="44789" y="8812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7" name="Freeform: Shape 186">
                <a:extLst>
                  <a:ext uri="{FF2B5EF4-FFF2-40B4-BE49-F238E27FC236}">
                    <a16:creationId xmlns:a16="http://schemas.microsoft.com/office/drawing/2014/main" id="{BABD926E-F947-C25D-65F5-C6C07229AB6F}"/>
                  </a:ext>
                </a:extLst>
              </p:cNvPr>
              <p:cNvSpPr/>
              <p:nvPr/>
            </p:nvSpPr>
            <p:spPr>
              <a:xfrm>
                <a:off x="3826738" y="2566974"/>
                <a:ext cx="16043" cy="112054"/>
              </a:xfrm>
              <a:custGeom>
                <a:avLst/>
                <a:gdLst>
                  <a:gd name="connsiteX0" fmla="*/ 7953 w 16043"/>
                  <a:gd name="connsiteY0" fmla="*/ 15896 h 112054"/>
                  <a:gd name="connsiteX1" fmla="*/ 2328 w 16043"/>
                  <a:gd name="connsiteY1" fmla="*/ 13706 h 112054"/>
                  <a:gd name="connsiteX2" fmla="*/ 4 w 16043"/>
                  <a:gd name="connsiteY2" fmla="*/ 8020 h 112054"/>
                  <a:gd name="connsiteX3" fmla="*/ 7744 w 16043"/>
                  <a:gd name="connsiteY3" fmla="*/ 3 h 112054"/>
                  <a:gd name="connsiteX4" fmla="*/ 7953 w 16043"/>
                  <a:gd name="connsiteY4" fmla="*/ 2 h 112054"/>
                  <a:gd name="connsiteX5" fmla="*/ 13676 w 16043"/>
                  <a:gd name="connsiteY5" fmla="*/ 2291 h 112054"/>
                  <a:gd name="connsiteX6" fmla="*/ 13731 w 16043"/>
                  <a:gd name="connsiteY6" fmla="*/ 13569 h 112054"/>
                  <a:gd name="connsiteX7" fmla="*/ 13676 w 16043"/>
                  <a:gd name="connsiteY7" fmla="*/ 13629 h 112054"/>
                  <a:gd name="connsiteX8" fmla="*/ 7953 w 16043"/>
                  <a:gd name="connsiteY8" fmla="*/ 15896 h 112054"/>
                  <a:gd name="connsiteX9" fmla="*/ 13950 w 16043"/>
                  <a:gd name="connsiteY9" fmla="*/ 112055 h 112054"/>
                  <a:gd name="connsiteX10" fmla="*/ 1626 w 16043"/>
                  <a:gd name="connsiteY10" fmla="*/ 112055 h 112054"/>
                  <a:gd name="connsiteX11" fmla="*/ 1626 w 16043"/>
                  <a:gd name="connsiteY11" fmla="*/ 35373 h 112054"/>
                  <a:gd name="connsiteX12" fmla="*/ 13917 w 16043"/>
                  <a:gd name="connsiteY12" fmla="*/ 35373 h 11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3" h="112054">
                    <a:moveTo>
                      <a:pt x="7953" y="15896"/>
                    </a:moveTo>
                    <a:cubicBezTo>
                      <a:pt x="5859" y="15953"/>
                      <a:pt x="3830" y="15164"/>
                      <a:pt x="2328" y="13706"/>
                    </a:cubicBezTo>
                    <a:cubicBezTo>
                      <a:pt x="782" y="12224"/>
                      <a:pt x="-62" y="10158"/>
                      <a:pt x="4" y="8020"/>
                    </a:cubicBezTo>
                    <a:cubicBezTo>
                      <a:pt x="-73" y="3671"/>
                      <a:pt x="3391" y="81"/>
                      <a:pt x="7744" y="3"/>
                    </a:cubicBezTo>
                    <a:cubicBezTo>
                      <a:pt x="7810" y="2"/>
                      <a:pt x="7887" y="0"/>
                      <a:pt x="7953" y="2"/>
                    </a:cubicBezTo>
                    <a:cubicBezTo>
                      <a:pt x="10091" y="-40"/>
                      <a:pt x="12152" y="786"/>
                      <a:pt x="13676" y="2291"/>
                    </a:cubicBezTo>
                    <a:cubicBezTo>
                      <a:pt x="16812" y="5389"/>
                      <a:pt x="16834" y="10438"/>
                      <a:pt x="13731" y="13569"/>
                    </a:cubicBezTo>
                    <a:cubicBezTo>
                      <a:pt x="13720" y="13589"/>
                      <a:pt x="13698" y="13609"/>
                      <a:pt x="13676" y="13629"/>
                    </a:cubicBezTo>
                    <a:cubicBezTo>
                      <a:pt x="12152" y="15132"/>
                      <a:pt x="10091" y="15951"/>
                      <a:pt x="7953" y="15896"/>
                    </a:cubicBezTo>
                    <a:close/>
                    <a:moveTo>
                      <a:pt x="13950" y="112055"/>
                    </a:moveTo>
                    <a:lnTo>
                      <a:pt x="1626" y="112055"/>
                    </a:lnTo>
                    <a:lnTo>
                      <a:pt x="1626" y="35373"/>
                    </a:lnTo>
                    <a:lnTo>
                      <a:pt x="13917" y="35373"/>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8" name="Freeform: Shape 187">
                <a:extLst>
                  <a:ext uri="{FF2B5EF4-FFF2-40B4-BE49-F238E27FC236}">
                    <a16:creationId xmlns:a16="http://schemas.microsoft.com/office/drawing/2014/main" id="{0760FC12-68FF-364E-85A2-9FB26D6EA057}"/>
                  </a:ext>
                </a:extLst>
              </p:cNvPr>
              <p:cNvSpPr/>
              <p:nvPr/>
            </p:nvSpPr>
            <p:spPr>
              <a:xfrm>
                <a:off x="3859145" y="2600508"/>
                <a:ext cx="75659" cy="80356"/>
              </a:xfrm>
              <a:custGeom>
                <a:avLst/>
                <a:gdLst>
                  <a:gd name="connsiteX0" fmla="*/ 37396 w 75659"/>
                  <a:gd name="connsiteY0" fmla="*/ 80318 h 80356"/>
                  <a:gd name="connsiteX1" fmla="*/ 10226 w 75659"/>
                  <a:gd name="connsiteY1" fmla="*/ 69571 h 80356"/>
                  <a:gd name="connsiteX2" fmla="*/ 73 w 75659"/>
                  <a:gd name="connsiteY2" fmla="*/ 41090 h 80356"/>
                  <a:gd name="connsiteX3" fmla="*/ 10643 w 75659"/>
                  <a:gd name="connsiteY3" fmla="*/ 10910 h 80356"/>
                  <a:gd name="connsiteX4" fmla="*/ 39150 w 75659"/>
                  <a:gd name="connsiteY4" fmla="*/ 54 h 80356"/>
                  <a:gd name="connsiteX5" fmla="*/ 65947 w 75659"/>
                  <a:gd name="connsiteY5" fmla="*/ 10603 h 80356"/>
                  <a:gd name="connsiteX6" fmla="*/ 75585 w 75659"/>
                  <a:gd name="connsiteY6" fmla="*/ 39885 h 80356"/>
                  <a:gd name="connsiteX7" fmla="*/ 65191 w 75659"/>
                  <a:gd name="connsiteY7" fmla="*/ 69275 h 80356"/>
                  <a:gd name="connsiteX8" fmla="*/ 37396 w 75659"/>
                  <a:gd name="connsiteY8" fmla="*/ 80318 h 80356"/>
                  <a:gd name="connsiteX9" fmla="*/ 38295 w 75659"/>
                  <a:gd name="connsiteY9" fmla="*/ 10373 h 80356"/>
                  <a:gd name="connsiteX10" fmla="*/ 19557 w 75659"/>
                  <a:gd name="connsiteY10" fmla="*/ 18425 h 80356"/>
                  <a:gd name="connsiteX11" fmla="*/ 12660 w 75659"/>
                  <a:gd name="connsiteY11" fmla="*/ 40629 h 80356"/>
                  <a:gd name="connsiteX12" fmla="*/ 19634 w 75659"/>
                  <a:gd name="connsiteY12" fmla="*/ 62122 h 80356"/>
                  <a:gd name="connsiteX13" fmla="*/ 38273 w 75659"/>
                  <a:gd name="connsiteY13" fmla="*/ 69976 h 80356"/>
                  <a:gd name="connsiteX14" fmla="*/ 56595 w 75659"/>
                  <a:gd name="connsiteY14" fmla="*/ 62308 h 80356"/>
                  <a:gd name="connsiteX15" fmla="*/ 63009 w 75659"/>
                  <a:gd name="connsiteY15" fmla="*/ 40399 h 80356"/>
                  <a:gd name="connsiteX16" fmla="*/ 56595 w 75659"/>
                  <a:gd name="connsiteY16" fmla="*/ 18239 h 80356"/>
                  <a:gd name="connsiteX17" fmla="*/ 38295 w 75659"/>
                  <a:gd name="connsiteY17" fmla="*/ 10373 h 8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9" h="80356">
                    <a:moveTo>
                      <a:pt x="37396" y="80318"/>
                    </a:moveTo>
                    <a:cubicBezTo>
                      <a:pt x="27221" y="80785"/>
                      <a:pt x="17331" y="76872"/>
                      <a:pt x="10226" y="69571"/>
                    </a:cubicBezTo>
                    <a:cubicBezTo>
                      <a:pt x="3231" y="61779"/>
                      <a:pt x="-420" y="51548"/>
                      <a:pt x="73" y="41090"/>
                    </a:cubicBezTo>
                    <a:cubicBezTo>
                      <a:pt x="-585" y="30022"/>
                      <a:pt x="3220" y="19152"/>
                      <a:pt x="10643" y="10910"/>
                    </a:cubicBezTo>
                    <a:cubicBezTo>
                      <a:pt x="18208" y="3471"/>
                      <a:pt x="28547" y="-465"/>
                      <a:pt x="39150" y="54"/>
                    </a:cubicBezTo>
                    <a:cubicBezTo>
                      <a:pt x="49193" y="-509"/>
                      <a:pt x="58985" y="3345"/>
                      <a:pt x="65947" y="10603"/>
                    </a:cubicBezTo>
                    <a:cubicBezTo>
                      <a:pt x="72767" y="18784"/>
                      <a:pt x="76221" y="29254"/>
                      <a:pt x="75585" y="39885"/>
                    </a:cubicBezTo>
                    <a:cubicBezTo>
                      <a:pt x="76111" y="50665"/>
                      <a:pt x="72383" y="61219"/>
                      <a:pt x="65191" y="69275"/>
                    </a:cubicBezTo>
                    <a:cubicBezTo>
                      <a:pt x="57943" y="76775"/>
                      <a:pt x="47823" y="80797"/>
                      <a:pt x="37396" y="80318"/>
                    </a:cubicBezTo>
                    <a:close/>
                    <a:moveTo>
                      <a:pt x="38295" y="10373"/>
                    </a:moveTo>
                    <a:cubicBezTo>
                      <a:pt x="31146" y="10049"/>
                      <a:pt x="24238" y="13017"/>
                      <a:pt x="19557" y="18425"/>
                    </a:cubicBezTo>
                    <a:cubicBezTo>
                      <a:pt x="14645" y="24747"/>
                      <a:pt x="12189" y="32637"/>
                      <a:pt x="12660" y="40629"/>
                    </a:cubicBezTo>
                    <a:cubicBezTo>
                      <a:pt x="12221" y="48412"/>
                      <a:pt x="14711" y="56076"/>
                      <a:pt x="19634" y="62122"/>
                    </a:cubicBezTo>
                    <a:cubicBezTo>
                      <a:pt x="24359" y="67390"/>
                      <a:pt x="31201" y="70271"/>
                      <a:pt x="38273" y="69976"/>
                    </a:cubicBezTo>
                    <a:cubicBezTo>
                      <a:pt x="45246" y="70405"/>
                      <a:pt x="52011" y="67571"/>
                      <a:pt x="56595" y="62308"/>
                    </a:cubicBezTo>
                    <a:cubicBezTo>
                      <a:pt x="61243" y="55983"/>
                      <a:pt x="63513" y="48227"/>
                      <a:pt x="63009" y="40399"/>
                    </a:cubicBezTo>
                    <a:cubicBezTo>
                      <a:pt x="63524" y="32491"/>
                      <a:pt x="61254" y="24651"/>
                      <a:pt x="56595" y="18239"/>
                    </a:cubicBezTo>
                    <a:cubicBezTo>
                      <a:pt x="52066" y="12895"/>
                      <a:pt x="45290" y="9983"/>
                      <a:pt x="38295" y="1037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9" name="Freeform: Shape 188">
                <a:extLst>
                  <a:ext uri="{FF2B5EF4-FFF2-40B4-BE49-F238E27FC236}">
                    <a16:creationId xmlns:a16="http://schemas.microsoft.com/office/drawing/2014/main" id="{59DDF9E7-19CF-BD47-1043-D71FFD7068C3}"/>
                  </a:ext>
                </a:extLst>
              </p:cNvPr>
              <p:cNvSpPr/>
              <p:nvPr/>
            </p:nvSpPr>
            <p:spPr>
              <a:xfrm>
                <a:off x="3953577" y="2600550"/>
                <a:ext cx="63819" cy="78522"/>
              </a:xfrm>
              <a:custGeom>
                <a:avLst/>
                <a:gdLst>
                  <a:gd name="connsiteX0" fmla="*/ 63703 w 63819"/>
                  <a:gd name="connsiteY0" fmla="*/ 78479 h 78522"/>
                  <a:gd name="connsiteX1" fmla="*/ 51412 w 63819"/>
                  <a:gd name="connsiteY1" fmla="*/ 78479 h 78522"/>
                  <a:gd name="connsiteX2" fmla="*/ 51412 w 63819"/>
                  <a:gd name="connsiteY2" fmla="*/ 34738 h 78522"/>
                  <a:gd name="connsiteX3" fmla="*/ 33573 w 63819"/>
                  <a:gd name="connsiteY3" fmla="*/ 10331 h 78522"/>
                  <a:gd name="connsiteX4" fmla="*/ 18321 w 63819"/>
                  <a:gd name="connsiteY4" fmla="*/ 17254 h 78522"/>
                  <a:gd name="connsiteX5" fmla="*/ 12291 w 63819"/>
                  <a:gd name="connsiteY5" fmla="*/ 34782 h 78522"/>
                  <a:gd name="connsiteX6" fmla="*/ 12291 w 63819"/>
                  <a:gd name="connsiteY6" fmla="*/ 78523 h 78522"/>
                  <a:gd name="connsiteX7" fmla="*/ 0 w 63819"/>
                  <a:gd name="connsiteY7" fmla="*/ 78523 h 78522"/>
                  <a:gd name="connsiteX8" fmla="*/ 0 w 63819"/>
                  <a:gd name="connsiteY8" fmla="*/ 1841 h 78522"/>
                  <a:gd name="connsiteX9" fmla="*/ 12291 w 63819"/>
                  <a:gd name="connsiteY9" fmla="*/ 1841 h 78522"/>
                  <a:gd name="connsiteX10" fmla="*/ 12291 w 63819"/>
                  <a:gd name="connsiteY10" fmla="*/ 14571 h 78522"/>
                  <a:gd name="connsiteX11" fmla="*/ 12587 w 63819"/>
                  <a:gd name="connsiteY11" fmla="*/ 14571 h 78522"/>
                  <a:gd name="connsiteX12" fmla="*/ 37805 w 63819"/>
                  <a:gd name="connsiteY12" fmla="*/ 45 h 78522"/>
                  <a:gd name="connsiteX13" fmla="*/ 57070 w 63819"/>
                  <a:gd name="connsiteY13" fmla="*/ 8162 h 78522"/>
                  <a:gd name="connsiteX14" fmla="*/ 63736 w 63819"/>
                  <a:gd name="connsiteY14" fmla="*/ 31638 h 7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22">
                    <a:moveTo>
                      <a:pt x="63703" y="78479"/>
                    </a:moveTo>
                    <a:lnTo>
                      <a:pt x="51412" y="78479"/>
                    </a:lnTo>
                    <a:lnTo>
                      <a:pt x="51412" y="34738"/>
                    </a:lnTo>
                    <a:cubicBezTo>
                      <a:pt x="51412" y="18474"/>
                      <a:pt x="45469" y="10339"/>
                      <a:pt x="33573" y="10331"/>
                    </a:cubicBezTo>
                    <a:cubicBezTo>
                      <a:pt x="27696" y="10208"/>
                      <a:pt x="22093" y="12755"/>
                      <a:pt x="18321" y="17254"/>
                    </a:cubicBezTo>
                    <a:cubicBezTo>
                      <a:pt x="14199" y="22143"/>
                      <a:pt x="12050" y="28393"/>
                      <a:pt x="12291" y="34782"/>
                    </a:cubicBezTo>
                    <a:lnTo>
                      <a:pt x="12291" y="78523"/>
                    </a:lnTo>
                    <a:lnTo>
                      <a:pt x="0" y="78523"/>
                    </a:lnTo>
                    <a:lnTo>
                      <a:pt x="0" y="1841"/>
                    </a:lnTo>
                    <a:lnTo>
                      <a:pt x="12291" y="1841"/>
                    </a:lnTo>
                    <a:lnTo>
                      <a:pt x="12291" y="14571"/>
                    </a:lnTo>
                    <a:lnTo>
                      <a:pt x="12587" y="14571"/>
                    </a:lnTo>
                    <a:cubicBezTo>
                      <a:pt x="17565" y="5350"/>
                      <a:pt x="27323" y="-273"/>
                      <a:pt x="37805" y="45"/>
                    </a:cubicBezTo>
                    <a:cubicBezTo>
                      <a:pt x="45140" y="-409"/>
                      <a:pt x="52267" y="2595"/>
                      <a:pt x="57070" y="8162"/>
                    </a:cubicBezTo>
                    <a:cubicBezTo>
                      <a:pt x="61949" y="14979"/>
                      <a:pt x="64306" y="23277"/>
                      <a:pt x="63736" y="3163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0" name="Freeform: Shape 189">
                <a:extLst>
                  <a:ext uri="{FF2B5EF4-FFF2-40B4-BE49-F238E27FC236}">
                    <a16:creationId xmlns:a16="http://schemas.microsoft.com/office/drawing/2014/main" id="{C6BC1E14-96EE-0CA9-F06C-A32E9BA73778}"/>
                  </a:ext>
                </a:extLst>
              </p:cNvPr>
              <p:cNvSpPr/>
              <p:nvPr/>
            </p:nvSpPr>
            <p:spPr>
              <a:xfrm>
                <a:off x="4076775" y="2600542"/>
                <a:ext cx="60663" cy="80326"/>
              </a:xfrm>
              <a:custGeom>
                <a:avLst/>
                <a:gdLst>
                  <a:gd name="connsiteX0" fmla="*/ 60653 w 60663"/>
                  <a:gd name="connsiteY0" fmla="*/ 78487 h 80326"/>
                  <a:gd name="connsiteX1" fmla="*/ 48362 w 60663"/>
                  <a:gd name="connsiteY1" fmla="*/ 78487 h 80326"/>
                  <a:gd name="connsiteX2" fmla="*/ 48362 w 60663"/>
                  <a:gd name="connsiteY2" fmla="*/ 66503 h 80326"/>
                  <a:gd name="connsiteX3" fmla="*/ 48066 w 60663"/>
                  <a:gd name="connsiteY3" fmla="*/ 66503 h 80326"/>
                  <a:gd name="connsiteX4" fmla="*/ 24448 w 60663"/>
                  <a:gd name="connsiteY4" fmla="*/ 80283 h 80326"/>
                  <a:gd name="connsiteX5" fmla="*/ 6511 w 60663"/>
                  <a:gd name="connsiteY5" fmla="*/ 74215 h 80326"/>
                  <a:gd name="connsiteX6" fmla="*/ 20 w 60663"/>
                  <a:gd name="connsiteY6" fmla="*/ 58111 h 80326"/>
                  <a:gd name="connsiteX7" fmla="*/ 25348 w 60663"/>
                  <a:gd name="connsiteY7" fmla="*/ 33102 h 80326"/>
                  <a:gd name="connsiteX8" fmla="*/ 48373 w 60663"/>
                  <a:gd name="connsiteY8" fmla="*/ 29882 h 80326"/>
                  <a:gd name="connsiteX9" fmla="*/ 32562 w 60663"/>
                  <a:gd name="connsiteY9" fmla="*/ 10339 h 80326"/>
                  <a:gd name="connsiteX10" fmla="*/ 7519 w 60663"/>
                  <a:gd name="connsiteY10" fmla="*/ 19771 h 80326"/>
                  <a:gd name="connsiteX11" fmla="*/ 7519 w 60663"/>
                  <a:gd name="connsiteY11" fmla="*/ 7195 h 80326"/>
                  <a:gd name="connsiteX12" fmla="*/ 33604 w 60663"/>
                  <a:gd name="connsiteY12" fmla="*/ 9 h 80326"/>
                  <a:gd name="connsiteX13" fmla="*/ 60664 w 60663"/>
                  <a:gd name="connsiteY13" fmla="*/ 28611 h 80326"/>
                  <a:gd name="connsiteX14" fmla="*/ 48362 w 60663"/>
                  <a:gd name="connsiteY14" fmla="*/ 39697 h 80326"/>
                  <a:gd name="connsiteX15" fmla="*/ 29854 w 60663"/>
                  <a:gd name="connsiteY15" fmla="*/ 42238 h 80326"/>
                  <a:gd name="connsiteX16" fmla="*/ 16960 w 60663"/>
                  <a:gd name="connsiteY16" fmla="*/ 46467 h 80326"/>
                  <a:gd name="connsiteX17" fmla="*/ 12574 w 60663"/>
                  <a:gd name="connsiteY17" fmla="*/ 57213 h 80326"/>
                  <a:gd name="connsiteX18" fmla="*/ 16587 w 60663"/>
                  <a:gd name="connsiteY18" fmla="*/ 66393 h 80326"/>
                  <a:gd name="connsiteX19" fmla="*/ 27266 w 60663"/>
                  <a:gd name="connsiteY19" fmla="*/ 69942 h 80326"/>
                  <a:gd name="connsiteX20" fmla="*/ 42375 w 60663"/>
                  <a:gd name="connsiteY20" fmla="*/ 63545 h 80326"/>
                  <a:gd name="connsiteX21" fmla="*/ 48329 w 60663"/>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7"/>
                    </a:moveTo>
                    <a:lnTo>
                      <a:pt x="48362" y="78487"/>
                    </a:lnTo>
                    <a:lnTo>
                      <a:pt x="48362" y="66503"/>
                    </a:lnTo>
                    <a:lnTo>
                      <a:pt x="48066" y="66503"/>
                    </a:lnTo>
                    <a:cubicBezTo>
                      <a:pt x="43494" y="75240"/>
                      <a:pt x="34316" y="80593"/>
                      <a:pt x="24448" y="80283"/>
                    </a:cubicBezTo>
                    <a:cubicBezTo>
                      <a:pt x="17903" y="80666"/>
                      <a:pt x="11477" y="78489"/>
                      <a:pt x="6511" y="74215"/>
                    </a:cubicBezTo>
                    <a:cubicBezTo>
                      <a:pt x="2125" y="70034"/>
                      <a:pt x="-243" y="64164"/>
                      <a:pt x="20" y="58111"/>
                    </a:cubicBezTo>
                    <a:cubicBezTo>
                      <a:pt x="20" y="43783"/>
                      <a:pt x="8462" y="35447"/>
                      <a:pt x="25348" y="33102"/>
                    </a:cubicBezTo>
                    <a:lnTo>
                      <a:pt x="48373" y="29882"/>
                    </a:lnTo>
                    <a:cubicBezTo>
                      <a:pt x="48373" y="16854"/>
                      <a:pt x="43099" y="10339"/>
                      <a:pt x="32562" y="10339"/>
                    </a:cubicBezTo>
                    <a:cubicBezTo>
                      <a:pt x="23341" y="10330"/>
                      <a:pt x="14438" y="13683"/>
                      <a:pt x="7519" y="19771"/>
                    </a:cubicBezTo>
                    <a:lnTo>
                      <a:pt x="7519" y="7195"/>
                    </a:lnTo>
                    <a:cubicBezTo>
                      <a:pt x="15337" y="2327"/>
                      <a:pt x="24394" y="-170"/>
                      <a:pt x="33604" y="9"/>
                    </a:cubicBezTo>
                    <a:cubicBezTo>
                      <a:pt x="51651" y="9"/>
                      <a:pt x="60675" y="9543"/>
                      <a:pt x="60664" y="28611"/>
                    </a:cubicBezTo>
                    <a:close/>
                    <a:moveTo>
                      <a:pt x="48362" y="39697"/>
                    </a:moveTo>
                    <a:lnTo>
                      <a:pt x="29854" y="42238"/>
                    </a:lnTo>
                    <a:cubicBezTo>
                      <a:pt x="25293" y="42650"/>
                      <a:pt x="20885" y="44096"/>
                      <a:pt x="16960" y="46467"/>
                    </a:cubicBezTo>
                    <a:cubicBezTo>
                      <a:pt x="13780" y="49083"/>
                      <a:pt x="12135" y="53122"/>
                      <a:pt x="12574" y="57213"/>
                    </a:cubicBezTo>
                    <a:cubicBezTo>
                      <a:pt x="12464" y="60719"/>
                      <a:pt x="13944" y="64087"/>
                      <a:pt x="16587" y="66393"/>
                    </a:cubicBezTo>
                    <a:cubicBezTo>
                      <a:pt x="19580" y="68869"/>
                      <a:pt x="23385" y="70135"/>
                      <a:pt x="27266" y="69942"/>
                    </a:cubicBezTo>
                    <a:cubicBezTo>
                      <a:pt x="32990" y="70102"/>
                      <a:pt x="38505" y="67768"/>
                      <a:pt x="42375" y="63545"/>
                    </a:cubicBezTo>
                    <a:cubicBezTo>
                      <a:pt x="46399" y="59125"/>
                      <a:pt x="48537" y="53306"/>
                      <a:pt x="48329" y="473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1" name="Freeform: Shape 190">
                <a:extLst>
                  <a:ext uri="{FF2B5EF4-FFF2-40B4-BE49-F238E27FC236}">
                    <a16:creationId xmlns:a16="http://schemas.microsoft.com/office/drawing/2014/main" id="{251400A9-F349-9EA6-C39B-5C6AF70F8166}"/>
                  </a:ext>
                </a:extLst>
              </p:cNvPr>
              <p:cNvSpPr/>
              <p:nvPr/>
            </p:nvSpPr>
            <p:spPr>
              <a:xfrm>
                <a:off x="4159598" y="2600550"/>
                <a:ext cx="63816" cy="78522"/>
              </a:xfrm>
              <a:custGeom>
                <a:avLst/>
                <a:gdLst>
                  <a:gd name="connsiteX0" fmla="*/ 63703 w 63816"/>
                  <a:gd name="connsiteY0" fmla="*/ 78479 h 78522"/>
                  <a:gd name="connsiteX1" fmla="*/ 51423 w 63816"/>
                  <a:gd name="connsiteY1" fmla="*/ 78479 h 78522"/>
                  <a:gd name="connsiteX2" fmla="*/ 51423 w 63816"/>
                  <a:gd name="connsiteY2" fmla="*/ 34738 h 78522"/>
                  <a:gd name="connsiteX3" fmla="*/ 33584 w 63816"/>
                  <a:gd name="connsiteY3" fmla="*/ 10331 h 78522"/>
                  <a:gd name="connsiteX4" fmla="*/ 18321 w 63816"/>
                  <a:gd name="connsiteY4" fmla="*/ 17254 h 78522"/>
                  <a:gd name="connsiteX5" fmla="*/ 12302 w 63816"/>
                  <a:gd name="connsiteY5" fmla="*/ 34782 h 78522"/>
                  <a:gd name="connsiteX6" fmla="*/ 12302 w 63816"/>
                  <a:gd name="connsiteY6" fmla="*/ 78523 h 78522"/>
                  <a:gd name="connsiteX7" fmla="*/ 0 w 63816"/>
                  <a:gd name="connsiteY7" fmla="*/ 78523 h 78522"/>
                  <a:gd name="connsiteX8" fmla="*/ 0 w 63816"/>
                  <a:gd name="connsiteY8" fmla="*/ 1841 h 78522"/>
                  <a:gd name="connsiteX9" fmla="*/ 12291 w 63816"/>
                  <a:gd name="connsiteY9" fmla="*/ 1841 h 78522"/>
                  <a:gd name="connsiteX10" fmla="*/ 12291 w 63816"/>
                  <a:gd name="connsiteY10" fmla="*/ 14571 h 78522"/>
                  <a:gd name="connsiteX11" fmla="*/ 12587 w 63816"/>
                  <a:gd name="connsiteY11" fmla="*/ 14571 h 78522"/>
                  <a:gd name="connsiteX12" fmla="*/ 37805 w 63816"/>
                  <a:gd name="connsiteY12" fmla="*/ 45 h 78522"/>
                  <a:gd name="connsiteX13" fmla="*/ 57070 w 63816"/>
                  <a:gd name="connsiteY13" fmla="*/ 8162 h 78522"/>
                  <a:gd name="connsiteX14" fmla="*/ 63736 w 63816"/>
                  <a:gd name="connsiteY14" fmla="*/ 31638 h 7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6" h="78522">
                    <a:moveTo>
                      <a:pt x="63703" y="78479"/>
                    </a:moveTo>
                    <a:lnTo>
                      <a:pt x="51423" y="78479"/>
                    </a:lnTo>
                    <a:lnTo>
                      <a:pt x="51423" y="34738"/>
                    </a:lnTo>
                    <a:cubicBezTo>
                      <a:pt x="51423" y="18474"/>
                      <a:pt x="45480" y="10339"/>
                      <a:pt x="33584" y="10331"/>
                    </a:cubicBezTo>
                    <a:cubicBezTo>
                      <a:pt x="27707" y="10212"/>
                      <a:pt x="22093" y="12758"/>
                      <a:pt x="18321" y="17254"/>
                    </a:cubicBezTo>
                    <a:cubicBezTo>
                      <a:pt x="14210" y="22147"/>
                      <a:pt x="12061" y="28395"/>
                      <a:pt x="12302" y="34782"/>
                    </a:cubicBezTo>
                    <a:lnTo>
                      <a:pt x="12302" y="78523"/>
                    </a:lnTo>
                    <a:lnTo>
                      <a:pt x="0" y="78523"/>
                    </a:lnTo>
                    <a:lnTo>
                      <a:pt x="0" y="1841"/>
                    </a:lnTo>
                    <a:lnTo>
                      <a:pt x="12291" y="1841"/>
                    </a:lnTo>
                    <a:lnTo>
                      <a:pt x="12291" y="14571"/>
                    </a:lnTo>
                    <a:lnTo>
                      <a:pt x="12587" y="14571"/>
                    </a:lnTo>
                    <a:cubicBezTo>
                      <a:pt x="17565" y="5346"/>
                      <a:pt x="27323" y="-278"/>
                      <a:pt x="37805" y="45"/>
                    </a:cubicBezTo>
                    <a:cubicBezTo>
                      <a:pt x="45140" y="-409"/>
                      <a:pt x="52267" y="2595"/>
                      <a:pt x="57070" y="8162"/>
                    </a:cubicBezTo>
                    <a:cubicBezTo>
                      <a:pt x="61938" y="14982"/>
                      <a:pt x="64295" y="23278"/>
                      <a:pt x="63736" y="3163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2" name="Freeform: Shape 191">
                <a:extLst>
                  <a:ext uri="{FF2B5EF4-FFF2-40B4-BE49-F238E27FC236}">
                    <a16:creationId xmlns:a16="http://schemas.microsoft.com/office/drawing/2014/main" id="{78F55215-0EDB-DF40-353A-2AAF68A880C5}"/>
                  </a:ext>
                </a:extLst>
              </p:cNvPr>
              <p:cNvSpPr/>
              <p:nvPr/>
            </p:nvSpPr>
            <p:spPr>
              <a:xfrm>
                <a:off x="4241010" y="2565497"/>
                <a:ext cx="70828" cy="115364"/>
              </a:xfrm>
              <a:custGeom>
                <a:avLst/>
                <a:gdLst>
                  <a:gd name="connsiteX0" fmla="*/ 70818 w 70828"/>
                  <a:gd name="connsiteY0" fmla="*/ 113532 h 115364"/>
                  <a:gd name="connsiteX1" fmla="*/ 58527 w 70828"/>
                  <a:gd name="connsiteY1" fmla="*/ 113532 h 115364"/>
                  <a:gd name="connsiteX2" fmla="*/ 58527 w 70828"/>
                  <a:gd name="connsiteY2" fmla="*/ 100496 h 115364"/>
                  <a:gd name="connsiteX3" fmla="*/ 58231 w 70828"/>
                  <a:gd name="connsiteY3" fmla="*/ 100496 h 115364"/>
                  <a:gd name="connsiteX4" fmla="*/ 31850 w 70828"/>
                  <a:gd name="connsiteY4" fmla="*/ 115329 h 115364"/>
                  <a:gd name="connsiteX5" fmla="*/ 8726 w 70828"/>
                  <a:gd name="connsiteY5" fmla="*/ 105031 h 115364"/>
                  <a:gd name="connsiteX6" fmla="*/ 65 w 70828"/>
                  <a:gd name="connsiteY6" fmla="*/ 76988 h 115364"/>
                  <a:gd name="connsiteX7" fmla="*/ 9659 w 70828"/>
                  <a:gd name="connsiteY7" fmla="*/ 46502 h 115364"/>
                  <a:gd name="connsiteX8" fmla="*/ 35217 w 70828"/>
                  <a:gd name="connsiteY8" fmla="*/ 35054 h 115364"/>
                  <a:gd name="connsiteX9" fmla="*/ 58242 w 70828"/>
                  <a:gd name="connsiteY9" fmla="*/ 47477 h 115364"/>
                  <a:gd name="connsiteX10" fmla="*/ 58538 w 70828"/>
                  <a:gd name="connsiteY10" fmla="*/ 47477 h 115364"/>
                  <a:gd name="connsiteX11" fmla="*/ 58538 w 70828"/>
                  <a:gd name="connsiteY11" fmla="*/ 0 h 115364"/>
                  <a:gd name="connsiteX12" fmla="*/ 70829 w 70828"/>
                  <a:gd name="connsiteY12" fmla="*/ 0 h 115364"/>
                  <a:gd name="connsiteX13" fmla="*/ 58527 w 70828"/>
                  <a:gd name="connsiteY13" fmla="*/ 78861 h 115364"/>
                  <a:gd name="connsiteX14" fmla="*/ 58527 w 70828"/>
                  <a:gd name="connsiteY14" fmla="*/ 67545 h 115364"/>
                  <a:gd name="connsiteX15" fmla="*/ 52387 w 70828"/>
                  <a:gd name="connsiteY15" fmla="*/ 51826 h 115364"/>
                  <a:gd name="connsiteX16" fmla="*/ 36795 w 70828"/>
                  <a:gd name="connsiteY16" fmla="*/ 45384 h 115364"/>
                  <a:gd name="connsiteX17" fmla="*/ 19110 w 70828"/>
                  <a:gd name="connsiteY17" fmla="*/ 53622 h 115364"/>
                  <a:gd name="connsiteX18" fmla="*/ 12663 w 70828"/>
                  <a:gd name="connsiteY18" fmla="*/ 76386 h 115364"/>
                  <a:gd name="connsiteX19" fmla="*/ 18847 w 70828"/>
                  <a:gd name="connsiteY19" fmla="*/ 97320 h 115364"/>
                  <a:gd name="connsiteX20" fmla="*/ 35447 w 70828"/>
                  <a:gd name="connsiteY20" fmla="*/ 104988 h 115364"/>
                  <a:gd name="connsiteX21" fmla="*/ 52124 w 70828"/>
                  <a:gd name="connsiteY21" fmla="*/ 97582 h 115364"/>
                  <a:gd name="connsiteX22" fmla="*/ 58527 w 70828"/>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28" h="115364">
                    <a:moveTo>
                      <a:pt x="70818" y="113532"/>
                    </a:moveTo>
                    <a:lnTo>
                      <a:pt x="58527" y="113532"/>
                    </a:lnTo>
                    <a:lnTo>
                      <a:pt x="58527" y="100496"/>
                    </a:lnTo>
                    <a:lnTo>
                      <a:pt x="58231" y="100496"/>
                    </a:lnTo>
                    <a:cubicBezTo>
                      <a:pt x="53034" y="110107"/>
                      <a:pt x="42771" y="115877"/>
                      <a:pt x="31850" y="115329"/>
                    </a:cubicBezTo>
                    <a:cubicBezTo>
                      <a:pt x="22958" y="115661"/>
                      <a:pt x="14417" y="111858"/>
                      <a:pt x="8726" y="105031"/>
                    </a:cubicBezTo>
                    <a:cubicBezTo>
                      <a:pt x="2576" y="97017"/>
                      <a:pt x="-494" y="87069"/>
                      <a:pt x="65" y="76988"/>
                    </a:cubicBezTo>
                    <a:cubicBezTo>
                      <a:pt x="-484" y="66007"/>
                      <a:pt x="2915" y="55192"/>
                      <a:pt x="9659" y="46502"/>
                    </a:cubicBezTo>
                    <a:cubicBezTo>
                      <a:pt x="15930" y="38925"/>
                      <a:pt x="25382" y="34694"/>
                      <a:pt x="35217" y="35054"/>
                    </a:cubicBezTo>
                    <a:cubicBezTo>
                      <a:pt x="44646" y="34439"/>
                      <a:pt x="53593" y="39265"/>
                      <a:pt x="58242" y="47477"/>
                    </a:cubicBezTo>
                    <a:lnTo>
                      <a:pt x="58538" y="47477"/>
                    </a:lnTo>
                    <a:lnTo>
                      <a:pt x="58538" y="0"/>
                    </a:lnTo>
                    <a:lnTo>
                      <a:pt x="70829" y="0"/>
                    </a:lnTo>
                    <a:close/>
                    <a:moveTo>
                      <a:pt x="58527" y="78861"/>
                    </a:moveTo>
                    <a:lnTo>
                      <a:pt x="58527" y="67545"/>
                    </a:lnTo>
                    <a:cubicBezTo>
                      <a:pt x="58658" y="61697"/>
                      <a:pt x="56455" y="56036"/>
                      <a:pt x="52387" y="51826"/>
                    </a:cubicBezTo>
                    <a:cubicBezTo>
                      <a:pt x="48352" y="47553"/>
                      <a:pt x="42672" y="45209"/>
                      <a:pt x="36795" y="45384"/>
                    </a:cubicBezTo>
                    <a:cubicBezTo>
                      <a:pt x="29910" y="45094"/>
                      <a:pt x="23309" y="48167"/>
                      <a:pt x="19110" y="53622"/>
                    </a:cubicBezTo>
                    <a:cubicBezTo>
                      <a:pt x="14461" y="60270"/>
                      <a:pt x="12191" y="68289"/>
                      <a:pt x="12663" y="76386"/>
                    </a:cubicBezTo>
                    <a:cubicBezTo>
                      <a:pt x="12246" y="83867"/>
                      <a:pt x="14428" y="91263"/>
                      <a:pt x="18847" y="97320"/>
                    </a:cubicBezTo>
                    <a:cubicBezTo>
                      <a:pt x="22838" y="102374"/>
                      <a:pt x="29011" y="105223"/>
                      <a:pt x="35447" y="104988"/>
                    </a:cubicBezTo>
                    <a:cubicBezTo>
                      <a:pt x="41850" y="105191"/>
                      <a:pt x="47990" y="102464"/>
                      <a:pt x="52124" y="97582"/>
                    </a:cubicBezTo>
                    <a:cubicBezTo>
                      <a:pt x="56499" y="92346"/>
                      <a:pt x="58779" y="85677"/>
                      <a:pt x="58527" y="788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3" name="Freeform: Shape 192">
                <a:extLst>
                  <a:ext uri="{FF2B5EF4-FFF2-40B4-BE49-F238E27FC236}">
                    <a16:creationId xmlns:a16="http://schemas.microsoft.com/office/drawing/2014/main" id="{679C5A63-4201-B6F7-A5EA-E005870315D0}"/>
                  </a:ext>
                </a:extLst>
              </p:cNvPr>
              <p:cNvSpPr/>
              <p:nvPr/>
            </p:nvSpPr>
            <p:spPr>
              <a:xfrm>
                <a:off x="4373448" y="2565497"/>
                <a:ext cx="70884" cy="115364"/>
              </a:xfrm>
              <a:custGeom>
                <a:avLst/>
                <a:gdLst>
                  <a:gd name="connsiteX0" fmla="*/ 70818 w 70884"/>
                  <a:gd name="connsiteY0" fmla="*/ 113532 h 115364"/>
                  <a:gd name="connsiteX1" fmla="*/ 58527 w 70884"/>
                  <a:gd name="connsiteY1" fmla="*/ 113532 h 115364"/>
                  <a:gd name="connsiteX2" fmla="*/ 58527 w 70884"/>
                  <a:gd name="connsiteY2" fmla="*/ 100496 h 115364"/>
                  <a:gd name="connsiteX3" fmla="*/ 58231 w 70884"/>
                  <a:gd name="connsiteY3" fmla="*/ 100496 h 115364"/>
                  <a:gd name="connsiteX4" fmla="*/ 31851 w 70884"/>
                  <a:gd name="connsiteY4" fmla="*/ 115329 h 115364"/>
                  <a:gd name="connsiteX5" fmla="*/ 8727 w 70884"/>
                  <a:gd name="connsiteY5" fmla="*/ 105031 h 115364"/>
                  <a:gd name="connsiteX6" fmla="*/ 65 w 70884"/>
                  <a:gd name="connsiteY6" fmla="*/ 76988 h 115364"/>
                  <a:gd name="connsiteX7" fmla="*/ 9714 w 70884"/>
                  <a:gd name="connsiteY7" fmla="*/ 46557 h 115364"/>
                  <a:gd name="connsiteX8" fmla="*/ 35272 w 70884"/>
                  <a:gd name="connsiteY8" fmla="*/ 35109 h 115364"/>
                  <a:gd name="connsiteX9" fmla="*/ 58297 w 70884"/>
                  <a:gd name="connsiteY9" fmla="*/ 47531 h 115364"/>
                  <a:gd name="connsiteX10" fmla="*/ 58593 w 70884"/>
                  <a:gd name="connsiteY10" fmla="*/ 47531 h 115364"/>
                  <a:gd name="connsiteX11" fmla="*/ 58593 w 70884"/>
                  <a:gd name="connsiteY11" fmla="*/ 0 h 115364"/>
                  <a:gd name="connsiteX12" fmla="*/ 70884 w 70884"/>
                  <a:gd name="connsiteY12" fmla="*/ 0 h 115364"/>
                  <a:gd name="connsiteX13" fmla="*/ 58527 w 70884"/>
                  <a:gd name="connsiteY13" fmla="*/ 78861 h 115364"/>
                  <a:gd name="connsiteX14" fmla="*/ 58527 w 70884"/>
                  <a:gd name="connsiteY14" fmla="*/ 67545 h 115364"/>
                  <a:gd name="connsiteX15" fmla="*/ 52387 w 70884"/>
                  <a:gd name="connsiteY15" fmla="*/ 51826 h 115364"/>
                  <a:gd name="connsiteX16" fmla="*/ 36796 w 70884"/>
                  <a:gd name="connsiteY16" fmla="*/ 45384 h 115364"/>
                  <a:gd name="connsiteX17" fmla="*/ 19110 w 70884"/>
                  <a:gd name="connsiteY17" fmla="*/ 53622 h 115364"/>
                  <a:gd name="connsiteX18" fmla="*/ 12663 w 70884"/>
                  <a:gd name="connsiteY18" fmla="*/ 76386 h 115364"/>
                  <a:gd name="connsiteX19" fmla="*/ 18847 w 70884"/>
                  <a:gd name="connsiteY19" fmla="*/ 97320 h 115364"/>
                  <a:gd name="connsiteX20" fmla="*/ 35447 w 70884"/>
                  <a:gd name="connsiteY20" fmla="*/ 104988 h 115364"/>
                  <a:gd name="connsiteX21" fmla="*/ 52124 w 70884"/>
                  <a:gd name="connsiteY21" fmla="*/ 97582 h 115364"/>
                  <a:gd name="connsiteX22" fmla="*/ 58527 w 70884"/>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84" h="115364">
                    <a:moveTo>
                      <a:pt x="70818" y="113532"/>
                    </a:moveTo>
                    <a:lnTo>
                      <a:pt x="58527" y="113532"/>
                    </a:lnTo>
                    <a:lnTo>
                      <a:pt x="58527" y="100496"/>
                    </a:lnTo>
                    <a:lnTo>
                      <a:pt x="58231" y="100496"/>
                    </a:lnTo>
                    <a:cubicBezTo>
                      <a:pt x="53034" y="110107"/>
                      <a:pt x="42771" y="115877"/>
                      <a:pt x="31851" y="115329"/>
                    </a:cubicBezTo>
                    <a:cubicBezTo>
                      <a:pt x="22959" y="115661"/>
                      <a:pt x="14417" y="111858"/>
                      <a:pt x="8727" y="105031"/>
                    </a:cubicBezTo>
                    <a:cubicBezTo>
                      <a:pt x="2576" y="97017"/>
                      <a:pt x="-494" y="87069"/>
                      <a:pt x="65" y="76988"/>
                    </a:cubicBezTo>
                    <a:cubicBezTo>
                      <a:pt x="-461" y="66019"/>
                      <a:pt x="2971" y="55225"/>
                      <a:pt x="9714" y="46557"/>
                    </a:cubicBezTo>
                    <a:cubicBezTo>
                      <a:pt x="15985" y="38979"/>
                      <a:pt x="25437" y="34749"/>
                      <a:pt x="35272" y="35109"/>
                    </a:cubicBezTo>
                    <a:cubicBezTo>
                      <a:pt x="44701" y="34493"/>
                      <a:pt x="53648" y="39320"/>
                      <a:pt x="58297" y="47531"/>
                    </a:cubicBezTo>
                    <a:lnTo>
                      <a:pt x="58593" y="47531"/>
                    </a:lnTo>
                    <a:lnTo>
                      <a:pt x="58593" y="0"/>
                    </a:lnTo>
                    <a:lnTo>
                      <a:pt x="70884" y="0"/>
                    </a:lnTo>
                    <a:close/>
                    <a:moveTo>
                      <a:pt x="58527" y="78861"/>
                    </a:moveTo>
                    <a:lnTo>
                      <a:pt x="58527" y="67545"/>
                    </a:lnTo>
                    <a:cubicBezTo>
                      <a:pt x="58659" y="61697"/>
                      <a:pt x="56455" y="56036"/>
                      <a:pt x="52387" y="51826"/>
                    </a:cubicBezTo>
                    <a:cubicBezTo>
                      <a:pt x="48352" y="47553"/>
                      <a:pt x="42673" y="45209"/>
                      <a:pt x="36796" y="45384"/>
                    </a:cubicBezTo>
                    <a:cubicBezTo>
                      <a:pt x="29910" y="45094"/>
                      <a:pt x="23310" y="48167"/>
                      <a:pt x="19110" y="53622"/>
                    </a:cubicBezTo>
                    <a:cubicBezTo>
                      <a:pt x="14461" y="60270"/>
                      <a:pt x="12192" y="68289"/>
                      <a:pt x="12663" y="76386"/>
                    </a:cubicBezTo>
                    <a:cubicBezTo>
                      <a:pt x="12247" y="83867"/>
                      <a:pt x="14428" y="91263"/>
                      <a:pt x="18847" y="97320"/>
                    </a:cubicBezTo>
                    <a:cubicBezTo>
                      <a:pt x="22838" y="102374"/>
                      <a:pt x="29011" y="105223"/>
                      <a:pt x="35447" y="104988"/>
                    </a:cubicBezTo>
                    <a:cubicBezTo>
                      <a:pt x="41850" y="105191"/>
                      <a:pt x="47990" y="102464"/>
                      <a:pt x="52124" y="97582"/>
                    </a:cubicBezTo>
                    <a:cubicBezTo>
                      <a:pt x="56499" y="92346"/>
                      <a:pt x="58779" y="85677"/>
                      <a:pt x="58527" y="788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4" name="Freeform: Shape 193">
                <a:extLst>
                  <a:ext uri="{FF2B5EF4-FFF2-40B4-BE49-F238E27FC236}">
                    <a16:creationId xmlns:a16="http://schemas.microsoft.com/office/drawing/2014/main" id="{3740A8BB-6FD3-31E1-3185-CE57CC2CDC06}"/>
                  </a:ext>
                </a:extLst>
              </p:cNvPr>
              <p:cNvSpPr/>
              <p:nvPr/>
            </p:nvSpPr>
            <p:spPr>
              <a:xfrm>
                <a:off x="4462086" y="2600542"/>
                <a:ext cx="60674" cy="80326"/>
              </a:xfrm>
              <a:custGeom>
                <a:avLst/>
                <a:gdLst>
                  <a:gd name="connsiteX0" fmla="*/ 60664 w 60674"/>
                  <a:gd name="connsiteY0" fmla="*/ 78487 h 80326"/>
                  <a:gd name="connsiteX1" fmla="*/ 48373 w 60674"/>
                  <a:gd name="connsiteY1" fmla="*/ 78487 h 80326"/>
                  <a:gd name="connsiteX2" fmla="*/ 48373 w 60674"/>
                  <a:gd name="connsiteY2" fmla="*/ 66503 h 80326"/>
                  <a:gd name="connsiteX3" fmla="*/ 48066 w 60674"/>
                  <a:gd name="connsiteY3" fmla="*/ 66503 h 80326"/>
                  <a:gd name="connsiteX4" fmla="*/ 24460 w 60674"/>
                  <a:gd name="connsiteY4" fmla="*/ 80284 h 80326"/>
                  <a:gd name="connsiteX5" fmla="*/ 6500 w 60674"/>
                  <a:gd name="connsiteY5" fmla="*/ 74215 h 80326"/>
                  <a:gd name="connsiteX6" fmla="*/ 20 w 60674"/>
                  <a:gd name="connsiteY6" fmla="*/ 58112 h 80326"/>
                  <a:gd name="connsiteX7" fmla="*/ 25359 w 60674"/>
                  <a:gd name="connsiteY7" fmla="*/ 33103 h 80326"/>
                  <a:gd name="connsiteX8" fmla="*/ 48384 w 60674"/>
                  <a:gd name="connsiteY8" fmla="*/ 29882 h 80326"/>
                  <a:gd name="connsiteX9" fmla="*/ 32562 w 60674"/>
                  <a:gd name="connsiteY9" fmla="*/ 10340 h 80326"/>
                  <a:gd name="connsiteX10" fmla="*/ 7530 w 60674"/>
                  <a:gd name="connsiteY10" fmla="*/ 19771 h 80326"/>
                  <a:gd name="connsiteX11" fmla="*/ 7530 w 60674"/>
                  <a:gd name="connsiteY11" fmla="*/ 7196 h 80326"/>
                  <a:gd name="connsiteX12" fmla="*/ 33615 w 60674"/>
                  <a:gd name="connsiteY12" fmla="*/ 9 h 80326"/>
                  <a:gd name="connsiteX13" fmla="*/ 60675 w 60674"/>
                  <a:gd name="connsiteY13" fmla="*/ 28612 h 80326"/>
                  <a:gd name="connsiteX14" fmla="*/ 48373 w 60674"/>
                  <a:gd name="connsiteY14" fmla="*/ 39698 h 80326"/>
                  <a:gd name="connsiteX15" fmla="*/ 29854 w 60674"/>
                  <a:gd name="connsiteY15" fmla="*/ 42239 h 80326"/>
                  <a:gd name="connsiteX16" fmla="*/ 16960 w 60674"/>
                  <a:gd name="connsiteY16" fmla="*/ 46467 h 80326"/>
                  <a:gd name="connsiteX17" fmla="*/ 12574 w 60674"/>
                  <a:gd name="connsiteY17" fmla="*/ 57214 h 80326"/>
                  <a:gd name="connsiteX18" fmla="*/ 16576 w 60674"/>
                  <a:gd name="connsiteY18" fmla="*/ 66394 h 80326"/>
                  <a:gd name="connsiteX19" fmla="*/ 27266 w 60674"/>
                  <a:gd name="connsiteY19" fmla="*/ 69943 h 80326"/>
                  <a:gd name="connsiteX20" fmla="*/ 42364 w 60674"/>
                  <a:gd name="connsiteY20" fmla="*/ 63545 h 80326"/>
                  <a:gd name="connsiteX21" fmla="*/ 48329 w 60674"/>
                  <a:gd name="connsiteY21" fmla="*/ 4733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64" y="78487"/>
                    </a:moveTo>
                    <a:lnTo>
                      <a:pt x="48373" y="78487"/>
                    </a:lnTo>
                    <a:lnTo>
                      <a:pt x="48373" y="66503"/>
                    </a:lnTo>
                    <a:lnTo>
                      <a:pt x="48066" y="66503"/>
                    </a:lnTo>
                    <a:cubicBezTo>
                      <a:pt x="43494" y="75235"/>
                      <a:pt x="34316" y="80586"/>
                      <a:pt x="24460" y="80284"/>
                    </a:cubicBezTo>
                    <a:cubicBezTo>
                      <a:pt x="17914" y="80665"/>
                      <a:pt x="11467" y="78488"/>
                      <a:pt x="6500" y="74215"/>
                    </a:cubicBezTo>
                    <a:cubicBezTo>
                      <a:pt x="2125" y="70028"/>
                      <a:pt x="-243" y="64161"/>
                      <a:pt x="20" y="58112"/>
                    </a:cubicBezTo>
                    <a:cubicBezTo>
                      <a:pt x="20" y="43784"/>
                      <a:pt x="8462" y="35447"/>
                      <a:pt x="25359" y="33103"/>
                    </a:cubicBezTo>
                    <a:lnTo>
                      <a:pt x="48384" y="29882"/>
                    </a:lnTo>
                    <a:cubicBezTo>
                      <a:pt x="48384" y="16854"/>
                      <a:pt x="43110" y="10340"/>
                      <a:pt x="32562" y="10340"/>
                    </a:cubicBezTo>
                    <a:cubicBezTo>
                      <a:pt x="23341" y="10328"/>
                      <a:pt x="14438" y="13682"/>
                      <a:pt x="7530" y="19771"/>
                    </a:cubicBezTo>
                    <a:lnTo>
                      <a:pt x="7530" y="7196"/>
                    </a:lnTo>
                    <a:cubicBezTo>
                      <a:pt x="15348" y="2322"/>
                      <a:pt x="24405" y="-175"/>
                      <a:pt x="33615" y="9"/>
                    </a:cubicBezTo>
                    <a:cubicBezTo>
                      <a:pt x="51640" y="9"/>
                      <a:pt x="60664" y="9543"/>
                      <a:pt x="60675" y="28612"/>
                    </a:cubicBezTo>
                    <a:close/>
                    <a:moveTo>
                      <a:pt x="48373" y="39698"/>
                    </a:moveTo>
                    <a:lnTo>
                      <a:pt x="29854" y="42239"/>
                    </a:lnTo>
                    <a:cubicBezTo>
                      <a:pt x="25293" y="42652"/>
                      <a:pt x="20885" y="44098"/>
                      <a:pt x="16960" y="46467"/>
                    </a:cubicBezTo>
                    <a:cubicBezTo>
                      <a:pt x="13780" y="49083"/>
                      <a:pt x="12135" y="53122"/>
                      <a:pt x="12574" y="57214"/>
                    </a:cubicBezTo>
                    <a:cubicBezTo>
                      <a:pt x="12475" y="60717"/>
                      <a:pt x="13933" y="64083"/>
                      <a:pt x="16576" y="66394"/>
                    </a:cubicBezTo>
                    <a:cubicBezTo>
                      <a:pt x="19569" y="68873"/>
                      <a:pt x="23385" y="70140"/>
                      <a:pt x="27266" y="69943"/>
                    </a:cubicBezTo>
                    <a:cubicBezTo>
                      <a:pt x="32990" y="70099"/>
                      <a:pt x="38494" y="67765"/>
                      <a:pt x="42364" y="63545"/>
                    </a:cubicBezTo>
                    <a:cubicBezTo>
                      <a:pt x="46399" y="59126"/>
                      <a:pt x="48537" y="53307"/>
                      <a:pt x="48329" y="4733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5" name="Freeform: Shape 194">
                <a:extLst>
                  <a:ext uri="{FF2B5EF4-FFF2-40B4-BE49-F238E27FC236}">
                    <a16:creationId xmlns:a16="http://schemas.microsoft.com/office/drawing/2014/main" id="{16771C6A-3819-8D1F-093B-8FC1768D494F}"/>
                  </a:ext>
                </a:extLst>
              </p:cNvPr>
              <p:cNvSpPr/>
              <p:nvPr/>
            </p:nvSpPr>
            <p:spPr>
              <a:xfrm>
                <a:off x="4535622" y="2579650"/>
                <a:ext cx="44778" cy="101044"/>
              </a:xfrm>
              <a:custGeom>
                <a:avLst/>
                <a:gdLst>
                  <a:gd name="connsiteX0" fmla="*/ 44779 w 44778"/>
                  <a:gd name="connsiteY0" fmla="*/ 98623 h 101044"/>
                  <a:gd name="connsiteX1" fmla="*/ 33321 w 44778"/>
                  <a:gd name="connsiteY1" fmla="*/ 101022 h 101044"/>
                  <a:gd name="connsiteX2" fmla="*/ 13157 w 44778"/>
                  <a:gd name="connsiteY2" fmla="*/ 78554 h 101044"/>
                  <a:gd name="connsiteX3" fmla="*/ 13157 w 44778"/>
                  <a:gd name="connsiteY3" fmla="*/ 33181 h 101044"/>
                  <a:gd name="connsiteX4" fmla="*/ 0 w 44778"/>
                  <a:gd name="connsiteY4" fmla="*/ 33181 h 101044"/>
                  <a:gd name="connsiteX5" fmla="*/ 0 w 44778"/>
                  <a:gd name="connsiteY5" fmla="*/ 22698 h 101044"/>
                  <a:gd name="connsiteX6" fmla="*/ 13157 w 44778"/>
                  <a:gd name="connsiteY6" fmla="*/ 22698 h 101044"/>
                  <a:gd name="connsiteX7" fmla="*/ 13157 w 44778"/>
                  <a:gd name="connsiteY7" fmla="*/ 3976 h 101044"/>
                  <a:gd name="connsiteX8" fmla="*/ 25449 w 44778"/>
                  <a:gd name="connsiteY8" fmla="*/ 0 h 101044"/>
                  <a:gd name="connsiteX9" fmla="*/ 25449 w 44778"/>
                  <a:gd name="connsiteY9" fmla="*/ 22698 h 101044"/>
                  <a:gd name="connsiteX10" fmla="*/ 44779 w 44778"/>
                  <a:gd name="connsiteY10" fmla="*/ 22698 h 101044"/>
                  <a:gd name="connsiteX11" fmla="*/ 44779 w 44778"/>
                  <a:gd name="connsiteY11" fmla="*/ 33181 h 101044"/>
                  <a:gd name="connsiteX12" fmla="*/ 25449 w 44778"/>
                  <a:gd name="connsiteY12" fmla="*/ 33181 h 101044"/>
                  <a:gd name="connsiteX13" fmla="*/ 25449 w 44778"/>
                  <a:gd name="connsiteY13" fmla="*/ 76386 h 101044"/>
                  <a:gd name="connsiteX14" fmla="*/ 28069 w 44778"/>
                  <a:gd name="connsiteY14" fmla="*/ 87395 h 101044"/>
                  <a:gd name="connsiteX15" fmla="*/ 36764 w 44778"/>
                  <a:gd name="connsiteY15" fmla="*/ 90681 h 101044"/>
                  <a:gd name="connsiteX16" fmla="*/ 44779 w 44778"/>
                  <a:gd name="connsiteY16" fmla="*/ 88129 h 10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44">
                    <a:moveTo>
                      <a:pt x="44779" y="98623"/>
                    </a:moveTo>
                    <a:cubicBezTo>
                      <a:pt x="41226" y="100369"/>
                      <a:pt x="37279" y="101194"/>
                      <a:pt x="33321" y="101022"/>
                    </a:cubicBezTo>
                    <a:cubicBezTo>
                      <a:pt x="19868" y="101022"/>
                      <a:pt x="13146" y="93533"/>
                      <a:pt x="13157" y="78554"/>
                    </a:cubicBezTo>
                    <a:lnTo>
                      <a:pt x="13157" y="33181"/>
                    </a:lnTo>
                    <a:lnTo>
                      <a:pt x="0" y="33181"/>
                    </a:lnTo>
                    <a:lnTo>
                      <a:pt x="0" y="22698"/>
                    </a:lnTo>
                    <a:lnTo>
                      <a:pt x="13157" y="22698"/>
                    </a:lnTo>
                    <a:lnTo>
                      <a:pt x="13157" y="3976"/>
                    </a:lnTo>
                    <a:lnTo>
                      <a:pt x="25449" y="0"/>
                    </a:lnTo>
                    <a:lnTo>
                      <a:pt x="25449" y="22698"/>
                    </a:lnTo>
                    <a:lnTo>
                      <a:pt x="44779" y="22698"/>
                    </a:lnTo>
                    <a:lnTo>
                      <a:pt x="44779" y="33181"/>
                    </a:lnTo>
                    <a:lnTo>
                      <a:pt x="25449" y="33181"/>
                    </a:lnTo>
                    <a:lnTo>
                      <a:pt x="25449" y="76386"/>
                    </a:lnTo>
                    <a:cubicBezTo>
                      <a:pt x="25109" y="80241"/>
                      <a:pt x="26029" y="84105"/>
                      <a:pt x="28069" y="87395"/>
                    </a:cubicBezTo>
                    <a:cubicBezTo>
                      <a:pt x="30295" y="89789"/>
                      <a:pt x="33507" y="91005"/>
                      <a:pt x="36764" y="90681"/>
                    </a:cubicBezTo>
                    <a:cubicBezTo>
                      <a:pt x="39647" y="90748"/>
                      <a:pt x="42465" y="89850"/>
                      <a:pt x="44779" y="8812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6" name="Freeform: Shape 195">
                <a:extLst>
                  <a:ext uri="{FF2B5EF4-FFF2-40B4-BE49-F238E27FC236}">
                    <a16:creationId xmlns:a16="http://schemas.microsoft.com/office/drawing/2014/main" id="{2F5586CA-346E-7B60-7069-9B562EACB211}"/>
                  </a:ext>
                </a:extLst>
              </p:cNvPr>
              <p:cNvSpPr/>
              <p:nvPr/>
            </p:nvSpPr>
            <p:spPr>
              <a:xfrm>
                <a:off x="4592288" y="2600542"/>
                <a:ext cx="60674" cy="80327"/>
              </a:xfrm>
              <a:custGeom>
                <a:avLst/>
                <a:gdLst>
                  <a:gd name="connsiteX0" fmla="*/ 60664 w 60674"/>
                  <a:gd name="connsiteY0" fmla="*/ 78487 h 80327"/>
                  <a:gd name="connsiteX1" fmla="*/ 48373 w 60674"/>
                  <a:gd name="connsiteY1" fmla="*/ 78487 h 80327"/>
                  <a:gd name="connsiteX2" fmla="*/ 48373 w 60674"/>
                  <a:gd name="connsiteY2" fmla="*/ 66503 h 80327"/>
                  <a:gd name="connsiteX3" fmla="*/ 48066 w 60674"/>
                  <a:gd name="connsiteY3" fmla="*/ 66503 h 80327"/>
                  <a:gd name="connsiteX4" fmla="*/ 24460 w 60674"/>
                  <a:gd name="connsiteY4" fmla="*/ 80284 h 80327"/>
                  <a:gd name="connsiteX5" fmla="*/ 6511 w 60674"/>
                  <a:gd name="connsiteY5" fmla="*/ 74215 h 80327"/>
                  <a:gd name="connsiteX6" fmla="*/ 20 w 60674"/>
                  <a:gd name="connsiteY6" fmla="*/ 58112 h 80327"/>
                  <a:gd name="connsiteX7" fmla="*/ 25359 w 60674"/>
                  <a:gd name="connsiteY7" fmla="*/ 33103 h 80327"/>
                  <a:gd name="connsiteX8" fmla="*/ 48384 w 60674"/>
                  <a:gd name="connsiteY8" fmla="*/ 29882 h 80327"/>
                  <a:gd name="connsiteX9" fmla="*/ 32562 w 60674"/>
                  <a:gd name="connsiteY9" fmla="*/ 10339 h 80327"/>
                  <a:gd name="connsiteX10" fmla="*/ 7530 w 60674"/>
                  <a:gd name="connsiteY10" fmla="*/ 19771 h 80327"/>
                  <a:gd name="connsiteX11" fmla="*/ 7530 w 60674"/>
                  <a:gd name="connsiteY11" fmla="*/ 7195 h 80327"/>
                  <a:gd name="connsiteX12" fmla="*/ 33615 w 60674"/>
                  <a:gd name="connsiteY12" fmla="*/ 9 h 80327"/>
                  <a:gd name="connsiteX13" fmla="*/ 60675 w 60674"/>
                  <a:gd name="connsiteY13" fmla="*/ 28611 h 80327"/>
                  <a:gd name="connsiteX14" fmla="*/ 48373 w 60674"/>
                  <a:gd name="connsiteY14" fmla="*/ 39697 h 80327"/>
                  <a:gd name="connsiteX15" fmla="*/ 29854 w 60674"/>
                  <a:gd name="connsiteY15" fmla="*/ 42239 h 80327"/>
                  <a:gd name="connsiteX16" fmla="*/ 16960 w 60674"/>
                  <a:gd name="connsiteY16" fmla="*/ 46467 h 80327"/>
                  <a:gd name="connsiteX17" fmla="*/ 12574 w 60674"/>
                  <a:gd name="connsiteY17" fmla="*/ 57213 h 80327"/>
                  <a:gd name="connsiteX18" fmla="*/ 16587 w 60674"/>
                  <a:gd name="connsiteY18" fmla="*/ 66393 h 80327"/>
                  <a:gd name="connsiteX19" fmla="*/ 27266 w 60674"/>
                  <a:gd name="connsiteY19" fmla="*/ 69943 h 80327"/>
                  <a:gd name="connsiteX20" fmla="*/ 42375 w 60674"/>
                  <a:gd name="connsiteY20" fmla="*/ 63545 h 80327"/>
                  <a:gd name="connsiteX21" fmla="*/ 48329 w 60674"/>
                  <a:gd name="connsiteY21" fmla="*/ 47332 h 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7">
                    <a:moveTo>
                      <a:pt x="60664" y="78487"/>
                    </a:moveTo>
                    <a:lnTo>
                      <a:pt x="48373" y="78487"/>
                    </a:lnTo>
                    <a:lnTo>
                      <a:pt x="48373" y="66503"/>
                    </a:lnTo>
                    <a:lnTo>
                      <a:pt x="48066" y="66503"/>
                    </a:lnTo>
                    <a:cubicBezTo>
                      <a:pt x="43494" y="75238"/>
                      <a:pt x="34316" y="80591"/>
                      <a:pt x="24460" y="80284"/>
                    </a:cubicBezTo>
                    <a:cubicBezTo>
                      <a:pt x="17914" y="80669"/>
                      <a:pt x="11477" y="78491"/>
                      <a:pt x="6511" y="74215"/>
                    </a:cubicBezTo>
                    <a:cubicBezTo>
                      <a:pt x="2125" y="70031"/>
                      <a:pt x="-243" y="64163"/>
                      <a:pt x="20" y="58112"/>
                    </a:cubicBezTo>
                    <a:cubicBezTo>
                      <a:pt x="20" y="43783"/>
                      <a:pt x="8462" y="35447"/>
                      <a:pt x="25359" y="33103"/>
                    </a:cubicBezTo>
                    <a:lnTo>
                      <a:pt x="48384" y="29882"/>
                    </a:lnTo>
                    <a:cubicBezTo>
                      <a:pt x="48384" y="16854"/>
                      <a:pt x="43110" y="10339"/>
                      <a:pt x="32562" y="10339"/>
                    </a:cubicBezTo>
                    <a:cubicBezTo>
                      <a:pt x="23341" y="10329"/>
                      <a:pt x="14449" y="13684"/>
                      <a:pt x="7530" y="19771"/>
                    </a:cubicBezTo>
                    <a:lnTo>
                      <a:pt x="7530" y="7195"/>
                    </a:lnTo>
                    <a:cubicBezTo>
                      <a:pt x="15348" y="2325"/>
                      <a:pt x="24405" y="-172"/>
                      <a:pt x="33615" y="9"/>
                    </a:cubicBezTo>
                    <a:cubicBezTo>
                      <a:pt x="51651" y="9"/>
                      <a:pt x="60664" y="9543"/>
                      <a:pt x="60675" y="28611"/>
                    </a:cubicBezTo>
                    <a:close/>
                    <a:moveTo>
                      <a:pt x="48373" y="39697"/>
                    </a:moveTo>
                    <a:lnTo>
                      <a:pt x="29854" y="42239"/>
                    </a:lnTo>
                    <a:cubicBezTo>
                      <a:pt x="25293" y="42654"/>
                      <a:pt x="20885" y="44100"/>
                      <a:pt x="16960" y="46467"/>
                    </a:cubicBezTo>
                    <a:cubicBezTo>
                      <a:pt x="13780" y="49086"/>
                      <a:pt x="12135" y="53123"/>
                      <a:pt x="12574" y="57213"/>
                    </a:cubicBezTo>
                    <a:cubicBezTo>
                      <a:pt x="12475" y="60719"/>
                      <a:pt x="13944" y="64087"/>
                      <a:pt x="16587" y="66393"/>
                    </a:cubicBezTo>
                    <a:cubicBezTo>
                      <a:pt x="19580" y="68872"/>
                      <a:pt x="23385" y="70139"/>
                      <a:pt x="27266" y="69943"/>
                    </a:cubicBezTo>
                    <a:cubicBezTo>
                      <a:pt x="32990" y="70102"/>
                      <a:pt x="38505" y="67768"/>
                      <a:pt x="42375" y="63545"/>
                    </a:cubicBezTo>
                    <a:cubicBezTo>
                      <a:pt x="46399" y="59125"/>
                      <a:pt x="48537" y="53306"/>
                      <a:pt x="48329" y="473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7" name="Freeform: Shape 196">
                <a:extLst>
                  <a:ext uri="{FF2B5EF4-FFF2-40B4-BE49-F238E27FC236}">
                    <a16:creationId xmlns:a16="http://schemas.microsoft.com/office/drawing/2014/main" id="{2E288DA4-3954-9456-E9C8-E6446DB58594}"/>
                  </a:ext>
                </a:extLst>
              </p:cNvPr>
              <p:cNvSpPr/>
              <p:nvPr/>
            </p:nvSpPr>
            <p:spPr>
              <a:xfrm>
                <a:off x="3256955" y="2902500"/>
                <a:ext cx="86549" cy="107459"/>
              </a:xfrm>
              <a:custGeom>
                <a:avLst/>
                <a:gdLst>
                  <a:gd name="connsiteX0" fmla="*/ 0 w 86549"/>
                  <a:gd name="connsiteY0" fmla="*/ 107354 h 107459"/>
                  <a:gd name="connsiteX1" fmla="*/ 0 w 86549"/>
                  <a:gd name="connsiteY1" fmla="*/ 0 h 107459"/>
                  <a:gd name="connsiteX2" fmla="*/ 29681 w 86549"/>
                  <a:gd name="connsiteY2" fmla="*/ 0 h 107459"/>
                  <a:gd name="connsiteX3" fmla="*/ 86498 w 86549"/>
                  <a:gd name="connsiteY3" fmla="*/ 52340 h 107459"/>
                  <a:gd name="connsiteX4" fmla="*/ 70720 w 86549"/>
                  <a:gd name="connsiteY4" fmla="*/ 92291 h 107459"/>
                  <a:gd name="connsiteX5" fmla="*/ 28486 w 86549"/>
                  <a:gd name="connsiteY5" fmla="*/ 107387 h 107459"/>
                  <a:gd name="connsiteX6" fmla="*/ 12598 w 86549"/>
                  <a:gd name="connsiteY6" fmla="*/ 11349 h 107459"/>
                  <a:gd name="connsiteX7" fmla="*/ 12598 w 86549"/>
                  <a:gd name="connsiteY7" fmla="*/ 95972 h 107459"/>
                  <a:gd name="connsiteX8" fmla="*/ 28672 w 86549"/>
                  <a:gd name="connsiteY8" fmla="*/ 95972 h 107459"/>
                  <a:gd name="connsiteX9" fmla="*/ 61565 w 86549"/>
                  <a:gd name="connsiteY9" fmla="*/ 84667 h 107459"/>
                  <a:gd name="connsiteX10" fmla="*/ 73330 w 86549"/>
                  <a:gd name="connsiteY10" fmla="*/ 52614 h 107459"/>
                  <a:gd name="connsiteX11" fmla="*/ 29407 w 86549"/>
                  <a:gd name="connsiteY11" fmla="*/ 11349 h 10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549" h="107459">
                    <a:moveTo>
                      <a:pt x="0" y="107354"/>
                    </a:moveTo>
                    <a:lnTo>
                      <a:pt x="0" y="0"/>
                    </a:lnTo>
                    <a:lnTo>
                      <a:pt x="29681" y="0"/>
                    </a:lnTo>
                    <a:cubicBezTo>
                      <a:pt x="67563" y="0"/>
                      <a:pt x="86509" y="17447"/>
                      <a:pt x="86498" y="52340"/>
                    </a:cubicBezTo>
                    <a:cubicBezTo>
                      <a:pt x="87156" y="67291"/>
                      <a:pt x="81422" y="81817"/>
                      <a:pt x="70720" y="92291"/>
                    </a:cubicBezTo>
                    <a:cubicBezTo>
                      <a:pt x="59208" y="102732"/>
                      <a:pt x="44011" y="108163"/>
                      <a:pt x="28486" y="107387"/>
                    </a:cubicBezTo>
                    <a:close/>
                    <a:moveTo>
                      <a:pt x="12598" y="11349"/>
                    </a:moveTo>
                    <a:lnTo>
                      <a:pt x="12598" y="95972"/>
                    </a:lnTo>
                    <a:lnTo>
                      <a:pt x="28672" y="95972"/>
                    </a:lnTo>
                    <a:cubicBezTo>
                      <a:pt x="40700" y="96702"/>
                      <a:pt x="52530" y="92636"/>
                      <a:pt x="61565" y="84667"/>
                    </a:cubicBezTo>
                    <a:cubicBezTo>
                      <a:pt x="69810" y="76101"/>
                      <a:pt x="74075" y="64474"/>
                      <a:pt x="73330" y="52614"/>
                    </a:cubicBezTo>
                    <a:cubicBezTo>
                      <a:pt x="73330" y="25111"/>
                      <a:pt x="58692" y="11356"/>
                      <a:pt x="29407" y="1134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8" name="Freeform: Shape 197">
                <a:extLst>
                  <a:ext uri="{FF2B5EF4-FFF2-40B4-BE49-F238E27FC236}">
                    <a16:creationId xmlns:a16="http://schemas.microsoft.com/office/drawing/2014/main" id="{DAD454CE-50C1-92E2-3CC8-BED31778B736}"/>
                  </a:ext>
                </a:extLst>
              </p:cNvPr>
              <p:cNvSpPr/>
              <p:nvPr/>
            </p:nvSpPr>
            <p:spPr>
              <a:xfrm>
                <a:off x="3357315" y="2931329"/>
                <a:ext cx="67094" cy="80375"/>
              </a:xfrm>
              <a:custGeom>
                <a:avLst/>
                <a:gdLst>
                  <a:gd name="connsiteX0" fmla="*/ 67022 w 67094"/>
                  <a:gd name="connsiteY0" fmla="*/ 43252 h 80375"/>
                  <a:gd name="connsiteX1" fmla="*/ 12836 w 67094"/>
                  <a:gd name="connsiteY1" fmla="*/ 43252 h 80375"/>
                  <a:gd name="connsiteX2" fmla="*/ 19722 w 67094"/>
                  <a:gd name="connsiteY2" fmla="*/ 63025 h 80375"/>
                  <a:gd name="connsiteX3" fmla="*/ 37868 w 67094"/>
                  <a:gd name="connsiteY3" fmla="*/ 69992 h 80375"/>
                  <a:gd name="connsiteX4" fmla="*/ 61705 w 67094"/>
                  <a:gd name="connsiteY4" fmla="*/ 61447 h 80375"/>
                  <a:gd name="connsiteX5" fmla="*/ 61705 w 67094"/>
                  <a:gd name="connsiteY5" fmla="*/ 72982 h 80375"/>
                  <a:gd name="connsiteX6" fmla="*/ 34940 w 67094"/>
                  <a:gd name="connsiteY6" fmla="*/ 80322 h 80375"/>
                  <a:gd name="connsiteX7" fmla="*/ 9383 w 67094"/>
                  <a:gd name="connsiteY7" fmla="*/ 69871 h 80375"/>
                  <a:gd name="connsiteX8" fmla="*/ 85 w 67094"/>
                  <a:gd name="connsiteY8" fmla="*/ 40480 h 80375"/>
                  <a:gd name="connsiteX9" fmla="*/ 10249 w 67094"/>
                  <a:gd name="connsiteY9" fmla="*/ 11320 h 80375"/>
                  <a:gd name="connsiteX10" fmla="*/ 35467 w 67094"/>
                  <a:gd name="connsiteY10" fmla="*/ 48 h 80375"/>
                  <a:gd name="connsiteX11" fmla="*/ 58777 w 67094"/>
                  <a:gd name="connsiteY11" fmla="*/ 9775 h 80375"/>
                  <a:gd name="connsiteX12" fmla="*/ 67022 w 67094"/>
                  <a:gd name="connsiteY12" fmla="*/ 36811 h 80375"/>
                  <a:gd name="connsiteX13" fmla="*/ 54435 w 67094"/>
                  <a:gd name="connsiteY13" fmla="*/ 32845 h 80375"/>
                  <a:gd name="connsiteX14" fmla="*/ 49293 w 67094"/>
                  <a:gd name="connsiteY14" fmla="*/ 16293 h 80375"/>
                  <a:gd name="connsiteX15" fmla="*/ 35247 w 67094"/>
                  <a:gd name="connsiteY15" fmla="*/ 10378 h 80375"/>
                  <a:gd name="connsiteX16" fmla="*/ 20478 w 67094"/>
                  <a:gd name="connsiteY16" fmla="*/ 16589 h 80375"/>
                  <a:gd name="connsiteX17" fmla="*/ 12979 w 67094"/>
                  <a:gd name="connsiteY17" fmla="*/ 32845 h 8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4" h="80375">
                    <a:moveTo>
                      <a:pt x="67022" y="43252"/>
                    </a:moveTo>
                    <a:lnTo>
                      <a:pt x="12836" y="43252"/>
                    </a:lnTo>
                    <a:cubicBezTo>
                      <a:pt x="12562" y="50473"/>
                      <a:pt x="15018" y="57533"/>
                      <a:pt x="19722" y="63025"/>
                    </a:cubicBezTo>
                    <a:cubicBezTo>
                      <a:pt x="24502" y="67824"/>
                      <a:pt x="31103" y="70359"/>
                      <a:pt x="37868" y="69992"/>
                    </a:cubicBezTo>
                    <a:cubicBezTo>
                      <a:pt x="46563" y="69974"/>
                      <a:pt x="54983" y="66956"/>
                      <a:pt x="61705" y="61447"/>
                    </a:cubicBezTo>
                    <a:lnTo>
                      <a:pt x="61705" y="72982"/>
                    </a:lnTo>
                    <a:cubicBezTo>
                      <a:pt x="53788" y="78214"/>
                      <a:pt x="44414" y="80785"/>
                      <a:pt x="34940" y="80322"/>
                    </a:cubicBezTo>
                    <a:cubicBezTo>
                      <a:pt x="25292" y="80817"/>
                      <a:pt x="15917" y="76985"/>
                      <a:pt x="9383" y="69871"/>
                    </a:cubicBezTo>
                    <a:cubicBezTo>
                      <a:pt x="2727" y="61571"/>
                      <a:pt x="-584" y="51092"/>
                      <a:pt x="85" y="40480"/>
                    </a:cubicBezTo>
                    <a:cubicBezTo>
                      <a:pt x="-365" y="29822"/>
                      <a:pt x="3264" y="19393"/>
                      <a:pt x="10249" y="11320"/>
                    </a:cubicBezTo>
                    <a:cubicBezTo>
                      <a:pt x="16564" y="4006"/>
                      <a:pt x="25807" y="-123"/>
                      <a:pt x="35467" y="48"/>
                    </a:cubicBezTo>
                    <a:cubicBezTo>
                      <a:pt x="44315" y="-461"/>
                      <a:pt x="52911" y="3127"/>
                      <a:pt x="58777" y="9775"/>
                    </a:cubicBezTo>
                    <a:cubicBezTo>
                      <a:pt x="64676" y="17510"/>
                      <a:pt x="67603" y="27103"/>
                      <a:pt x="67022" y="36811"/>
                    </a:cubicBezTo>
                    <a:close/>
                    <a:moveTo>
                      <a:pt x="54435" y="32845"/>
                    </a:moveTo>
                    <a:cubicBezTo>
                      <a:pt x="54753" y="26891"/>
                      <a:pt x="52933" y="21021"/>
                      <a:pt x="49293" y="16293"/>
                    </a:cubicBezTo>
                    <a:cubicBezTo>
                      <a:pt x="45762" y="12278"/>
                      <a:pt x="40587" y="10098"/>
                      <a:pt x="35247" y="10378"/>
                    </a:cubicBezTo>
                    <a:cubicBezTo>
                      <a:pt x="29667" y="10283"/>
                      <a:pt x="24305" y="12538"/>
                      <a:pt x="20478" y="16589"/>
                    </a:cubicBezTo>
                    <a:cubicBezTo>
                      <a:pt x="16279" y="21054"/>
                      <a:pt x="13648" y="26758"/>
                      <a:pt x="12979" y="3284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9" name="Freeform: Shape 198">
                <a:extLst>
                  <a:ext uri="{FF2B5EF4-FFF2-40B4-BE49-F238E27FC236}">
                    <a16:creationId xmlns:a16="http://schemas.microsoft.com/office/drawing/2014/main" id="{F950F102-E922-52E7-BA96-9CC1C91DC1D0}"/>
                  </a:ext>
                </a:extLst>
              </p:cNvPr>
              <p:cNvSpPr/>
              <p:nvPr/>
            </p:nvSpPr>
            <p:spPr>
              <a:xfrm>
                <a:off x="3430883" y="2933173"/>
                <a:ext cx="71718" cy="76681"/>
              </a:xfrm>
              <a:custGeom>
                <a:avLst/>
                <a:gdLst>
                  <a:gd name="connsiteX0" fmla="*/ 71718 w 71718"/>
                  <a:gd name="connsiteY0" fmla="*/ 0 h 76681"/>
                  <a:gd name="connsiteX1" fmla="*/ 41138 w 71718"/>
                  <a:gd name="connsiteY1" fmla="*/ 76681 h 76681"/>
                  <a:gd name="connsiteX2" fmla="*/ 29077 w 71718"/>
                  <a:gd name="connsiteY2" fmla="*/ 76681 h 76681"/>
                  <a:gd name="connsiteX3" fmla="*/ 0 w 71718"/>
                  <a:gd name="connsiteY3" fmla="*/ 0 h 76681"/>
                  <a:gd name="connsiteX4" fmla="*/ 13486 w 71718"/>
                  <a:gd name="connsiteY4" fmla="*/ 0 h 76681"/>
                  <a:gd name="connsiteX5" fmla="*/ 32970 w 71718"/>
                  <a:gd name="connsiteY5" fmla="*/ 55715 h 76681"/>
                  <a:gd name="connsiteX6" fmla="*/ 35678 w 71718"/>
                  <a:gd name="connsiteY6" fmla="*/ 66417 h 76681"/>
                  <a:gd name="connsiteX7" fmla="*/ 35974 w 71718"/>
                  <a:gd name="connsiteY7" fmla="*/ 66417 h 76681"/>
                  <a:gd name="connsiteX8" fmla="*/ 38375 w 71718"/>
                  <a:gd name="connsiteY8" fmla="*/ 56010 h 76681"/>
                  <a:gd name="connsiteX9" fmla="*/ 58758 w 71718"/>
                  <a:gd name="connsiteY9" fmla="*/ 0 h 7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18" h="76681">
                    <a:moveTo>
                      <a:pt x="71718" y="0"/>
                    </a:moveTo>
                    <a:lnTo>
                      <a:pt x="41138" y="76681"/>
                    </a:lnTo>
                    <a:lnTo>
                      <a:pt x="29077" y="76681"/>
                    </a:lnTo>
                    <a:lnTo>
                      <a:pt x="0" y="0"/>
                    </a:lnTo>
                    <a:lnTo>
                      <a:pt x="13486" y="0"/>
                    </a:lnTo>
                    <a:lnTo>
                      <a:pt x="32970" y="55715"/>
                    </a:lnTo>
                    <a:cubicBezTo>
                      <a:pt x="34275" y="59170"/>
                      <a:pt x="35174" y="62759"/>
                      <a:pt x="35678" y="66417"/>
                    </a:cubicBezTo>
                    <a:lnTo>
                      <a:pt x="35974" y="66417"/>
                    </a:lnTo>
                    <a:cubicBezTo>
                      <a:pt x="36402" y="62873"/>
                      <a:pt x="37213" y="59384"/>
                      <a:pt x="38375" y="56010"/>
                    </a:cubicBezTo>
                    <a:lnTo>
                      <a:pt x="58758"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0" name="Freeform: Shape 199">
                <a:extLst>
                  <a:ext uri="{FF2B5EF4-FFF2-40B4-BE49-F238E27FC236}">
                    <a16:creationId xmlns:a16="http://schemas.microsoft.com/office/drawing/2014/main" id="{04D3490F-F138-EF32-E07C-3368A443665A}"/>
                  </a:ext>
                </a:extLst>
              </p:cNvPr>
              <p:cNvSpPr/>
              <p:nvPr/>
            </p:nvSpPr>
            <p:spPr>
              <a:xfrm>
                <a:off x="3514505" y="2897745"/>
                <a:ext cx="16045" cy="112109"/>
              </a:xfrm>
              <a:custGeom>
                <a:avLst/>
                <a:gdLst>
                  <a:gd name="connsiteX0" fmla="*/ 7953 w 16045"/>
                  <a:gd name="connsiteY0" fmla="*/ 15951 h 112109"/>
                  <a:gd name="connsiteX1" fmla="*/ 2328 w 16045"/>
                  <a:gd name="connsiteY1" fmla="*/ 13705 h 112109"/>
                  <a:gd name="connsiteX2" fmla="*/ 4 w 16045"/>
                  <a:gd name="connsiteY2" fmla="*/ 8020 h 112109"/>
                  <a:gd name="connsiteX3" fmla="*/ 7744 w 16045"/>
                  <a:gd name="connsiteY3" fmla="*/ 3 h 112109"/>
                  <a:gd name="connsiteX4" fmla="*/ 7953 w 16045"/>
                  <a:gd name="connsiteY4" fmla="*/ 1 h 112109"/>
                  <a:gd name="connsiteX5" fmla="*/ 13687 w 16045"/>
                  <a:gd name="connsiteY5" fmla="*/ 2291 h 112109"/>
                  <a:gd name="connsiteX6" fmla="*/ 13709 w 16045"/>
                  <a:gd name="connsiteY6" fmla="*/ 13616 h 112109"/>
                  <a:gd name="connsiteX7" fmla="*/ 13687 w 16045"/>
                  <a:gd name="connsiteY7" fmla="*/ 13640 h 112109"/>
                  <a:gd name="connsiteX8" fmla="*/ 7953 w 16045"/>
                  <a:gd name="connsiteY8" fmla="*/ 15951 h 112109"/>
                  <a:gd name="connsiteX9" fmla="*/ 13950 w 16045"/>
                  <a:gd name="connsiteY9" fmla="*/ 112109 h 112109"/>
                  <a:gd name="connsiteX10" fmla="*/ 1703 w 16045"/>
                  <a:gd name="connsiteY10" fmla="*/ 112109 h 112109"/>
                  <a:gd name="connsiteX11" fmla="*/ 1703 w 16045"/>
                  <a:gd name="connsiteY11" fmla="*/ 35428 h 112109"/>
                  <a:gd name="connsiteX12" fmla="*/ 13994 w 16045"/>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5" h="112109">
                    <a:moveTo>
                      <a:pt x="7953" y="15951"/>
                    </a:moveTo>
                    <a:cubicBezTo>
                      <a:pt x="5847" y="15992"/>
                      <a:pt x="3819" y="15182"/>
                      <a:pt x="2328" y="13705"/>
                    </a:cubicBezTo>
                    <a:cubicBezTo>
                      <a:pt x="782" y="12222"/>
                      <a:pt x="-62" y="10158"/>
                      <a:pt x="4" y="8020"/>
                    </a:cubicBezTo>
                    <a:cubicBezTo>
                      <a:pt x="-73" y="3671"/>
                      <a:pt x="3391" y="81"/>
                      <a:pt x="7744" y="3"/>
                    </a:cubicBezTo>
                    <a:cubicBezTo>
                      <a:pt x="7810" y="1"/>
                      <a:pt x="7887" y="0"/>
                      <a:pt x="7953" y="1"/>
                    </a:cubicBezTo>
                    <a:cubicBezTo>
                      <a:pt x="10091" y="-39"/>
                      <a:pt x="12163" y="787"/>
                      <a:pt x="13687" y="2291"/>
                    </a:cubicBezTo>
                    <a:cubicBezTo>
                      <a:pt x="16823" y="5412"/>
                      <a:pt x="16834" y="10482"/>
                      <a:pt x="13709" y="13616"/>
                    </a:cubicBezTo>
                    <a:cubicBezTo>
                      <a:pt x="13698" y="13623"/>
                      <a:pt x="13698" y="13632"/>
                      <a:pt x="13687" y="13640"/>
                    </a:cubicBezTo>
                    <a:cubicBezTo>
                      <a:pt x="12174" y="15158"/>
                      <a:pt x="10102" y="15993"/>
                      <a:pt x="7953" y="15951"/>
                    </a:cubicBezTo>
                    <a:close/>
                    <a:moveTo>
                      <a:pt x="13950" y="112109"/>
                    </a:moveTo>
                    <a:lnTo>
                      <a:pt x="1703" y="112109"/>
                    </a:lnTo>
                    <a:lnTo>
                      <a:pt x="1703" y="35428"/>
                    </a:lnTo>
                    <a:lnTo>
                      <a:pt x="13994" y="35428"/>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1" name="Freeform: Shape 200">
                <a:extLst>
                  <a:ext uri="{FF2B5EF4-FFF2-40B4-BE49-F238E27FC236}">
                    <a16:creationId xmlns:a16="http://schemas.microsoft.com/office/drawing/2014/main" id="{6F0B0C00-4F94-484D-F083-EC312BB80DA8}"/>
                  </a:ext>
                </a:extLst>
              </p:cNvPr>
              <p:cNvSpPr/>
              <p:nvPr/>
            </p:nvSpPr>
            <p:spPr>
              <a:xfrm>
                <a:off x="3546673" y="2931347"/>
                <a:ext cx="57721" cy="80332"/>
              </a:xfrm>
              <a:custGeom>
                <a:avLst/>
                <a:gdLst>
                  <a:gd name="connsiteX0" fmla="*/ 57612 w 57721"/>
                  <a:gd name="connsiteY0" fmla="*/ 74991 h 80332"/>
                  <a:gd name="connsiteX1" fmla="*/ 36626 w 57721"/>
                  <a:gd name="connsiteY1" fmla="*/ 80303 h 80332"/>
                  <a:gd name="connsiteX2" fmla="*/ 10136 w 57721"/>
                  <a:gd name="connsiteY2" fmla="*/ 69634 h 80332"/>
                  <a:gd name="connsiteX3" fmla="*/ 49 w 57721"/>
                  <a:gd name="connsiteY3" fmla="*/ 41963 h 80332"/>
                  <a:gd name="connsiteX4" fmla="*/ 10871 w 57721"/>
                  <a:gd name="connsiteY4" fmla="*/ 11531 h 80332"/>
                  <a:gd name="connsiteX5" fmla="*/ 39883 w 57721"/>
                  <a:gd name="connsiteY5" fmla="*/ 40 h 80332"/>
                  <a:gd name="connsiteX6" fmla="*/ 57722 w 57721"/>
                  <a:gd name="connsiteY6" fmla="*/ 3786 h 80332"/>
                  <a:gd name="connsiteX7" fmla="*/ 57722 w 57721"/>
                  <a:gd name="connsiteY7" fmla="*/ 16351 h 80332"/>
                  <a:gd name="connsiteX8" fmla="*/ 39433 w 57721"/>
                  <a:gd name="connsiteY8" fmla="*/ 10359 h 80332"/>
                  <a:gd name="connsiteX9" fmla="*/ 20125 w 57721"/>
                  <a:gd name="connsiteY9" fmla="*/ 18783 h 80332"/>
                  <a:gd name="connsiteX10" fmla="*/ 12603 w 57721"/>
                  <a:gd name="connsiteY10" fmla="*/ 40911 h 80332"/>
                  <a:gd name="connsiteX11" fmla="*/ 19675 w 57721"/>
                  <a:gd name="connsiteY11" fmla="*/ 62185 h 80332"/>
                  <a:gd name="connsiteX12" fmla="*/ 38677 w 57721"/>
                  <a:gd name="connsiteY12" fmla="*/ 69973 h 80332"/>
                  <a:gd name="connsiteX13" fmla="*/ 57568 w 57721"/>
                  <a:gd name="connsiteY13" fmla="*/ 63302 h 8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21" h="80332">
                    <a:moveTo>
                      <a:pt x="57612" y="74991"/>
                    </a:moveTo>
                    <a:cubicBezTo>
                      <a:pt x="51242" y="78655"/>
                      <a:pt x="43972" y="80493"/>
                      <a:pt x="36626" y="80303"/>
                    </a:cubicBezTo>
                    <a:cubicBezTo>
                      <a:pt x="26671" y="80707"/>
                      <a:pt x="17022" y="76821"/>
                      <a:pt x="10136" y="69634"/>
                    </a:cubicBezTo>
                    <a:cubicBezTo>
                      <a:pt x="3251" y="62099"/>
                      <a:pt x="-368" y="52155"/>
                      <a:pt x="49" y="41963"/>
                    </a:cubicBezTo>
                    <a:cubicBezTo>
                      <a:pt x="-488" y="30793"/>
                      <a:pt x="3404" y="19861"/>
                      <a:pt x="10871" y="11531"/>
                    </a:cubicBezTo>
                    <a:cubicBezTo>
                      <a:pt x="18447" y="3725"/>
                      <a:pt x="29006" y="-459"/>
                      <a:pt x="39883" y="40"/>
                    </a:cubicBezTo>
                    <a:cubicBezTo>
                      <a:pt x="46034" y="-86"/>
                      <a:pt x="52141" y="1196"/>
                      <a:pt x="57722" y="3786"/>
                    </a:cubicBezTo>
                    <a:lnTo>
                      <a:pt x="57722" y="16351"/>
                    </a:lnTo>
                    <a:cubicBezTo>
                      <a:pt x="52404" y="12481"/>
                      <a:pt x="46012" y="10384"/>
                      <a:pt x="39433" y="10359"/>
                    </a:cubicBezTo>
                    <a:cubicBezTo>
                      <a:pt x="32065" y="10148"/>
                      <a:pt x="24982" y="13238"/>
                      <a:pt x="20125" y="18783"/>
                    </a:cubicBezTo>
                    <a:cubicBezTo>
                      <a:pt x="14917" y="24949"/>
                      <a:pt x="12230" y="32852"/>
                      <a:pt x="12603" y="40911"/>
                    </a:cubicBezTo>
                    <a:cubicBezTo>
                      <a:pt x="12176" y="48642"/>
                      <a:pt x="14697" y="56247"/>
                      <a:pt x="19675" y="62185"/>
                    </a:cubicBezTo>
                    <a:cubicBezTo>
                      <a:pt x="24555" y="67444"/>
                      <a:pt x="31506" y="70292"/>
                      <a:pt x="38677" y="69973"/>
                    </a:cubicBezTo>
                    <a:cubicBezTo>
                      <a:pt x="45540" y="69915"/>
                      <a:pt x="52196" y="67568"/>
                      <a:pt x="57568" y="6330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2" name="Freeform: Shape 201">
                <a:extLst>
                  <a:ext uri="{FF2B5EF4-FFF2-40B4-BE49-F238E27FC236}">
                    <a16:creationId xmlns:a16="http://schemas.microsoft.com/office/drawing/2014/main" id="{68CAB98D-1F71-7F05-BD50-1EDD411BEF34}"/>
                  </a:ext>
                </a:extLst>
              </p:cNvPr>
              <p:cNvSpPr/>
              <p:nvPr/>
            </p:nvSpPr>
            <p:spPr>
              <a:xfrm>
                <a:off x="3615888" y="2931329"/>
                <a:ext cx="67072" cy="80374"/>
              </a:xfrm>
              <a:custGeom>
                <a:avLst/>
                <a:gdLst>
                  <a:gd name="connsiteX0" fmla="*/ 67011 w 67072"/>
                  <a:gd name="connsiteY0" fmla="*/ 43251 h 80374"/>
                  <a:gd name="connsiteX1" fmla="*/ 12825 w 67072"/>
                  <a:gd name="connsiteY1" fmla="*/ 43251 h 80374"/>
                  <a:gd name="connsiteX2" fmla="*/ 19722 w 67072"/>
                  <a:gd name="connsiteY2" fmla="*/ 63024 h 80374"/>
                  <a:gd name="connsiteX3" fmla="*/ 37857 w 67072"/>
                  <a:gd name="connsiteY3" fmla="*/ 69991 h 80374"/>
                  <a:gd name="connsiteX4" fmla="*/ 61694 w 67072"/>
                  <a:gd name="connsiteY4" fmla="*/ 61447 h 80374"/>
                  <a:gd name="connsiteX5" fmla="*/ 61694 w 67072"/>
                  <a:gd name="connsiteY5" fmla="*/ 72982 h 80374"/>
                  <a:gd name="connsiteX6" fmla="*/ 34929 w 67072"/>
                  <a:gd name="connsiteY6" fmla="*/ 80321 h 80374"/>
                  <a:gd name="connsiteX7" fmla="*/ 9372 w 67072"/>
                  <a:gd name="connsiteY7" fmla="*/ 69871 h 80374"/>
                  <a:gd name="connsiteX8" fmla="*/ 85 w 67072"/>
                  <a:gd name="connsiteY8" fmla="*/ 40480 h 80374"/>
                  <a:gd name="connsiteX9" fmla="*/ 10227 w 67072"/>
                  <a:gd name="connsiteY9" fmla="*/ 11319 h 80374"/>
                  <a:gd name="connsiteX10" fmla="*/ 35445 w 67072"/>
                  <a:gd name="connsiteY10" fmla="*/ 47 h 80374"/>
                  <a:gd name="connsiteX11" fmla="*/ 58755 w 67072"/>
                  <a:gd name="connsiteY11" fmla="*/ 9775 h 80374"/>
                  <a:gd name="connsiteX12" fmla="*/ 67001 w 67072"/>
                  <a:gd name="connsiteY12" fmla="*/ 36810 h 80374"/>
                  <a:gd name="connsiteX13" fmla="*/ 54424 w 67072"/>
                  <a:gd name="connsiteY13" fmla="*/ 32845 h 80374"/>
                  <a:gd name="connsiteX14" fmla="*/ 49282 w 67072"/>
                  <a:gd name="connsiteY14" fmla="*/ 16292 h 80374"/>
                  <a:gd name="connsiteX15" fmla="*/ 35236 w 67072"/>
                  <a:gd name="connsiteY15" fmla="*/ 10377 h 80374"/>
                  <a:gd name="connsiteX16" fmla="*/ 20467 w 67072"/>
                  <a:gd name="connsiteY16" fmla="*/ 16588 h 80374"/>
                  <a:gd name="connsiteX17" fmla="*/ 12968 w 67072"/>
                  <a:gd name="connsiteY17" fmla="*/ 32845 h 8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72" h="80374">
                    <a:moveTo>
                      <a:pt x="67011" y="43251"/>
                    </a:moveTo>
                    <a:lnTo>
                      <a:pt x="12825" y="43251"/>
                    </a:lnTo>
                    <a:cubicBezTo>
                      <a:pt x="12540" y="50477"/>
                      <a:pt x="15007" y="57542"/>
                      <a:pt x="19722" y="63024"/>
                    </a:cubicBezTo>
                    <a:cubicBezTo>
                      <a:pt x="24491" y="67826"/>
                      <a:pt x="31092" y="70360"/>
                      <a:pt x="37857" y="69991"/>
                    </a:cubicBezTo>
                    <a:cubicBezTo>
                      <a:pt x="46552" y="69974"/>
                      <a:pt x="54972" y="66956"/>
                      <a:pt x="61694" y="61447"/>
                    </a:cubicBezTo>
                    <a:lnTo>
                      <a:pt x="61694" y="72982"/>
                    </a:lnTo>
                    <a:cubicBezTo>
                      <a:pt x="53777" y="78214"/>
                      <a:pt x="44403" y="80785"/>
                      <a:pt x="34929" y="80321"/>
                    </a:cubicBezTo>
                    <a:cubicBezTo>
                      <a:pt x="25281" y="80817"/>
                      <a:pt x="15906" y="76985"/>
                      <a:pt x="9372" y="69871"/>
                    </a:cubicBezTo>
                    <a:cubicBezTo>
                      <a:pt x="2727" y="61569"/>
                      <a:pt x="-584" y="51090"/>
                      <a:pt x="85" y="40480"/>
                    </a:cubicBezTo>
                    <a:cubicBezTo>
                      <a:pt x="-365" y="29825"/>
                      <a:pt x="3253" y="19397"/>
                      <a:pt x="10227" y="11319"/>
                    </a:cubicBezTo>
                    <a:cubicBezTo>
                      <a:pt x="16542" y="4011"/>
                      <a:pt x="25785" y="-117"/>
                      <a:pt x="35445" y="47"/>
                    </a:cubicBezTo>
                    <a:cubicBezTo>
                      <a:pt x="44293" y="-458"/>
                      <a:pt x="52889" y="3128"/>
                      <a:pt x="58755" y="9775"/>
                    </a:cubicBezTo>
                    <a:cubicBezTo>
                      <a:pt x="64654" y="17509"/>
                      <a:pt x="67581" y="27102"/>
                      <a:pt x="67001" y="36810"/>
                    </a:cubicBezTo>
                    <a:close/>
                    <a:moveTo>
                      <a:pt x="54424" y="32845"/>
                    </a:moveTo>
                    <a:cubicBezTo>
                      <a:pt x="54731" y="26892"/>
                      <a:pt x="52911" y="21024"/>
                      <a:pt x="49282" y="16292"/>
                    </a:cubicBezTo>
                    <a:cubicBezTo>
                      <a:pt x="45751" y="12285"/>
                      <a:pt x="40576" y="10108"/>
                      <a:pt x="35236" y="10377"/>
                    </a:cubicBezTo>
                    <a:cubicBezTo>
                      <a:pt x="29656" y="10282"/>
                      <a:pt x="24294" y="12536"/>
                      <a:pt x="20467" y="16588"/>
                    </a:cubicBezTo>
                    <a:cubicBezTo>
                      <a:pt x="16268" y="21050"/>
                      <a:pt x="13637" y="26756"/>
                      <a:pt x="12968" y="3284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3" name="Freeform: Shape 202">
                <a:extLst>
                  <a:ext uri="{FF2B5EF4-FFF2-40B4-BE49-F238E27FC236}">
                    <a16:creationId xmlns:a16="http://schemas.microsoft.com/office/drawing/2014/main" id="{F2CD1239-5CE3-B032-5784-9B3616148A0C}"/>
                  </a:ext>
                </a:extLst>
              </p:cNvPr>
              <p:cNvSpPr/>
              <p:nvPr/>
            </p:nvSpPr>
            <p:spPr>
              <a:xfrm>
                <a:off x="3696517" y="2931447"/>
                <a:ext cx="50935" cy="80197"/>
              </a:xfrm>
              <a:custGeom>
                <a:avLst/>
                <a:gdLst>
                  <a:gd name="connsiteX0" fmla="*/ 0 w 50935"/>
                  <a:gd name="connsiteY0" fmla="*/ 75636 h 80197"/>
                  <a:gd name="connsiteX1" fmla="*/ 0 w 50935"/>
                  <a:gd name="connsiteY1" fmla="*/ 62490 h 80197"/>
                  <a:gd name="connsiteX2" fmla="*/ 22115 w 50935"/>
                  <a:gd name="connsiteY2" fmla="*/ 69906 h 80197"/>
                  <a:gd name="connsiteX3" fmla="*/ 38299 w 50935"/>
                  <a:gd name="connsiteY3" fmla="*/ 59116 h 80197"/>
                  <a:gd name="connsiteX4" fmla="*/ 36906 w 50935"/>
                  <a:gd name="connsiteY4" fmla="*/ 53913 h 80197"/>
                  <a:gd name="connsiteX5" fmla="*/ 33167 w 50935"/>
                  <a:gd name="connsiteY5" fmla="*/ 50134 h 80197"/>
                  <a:gd name="connsiteX6" fmla="*/ 27619 w 50935"/>
                  <a:gd name="connsiteY6" fmla="*/ 47176 h 80197"/>
                  <a:gd name="connsiteX7" fmla="*/ 20767 w 50935"/>
                  <a:gd name="connsiteY7" fmla="*/ 44437 h 80197"/>
                  <a:gd name="connsiteX8" fmla="*/ 11798 w 50935"/>
                  <a:gd name="connsiteY8" fmla="*/ 40362 h 80197"/>
                  <a:gd name="connsiteX9" fmla="*/ 5351 w 50935"/>
                  <a:gd name="connsiteY9" fmla="*/ 35717 h 80197"/>
                  <a:gd name="connsiteX10" fmla="*/ 1458 w 50935"/>
                  <a:gd name="connsiteY10" fmla="*/ 29835 h 80197"/>
                  <a:gd name="connsiteX11" fmla="*/ 154 w 50935"/>
                  <a:gd name="connsiteY11" fmla="*/ 22167 h 80197"/>
                  <a:gd name="connsiteX12" fmla="*/ 2621 w 50935"/>
                  <a:gd name="connsiteY12" fmla="*/ 12625 h 80197"/>
                  <a:gd name="connsiteX13" fmla="*/ 9199 w 50935"/>
                  <a:gd name="connsiteY13" fmla="*/ 5658 h 80197"/>
                  <a:gd name="connsiteX14" fmla="*/ 18596 w 50935"/>
                  <a:gd name="connsiteY14" fmla="*/ 1430 h 80197"/>
                  <a:gd name="connsiteX15" fmla="*/ 29560 w 50935"/>
                  <a:gd name="connsiteY15" fmla="*/ 6 h 80197"/>
                  <a:gd name="connsiteX16" fmla="*/ 47399 w 50935"/>
                  <a:gd name="connsiteY16" fmla="*/ 3446 h 80197"/>
                  <a:gd name="connsiteX17" fmla="*/ 47399 w 50935"/>
                  <a:gd name="connsiteY17" fmla="*/ 15813 h 80197"/>
                  <a:gd name="connsiteX18" fmla="*/ 27905 w 50935"/>
                  <a:gd name="connsiteY18" fmla="*/ 10270 h 80197"/>
                  <a:gd name="connsiteX19" fmla="*/ 21688 w 50935"/>
                  <a:gd name="connsiteY19" fmla="*/ 11059 h 80197"/>
                  <a:gd name="connsiteX20" fmla="*/ 16918 w 50935"/>
                  <a:gd name="connsiteY20" fmla="*/ 13250 h 80197"/>
                  <a:gd name="connsiteX21" fmla="*/ 13848 w 50935"/>
                  <a:gd name="connsiteY21" fmla="*/ 16657 h 80197"/>
                  <a:gd name="connsiteX22" fmla="*/ 12752 w 50935"/>
                  <a:gd name="connsiteY22" fmla="*/ 21038 h 80197"/>
                  <a:gd name="connsiteX23" fmla="*/ 13848 w 50935"/>
                  <a:gd name="connsiteY23" fmla="*/ 26056 h 80197"/>
                  <a:gd name="connsiteX24" fmla="*/ 17039 w 50935"/>
                  <a:gd name="connsiteY24" fmla="*/ 29660 h 80197"/>
                  <a:gd name="connsiteX25" fmla="*/ 22137 w 50935"/>
                  <a:gd name="connsiteY25" fmla="*/ 32497 h 80197"/>
                  <a:gd name="connsiteX26" fmla="*/ 28957 w 50935"/>
                  <a:gd name="connsiteY26" fmla="*/ 35268 h 80197"/>
                  <a:gd name="connsiteX27" fmla="*/ 38101 w 50935"/>
                  <a:gd name="connsiteY27" fmla="*/ 39278 h 80197"/>
                  <a:gd name="connsiteX28" fmla="*/ 44998 w 50935"/>
                  <a:gd name="connsiteY28" fmla="*/ 43922 h 80197"/>
                  <a:gd name="connsiteX29" fmla="*/ 49384 w 50935"/>
                  <a:gd name="connsiteY29" fmla="*/ 49871 h 80197"/>
                  <a:gd name="connsiteX30" fmla="*/ 50930 w 50935"/>
                  <a:gd name="connsiteY30" fmla="*/ 57889 h 80197"/>
                  <a:gd name="connsiteX31" fmla="*/ 48408 w 50935"/>
                  <a:gd name="connsiteY31" fmla="*/ 67748 h 80197"/>
                  <a:gd name="connsiteX32" fmla="*/ 41709 w 50935"/>
                  <a:gd name="connsiteY32" fmla="*/ 74715 h 80197"/>
                  <a:gd name="connsiteX33" fmla="*/ 32038 w 50935"/>
                  <a:gd name="connsiteY33" fmla="*/ 78834 h 80197"/>
                  <a:gd name="connsiteX34" fmla="*/ 20569 w 50935"/>
                  <a:gd name="connsiteY34" fmla="*/ 80182 h 80197"/>
                  <a:gd name="connsiteX35" fmla="*/ 0 w 50935"/>
                  <a:gd name="connsiteY35" fmla="*/ 75636 h 8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35" h="80197">
                    <a:moveTo>
                      <a:pt x="0" y="75636"/>
                    </a:moveTo>
                    <a:lnTo>
                      <a:pt x="0" y="62490"/>
                    </a:lnTo>
                    <a:cubicBezTo>
                      <a:pt x="6360" y="67321"/>
                      <a:pt x="14133" y="69927"/>
                      <a:pt x="22115" y="69906"/>
                    </a:cubicBezTo>
                    <a:cubicBezTo>
                      <a:pt x="32904" y="69906"/>
                      <a:pt x="38299" y="66310"/>
                      <a:pt x="38299" y="59116"/>
                    </a:cubicBezTo>
                    <a:cubicBezTo>
                      <a:pt x="38354" y="57282"/>
                      <a:pt x="37871" y="55472"/>
                      <a:pt x="36906" y="53913"/>
                    </a:cubicBezTo>
                    <a:cubicBezTo>
                      <a:pt x="35919" y="52422"/>
                      <a:pt x="34648" y="51138"/>
                      <a:pt x="33167" y="50134"/>
                    </a:cubicBezTo>
                    <a:cubicBezTo>
                      <a:pt x="31435" y="48947"/>
                      <a:pt x="29571" y="47955"/>
                      <a:pt x="27619" y="47176"/>
                    </a:cubicBezTo>
                    <a:cubicBezTo>
                      <a:pt x="25492" y="46299"/>
                      <a:pt x="23234" y="45390"/>
                      <a:pt x="20767" y="44437"/>
                    </a:cubicBezTo>
                    <a:cubicBezTo>
                      <a:pt x="17708" y="43244"/>
                      <a:pt x="14714" y="41884"/>
                      <a:pt x="11798" y="40362"/>
                    </a:cubicBezTo>
                    <a:cubicBezTo>
                      <a:pt x="9440" y="39132"/>
                      <a:pt x="7269" y="37568"/>
                      <a:pt x="5351" y="35717"/>
                    </a:cubicBezTo>
                    <a:cubicBezTo>
                      <a:pt x="3662" y="34045"/>
                      <a:pt x="2336" y="32042"/>
                      <a:pt x="1458" y="29835"/>
                    </a:cubicBezTo>
                    <a:cubicBezTo>
                      <a:pt x="548" y="27382"/>
                      <a:pt x="110" y="24782"/>
                      <a:pt x="154" y="22167"/>
                    </a:cubicBezTo>
                    <a:cubicBezTo>
                      <a:pt x="88" y="18821"/>
                      <a:pt x="943" y="15522"/>
                      <a:pt x="2621" y="12625"/>
                    </a:cubicBezTo>
                    <a:cubicBezTo>
                      <a:pt x="4276" y="9848"/>
                      <a:pt x="6524" y="7469"/>
                      <a:pt x="9199" y="5658"/>
                    </a:cubicBezTo>
                    <a:cubicBezTo>
                      <a:pt x="12072" y="3726"/>
                      <a:pt x="15241" y="2296"/>
                      <a:pt x="18596" y="1430"/>
                    </a:cubicBezTo>
                    <a:cubicBezTo>
                      <a:pt x="22170" y="470"/>
                      <a:pt x="25854" y="-8"/>
                      <a:pt x="29560" y="6"/>
                    </a:cubicBezTo>
                    <a:cubicBezTo>
                      <a:pt x="35678" y="-94"/>
                      <a:pt x="41753" y="1077"/>
                      <a:pt x="47399" y="3446"/>
                    </a:cubicBezTo>
                    <a:lnTo>
                      <a:pt x="47399" y="15813"/>
                    </a:lnTo>
                    <a:cubicBezTo>
                      <a:pt x="41599" y="12075"/>
                      <a:pt x="34812" y="10146"/>
                      <a:pt x="27905" y="10270"/>
                    </a:cubicBezTo>
                    <a:cubicBezTo>
                      <a:pt x="25810" y="10244"/>
                      <a:pt x="23716" y="10509"/>
                      <a:pt x="21688" y="11059"/>
                    </a:cubicBezTo>
                    <a:cubicBezTo>
                      <a:pt x="19988" y="11507"/>
                      <a:pt x="18366" y="12249"/>
                      <a:pt x="16918" y="13250"/>
                    </a:cubicBezTo>
                    <a:cubicBezTo>
                      <a:pt x="15646" y="14137"/>
                      <a:pt x="14594" y="15303"/>
                      <a:pt x="13848" y="16657"/>
                    </a:cubicBezTo>
                    <a:cubicBezTo>
                      <a:pt x="13114" y="18001"/>
                      <a:pt x="12741" y="19508"/>
                      <a:pt x="12752" y="21038"/>
                    </a:cubicBezTo>
                    <a:cubicBezTo>
                      <a:pt x="12697" y="22775"/>
                      <a:pt x="13080" y="24498"/>
                      <a:pt x="13848" y="26056"/>
                    </a:cubicBezTo>
                    <a:cubicBezTo>
                      <a:pt x="14627" y="27479"/>
                      <a:pt x="15723" y="28710"/>
                      <a:pt x="17039" y="29660"/>
                    </a:cubicBezTo>
                    <a:cubicBezTo>
                      <a:pt x="18618" y="30808"/>
                      <a:pt x="20328" y="31761"/>
                      <a:pt x="22137" y="32497"/>
                    </a:cubicBezTo>
                    <a:cubicBezTo>
                      <a:pt x="24122" y="33351"/>
                      <a:pt x="26402" y="34271"/>
                      <a:pt x="28957" y="35268"/>
                    </a:cubicBezTo>
                    <a:cubicBezTo>
                      <a:pt x="32071" y="36449"/>
                      <a:pt x="35119" y="37787"/>
                      <a:pt x="38101" y="39278"/>
                    </a:cubicBezTo>
                    <a:cubicBezTo>
                      <a:pt x="40590" y="40519"/>
                      <a:pt x="42915" y="42081"/>
                      <a:pt x="44998" y="43922"/>
                    </a:cubicBezTo>
                    <a:cubicBezTo>
                      <a:pt x="46851" y="45582"/>
                      <a:pt x="48353" y="47607"/>
                      <a:pt x="49384" y="49871"/>
                    </a:cubicBezTo>
                    <a:cubicBezTo>
                      <a:pt x="50469" y="52401"/>
                      <a:pt x="50995" y="55136"/>
                      <a:pt x="50930" y="57889"/>
                    </a:cubicBezTo>
                    <a:cubicBezTo>
                      <a:pt x="51017" y="61345"/>
                      <a:pt x="50140" y="64757"/>
                      <a:pt x="48408" y="67748"/>
                    </a:cubicBezTo>
                    <a:cubicBezTo>
                      <a:pt x="46730" y="70548"/>
                      <a:pt x="44439" y="72931"/>
                      <a:pt x="41709" y="74715"/>
                    </a:cubicBezTo>
                    <a:cubicBezTo>
                      <a:pt x="38748" y="76628"/>
                      <a:pt x="35470" y="78020"/>
                      <a:pt x="32038" y="78834"/>
                    </a:cubicBezTo>
                    <a:cubicBezTo>
                      <a:pt x="28288" y="79745"/>
                      <a:pt x="24429" y="80197"/>
                      <a:pt x="20569" y="80182"/>
                    </a:cubicBezTo>
                    <a:cubicBezTo>
                      <a:pt x="13442" y="80371"/>
                      <a:pt x="6381" y="78810"/>
                      <a:pt x="0" y="7563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4" name="Freeform: Shape 203">
                <a:extLst>
                  <a:ext uri="{FF2B5EF4-FFF2-40B4-BE49-F238E27FC236}">
                    <a16:creationId xmlns:a16="http://schemas.microsoft.com/office/drawing/2014/main" id="{92DFB8B9-3A57-2D4F-4552-EEAF40BCAD99}"/>
                  </a:ext>
                </a:extLst>
              </p:cNvPr>
              <p:cNvSpPr/>
              <p:nvPr/>
            </p:nvSpPr>
            <p:spPr>
              <a:xfrm>
                <a:off x="3806338" y="2902467"/>
                <a:ext cx="34371" cy="131793"/>
              </a:xfrm>
              <a:custGeom>
                <a:avLst/>
                <a:gdLst>
                  <a:gd name="connsiteX0" fmla="*/ 34240 w 34371"/>
                  <a:gd name="connsiteY0" fmla="*/ 131793 h 131793"/>
                  <a:gd name="connsiteX1" fmla="*/ 23276 w 34371"/>
                  <a:gd name="connsiteY1" fmla="*/ 131793 h 131793"/>
                  <a:gd name="connsiteX2" fmla="*/ 42 w 34371"/>
                  <a:gd name="connsiteY2" fmla="*/ 66428 h 131793"/>
                  <a:gd name="connsiteX3" fmla="*/ 23276 w 34371"/>
                  <a:gd name="connsiteY3" fmla="*/ 0 h 131793"/>
                  <a:gd name="connsiteX4" fmla="*/ 34372 w 34371"/>
                  <a:gd name="connsiteY4" fmla="*/ 0 h 131793"/>
                  <a:gd name="connsiteX5" fmla="*/ 10831 w 34371"/>
                  <a:gd name="connsiteY5" fmla="*/ 66275 h 131793"/>
                  <a:gd name="connsiteX6" fmla="*/ 34240 w 34371"/>
                  <a:gd name="connsiteY6" fmla="*/ 131793 h 13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71" h="131793">
                    <a:moveTo>
                      <a:pt x="34240" y="131793"/>
                    </a:moveTo>
                    <a:lnTo>
                      <a:pt x="23276" y="131793"/>
                    </a:lnTo>
                    <a:cubicBezTo>
                      <a:pt x="7619" y="113676"/>
                      <a:pt x="-670" y="90352"/>
                      <a:pt x="42" y="66428"/>
                    </a:cubicBezTo>
                    <a:cubicBezTo>
                      <a:pt x="-583" y="42194"/>
                      <a:pt x="7673" y="18568"/>
                      <a:pt x="23276" y="0"/>
                    </a:cubicBezTo>
                    <a:lnTo>
                      <a:pt x="34372" y="0"/>
                    </a:lnTo>
                    <a:cubicBezTo>
                      <a:pt x="18824" y="18556"/>
                      <a:pt x="10469" y="42077"/>
                      <a:pt x="10831" y="66275"/>
                    </a:cubicBezTo>
                    <a:cubicBezTo>
                      <a:pt x="10458" y="90222"/>
                      <a:pt x="18769" y="113496"/>
                      <a:pt x="34240" y="13179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5" name="Freeform: Shape 204">
                <a:extLst>
                  <a:ext uri="{FF2B5EF4-FFF2-40B4-BE49-F238E27FC236}">
                    <a16:creationId xmlns:a16="http://schemas.microsoft.com/office/drawing/2014/main" id="{320A0D8A-AC9F-B1CE-1F6B-6D3C7094F03E}"/>
                  </a:ext>
                </a:extLst>
              </p:cNvPr>
              <p:cNvSpPr/>
              <p:nvPr/>
            </p:nvSpPr>
            <p:spPr>
              <a:xfrm>
                <a:off x="3855402" y="2902555"/>
                <a:ext cx="109589" cy="107353"/>
              </a:xfrm>
              <a:custGeom>
                <a:avLst/>
                <a:gdLst>
                  <a:gd name="connsiteX0" fmla="*/ 109545 w 109589"/>
                  <a:gd name="connsiteY0" fmla="*/ 107299 h 107353"/>
                  <a:gd name="connsiteX1" fmla="*/ 97024 w 109589"/>
                  <a:gd name="connsiteY1" fmla="*/ 107299 h 107353"/>
                  <a:gd name="connsiteX2" fmla="*/ 97024 w 109589"/>
                  <a:gd name="connsiteY2" fmla="*/ 35262 h 107353"/>
                  <a:gd name="connsiteX3" fmla="*/ 98120 w 109589"/>
                  <a:gd name="connsiteY3" fmla="*/ 14361 h 107353"/>
                  <a:gd name="connsiteX4" fmla="*/ 97814 w 109589"/>
                  <a:gd name="connsiteY4" fmla="*/ 14361 h 107353"/>
                  <a:gd name="connsiteX5" fmla="*/ 94590 w 109589"/>
                  <a:gd name="connsiteY5" fmla="*/ 24779 h 107353"/>
                  <a:gd name="connsiteX6" fmla="*/ 57870 w 109589"/>
                  <a:gd name="connsiteY6" fmla="*/ 107299 h 107353"/>
                  <a:gd name="connsiteX7" fmla="*/ 51719 w 109589"/>
                  <a:gd name="connsiteY7" fmla="*/ 107299 h 107353"/>
                  <a:gd name="connsiteX8" fmla="*/ 15076 w 109589"/>
                  <a:gd name="connsiteY8" fmla="*/ 25371 h 107353"/>
                  <a:gd name="connsiteX9" fmla="*/ 11852 w 109589"/>
                  <a:gd name="connsiteY9" fmla="*/ 14416 h 107353"/>
                  <a:gd name="connsiteX10" fmla="*/ 11546 w 109589"/>
                  <a:gd name="connsiteY10" fmla="*/ 14416 h 107353"/>
                  <a:gd name="connsiteX11" fmla="*/ 12149 w 109589"/>
                  <a:gd name="connsiteY11" fmla="*/ 35460 h 107353"/>
                  <a:gd name="connsiteX12" fmla="*/ 12149 w 109589"/>
                  <a:gd name="connsiteY12" fmla="*/ 107354 h 107353"/>
                  <a:gd name="connsiteX13" fmla="*/ 0 w 109589"/>
                  <a:gd name="connsiteY13" fmla="*/ 107354 h 107353"/>
                  <a:gd name="connsiteX14" fmla="*/ 0 w 109589"/>
                  <a:gd name="connsiteY14" fmla="*/ 0 h 107353"/>
                  <a:gd name="connsiteX15" fmla="*/ 16644 w 109589"/>
                  <a:gd name="connsiteY15" fmla="*/ 0 h 107353"/>
                  <a:gd name="connsiteX16" fmla="*/ 49625 w 109589"/>
                  <a:gd name="connsiteY16" fmla="*/ 74885 h 107353"/>
                  <a:gd name="connsiteX17" fmla="*/ 54570 w 109589"/>
                  <a:gd name="connsiteY17" fmla="*/ 87767 h 107353"/>
                  <a:gd name="connsiteX18" fmla="*/ 55019 w 109589"/>
                  <a:gd name="connsiteY18" fmla="*/ 87767 h 107353"/>
                  <a:gd name="connsiteX19" fmla="*/ 60195 w 109589"/>
                  <a:gd name="connsiteY19" fmla="*/ 74622 h 107353"/>
                  <a:gd name="connsiteX20" fmla="*/ 93844 w 109589"/>
                  <a:gd name="connsiteY20" fmla="*/ 33 h 107353"/>
                  <a:gd name="connsiteX21" fmla="*/ 109589 w 109589"/>
                  <a:gd name="connsiteY21" fmla="*/ 33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589" h="107353">
                    <a:moveTo>
                      <a:pt x="109545" y="107299"/>
                    </a:moveTo>
                    <a:lnTo>
                      <a:pt x="97024" y="107299"/>
                    </a:lnTo>
                    <a:lnTo>
                      <a:pt x="97024" y="35262"/>
                    </a:lnTo>
                    <a:cubicBezTo>
                      <a:pt x="97024" y="29566"/>
                      <a:pt x="97386" y="22599"/>
                      <a:pt x="98120" y="14361"/>
                    </a:cubicBezTo>
                    <a:lnTo>
                      <a:pt x="97814" y="14361"/>
                    </a:lnTo>
                    <a:cubicBezTo>
                      <a:pt x="97024" y="17915"/>
                      <a:pt x="95949" y="21400"/>
                      <a:pt x="94590" y="24779"/>
                    </a:cubicBezTo>
                    <a:lnTo>
                      <a:pt x="57870" y="107299"/>
                    </a:lnTo>
                    <a:lnTo>
                      <a:pt x="51719" y="107299"/>
                    </a:lnTo>
                    <a:lnTo>
                      <a:pt x="15076" y="25371"/>
                    </a:lnTo>
                    <a:cubicBezTo>
                      <a:pt x="13673" y="21826"/>
                      <a:pt x="12587" y="18158"/>
                      <a:pt x="11852" y="14416"/>
                    </a:cubicBezTo>
                    <a:lnTo>
                      <a:pt x="11546" y="14416"/>
                    </a:lnTo>
                    <a:cubicBezTo>
                      <a:pt x="11940" y="18725"/>
                      <a:pt x="12138" y="25740"/>
                      <a:pt x="12149" y="35460"/>
                    </a:cubicBezTo>
                    <a:lnTo>
                      <a:pt x="12149" y="107354"/>
                    </a:lnTo>
                    <a:lnTo>
                      <a:pt x="0" y="107354"/>
                    </a:lnTo>
                    <a:lnTo>
                      <a:pt x="0" y="0"/>
                    </a:lnTo>
                    <a:lnTo>
                      <a:pt x="16644" y="0"/>
                    </a:lnTo>
                    <a:lnTo>
                      <a:pt x="49625" y="74885"/>
                    </a:lnTo>
                    <a:cubicBezTo>
                      <a:pt x="51577" y="79054"/>
                      <a:pt x="53232" y="83360"/>
                      <a:pt x="54570" y="87767"/>
                    </a:cubicBezTo>
                    <a:lnTo>
                      <a:pt x="55019" y="87767"/>
                    </a:lnTo>
                    <a:cubicBezTo>
                      <a:pt x="57158" y="81874"/>
                      <a:pt x="58890" y="77492"/>
                      <a:pt x="60195" y="74622"/>
                    </a:cubicBezTo>
                    <a:lnTo>
                      <a:pt x="93844" y="33"/>
                    </a:lnTo>
                    <a:lnTo>
                      <a:pt x="109589" y="33"/>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 name="Freeform: Shape 205">
                <a:extLst>
                  <a:ext uri="{FF2B5EF4-FFF2-40B4-BE49-F238E27FC236}">
                    <a16:creationId xmlns:a16="http://schemas.microsoft.com/office/drawing/2014/main" id="{ABD44024-A185-8DCF-A099-8F82842A5AEF}"/>
                  </a:ext>
                </a:extLst>
              </p:cNvPr>
              <p:cNvSpPr/>
              <p:nvPr/>
            </p:nvSpPr>
            <p:spPr>
              <a:xfrm>
                <a:off x="3985180" y="2931333"/>
                <a:ext cx="75703" cy="80357"/>
              </a:xfrm>
              <a:custGeom>
                <a:avLst/>
                <a:gdLst>
                  <a:gd name="connsiteX0" fmla="*/ 37396 w 75703"/>
                  <a:gd name="connsiteY0" fmla="*/ 80317 h 80357"/>
                  <a:gd name="connsiteX1" fmla="*/ 10237 w 75703"/>
                  <a:gd name="connsiteY1" fmla="*/ 69571 h 80357"/>
                  <a:gd name="connsiteX2" fmla="*/ 73 w 75703"/>
                  <a:gd name="connsiteY2" fmla="*/ 41089 h 80357"/>
                  <a:gd name="connsiteX3" fmla="*/ 10643 w 75703"/>
                  <a:gd name="connsiteY3" fmla="*/ 10910 h 80357"/>
                  <a:gd name="connsiteX4" fmla="*/ 39205 w 75703"/>
                  <a:gd name="connsiteY4" fmla="*/ 54 h 80357"/>
                  <a:gd name="connsiteX5" fmla="*/ 66002 w 75703"/>
                  <a:gd name="connsiteY5" fmla="*/ 10614 h 80357"/>
                  <a:gd name="connsiteX6" fmla="*/ 75629 w 75703"/>
                  <a:gd name="connsiteY6" fmla="*/ 39884 h 80357"/>
                  <a:gd name="connsiteX7" fmla="*/ 65256 w 75703"/>
                  <a:gd name="connsiteY7" fmla="*/ 69286 h 80357"/>
                  <a:gd name="connsiteX8" fmla="*/ 37396 w 75703"/>
                  <a:gd name="connsiteY8" fmla="*/ 80317 h 80357"/>
                  <a:gd name="connsiteX9" fmla="*/ 38306 w 75703"/>
                  <a:gd name="connsiteY9" fmla="*/ 10373 h 80357"/>
                  <a:gd name="connsiteX10" fmla="*/ 19568 w 75703"/>
                  <a:gd name="connsiteY10" fmla="*/ 18424 h 80357"/>
                  <a:gd name="connsiteX11" fmla="*/ 12671 w 75703"/>
                  <a:gd name="connsiteY11" fmla="*/ 40629 h 80357"/>
                  <a:gd name="connsiteX12" fmla="*/ 19634 w 75703"/>
                  <a:gd name="connsiteY12" fmla="*/ 62122 h 80357"/>
                  <a:gd name="connsiteX13" fmla="*/ 38273 w 75703"/>
                  <a:gd name="connsiteY13" fmla="*/ 69987 h 80357"/>
                  <a:gd name="connsiteX14" fmla="*/ 56594 w 75703"/>
                  <a:gd name="connsiteY14" fmla="*/ 62319 h 80357"/>
                  <a:gd name="connsiteX15" fmla="*/ 62998 w 75703"/>
                  <a:gd name="connsiteY15" fmla="*/ 40410 h 80357"/>
                  <a:gd name="connsiteX16" fmla="*/ 56594 w 75703"/>
                  <a:gd name="connsiteY16" fmla="*/ 18249 h 80357"/>
                  <a:gd name="connsiteX17" fmla="*/ 38350 w 75703"/>
                  <a:gd name="connsiteY17" fmla="*/ 10373 h 8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703" h="80357">
                    <a:moveTo>
                      <a:pt x="37396" y="80317"/>
                    </a:moveTo>
                    <a:cubicBezTo>
                      <a:pt x="27221" y="80784"/>
                      <a:pt x="17331" y="76872"/>
                      <a:pt x="10237" y="69571"/>
                    </a:cubicBezTo>
                    <a:cubicBezTo>
                      <a:pt x="3231" y="61783"/>
                      <a:pt x="-420" y="51550"/>
                      <a:pt x="73" y="41089"/>
                    </a:cubicBezTo>
                    <a:cubicBezTo>
                      <a:pt x="-585" y="30022"/>
                      <a:pt x="3220" y="19153"/>
                      <a:pt x="10643" y="10910"/>
                    </a:cubicBezTo>
                    <a:cubicBezTo>
                      <a:pt x="18219" y="3457"/>
                      <a:pt x="28581" y="-480"/>
                      <a:pt x="39205" y="54"/>
                    </a:cubicBezTo>
                    <a:cubicBezTo>
                      <a:pt x="49248" y="-508"/>
                      <a:pt x="59039" y="3350"/>
                      <a:pt x="66002" y="10614"/>
                    </a:cubicBezTo>
                    <a:cubicBezTo>
                      <a:pt x="72822" y="18794"/>
                      <a:pt x="76265" y="29260"/>
                      <a:pt x="75629" y="39884"/>
                    </a:cubicBezTo>
                    <a:cubicBezTo>
                      <a:pt x="76155" y="50662"/>
                      <a:pt x="72427" y="61217"/>
                      <a:pt x="65256" y="69286"/>
                    </a:cubicBezTo>
                    <a:cubicBezTo>
                      <a:pt x="57987" y="76788"/>
                      <a:pt x="47834" y="80806"/>
                      <a:pt x="37396" y="80317"/>
                    </a:cubicBezTo>
                    <a:close/>
                    <a:moveTo>
                      <a:pt x="38306" y="10373"/>
                    </a:moveTo>
                    <a:cubicBezTo>
                      <a:pt x="31157" y="10049"/>
                      <a:pt x="24249" y="13016"/>
                      <a:pt x="19568" y="18424"/>
                    </a:cubicBezTo>
                    <a:cubicBezTo>
                      <a:pt x="14656" y="24750"/>
                      <a:pt x="12211" y="32638"/>
                      <a:pt x="12671" y="40629"/>
                    </a:cubicBezTo>
                    <a:cubicBezTo>
                      <a:pt x="12232" y="48409"/>
                      <a:pt x="14721" y="56072"/>
                      <a:pt x="19634" y="62122"/>
                    </a:cubicBezTo>
                    <a:cubicBezTo>
                      <a:pt x="24359" y="67392"/>
                      <a:pt x="31201" y="70276"/>
                      <a:pt x="38273" y="69987"/>
                    </a:cubicBezTo>
                    <a:cubicBezTo>
                      <a:pt x="45246" y="70418"/>
                      <a:pt x="52011" y="67583"/>
                      <a:pt x="56594" y="62319"/>
                    </a:cubicBezTo>
                    <a:cubicBezTo>
                      <a:pt x="61232" y="55992"/>
                      <a:pt x="63502" y="48237"/>
                      <a:pt x="62998" y="40410"/>
                    </a:cubicBezTo>
                    <a:cubicBezTo>
                      <a:pt x="63513" y="32503"/>
                      <a:pt x="61254" y="24663"/>
                      <a:pt x="56594" y="18249"/>
                    </a:cubicBezTo>
                    <a:cubicBezTo>
                      <a:pt x="52077" y="12920"/>
                      <a:pt x="45334" y="10006"/>
                      <a:pt x="38350" y="1037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 name="Freeform: Shape 206">
                <a:extLst>
                  <a:ext uri="{FF2B5EF4-FFF2-40B4-BE49-F238E27FC236}">
                    <a16:creationId xmlns:a16="http://schemas.microsoft.com/office/drawing/2014/main" id="{D8B71EF1-CBAD-175B-043E-681D83DFD689}"/>
                  </a:ext>
                </a:extLst>
              </p:cNvPr>
              <p:cNvSpPr/>
              <p:nvPr/>
            </p:nvSpPr>
            <p:spPr>
              <a:xfrm>
                <a:off x="4079624" y="2896333"/>
                <a:ext cx="70660" cy="115346"/>
              </a:xfrm>
              <a:custGeom>
                <a:avLst/>
                <a:gdLst>
                  <a:gd name="connsiteX0" fmla="*/ 12587 w 70660"/>
                  <a:gd name="connsiteY0" fmla="*/ 102413 h 115346"/>
                  <a:gd name="connsiteX1" fmla="*/ 12291 w 70660"/>
                  <a:gd name="connsiteY1" fmla="*/ 102413 h 115346"/>
                  <a:gd name="connsiteX2" fmla="*/ 12291 w 70660"/>
                  <a:gd name="connsiteY2" fmla="*/ 113499 h 115346"/>
                  <a:gd name="connsiteX3" fmla="*/ 0 w 70660"/>
                  <a:gd name="connsiteY3" fmla="*/ 113499 h 115346"/>
                  <a:gd name="connsiteX4" fmla="*/ 0 w 70660"/>
                  <a:gd name="connsiteY4" fmla="*/ 0 h 115346"/>
                  <a:gd name="connsiteX5" fmla="*/ 12291 w 70660"/>
                  <a:gd name="connsiteY5" fmla="*/ 0 h 115346"/>
                  <a:gd name="connsiteX6" fmla="*/ 12291 w 70660"/>
                  <a:gd name="connsiteY6" fmla="*/ 50314 h 115346"/>
                  <a:gd name="connsiteX7" fmla="*/ 12587 w 70660"/>
                  <a:gd name="connsiteY7" fmla="*/ 50314 h 115346"/>
                  <a:gd name="connsiteX8" fmla="*/ 39121 w 70660"/>
                  <a:gd name="connsiteY8" fmla="*/ 35043 h 115346"/>
                  <a:gd name="connsiteX9" fmla="*/ 62234 w 70660"/>
                  <a:gd name="connsiteY9" fmla="*/ 45341 h 115346"/>
                  <a:gd name="connsiteX10" fmla="*/ 70600 w 70660"/>
                  <a:gd name="connsiteY10" fmla="*/ 72935 h 115346"/>
                  <a:gd name="connsiteX11" fmla="*/ 61236 w 70660"/>
                  <a:gd name="connsiteY11" fmla="*/ 103750 h 115346"/>
                  <a:gd name="connsiteX12" fmla="*/ 35601 w 70660"/>
                  <a:gd name="connsiteY12" fmla="*/ 115318 h 115346"/>
                  <a:gd name="connsiteX13" fmla="*/ 12587 w 70660"/>
                  <a:gd name="connsiteY13" fmla="*/ 102413 h 115346"/>
                  <a:gd name="connsiteX14" fmla="*/ 12291 w 70660"/>
                  <a:gd name="connsiteY14" fmla="*/ 71489 h 115346"/>
                  <a:gd name="connsiteX15" fmla="*/ 12291 w 70660"/>
                  <a:gd name="connsiteY15" fmla="*/ 82191 h 115346"/>
                  <a:gd name="connsiteX16" fmla="*/ 18464 w 70660"/>
                  <a:gd name="connsiteY16" fmla="*/ 98338 h 115346"/>
                  <a:gd name="connsiteX17" fmla="*/ 49658 w 70660"/>
                  <a:gd name="connsiteY17" fmla="*/ 98681 h 115346"/>
                  <a:gd name="connsiteX18" fmla="*/ 51675 w 70660"/>
                  <a:gd name="connsiteY18" fmla="*/ 96421 h 115346"/>
                  <a:gd name="connsiteX19" fmla="*/ 58012 w 70660"/>
                  <a:gd name="connsiteY19" fmla="*/ 72683 h 115346"/>
                  <a:gd name="connsiteX20" fmla="*/ 52092 w 70660"/>
                  <a:gd name="connsiteY20" fmla="*/ 52614 h 115346"/>
                  <a:gd name="connsiteX21" fmla="*/ 36051 w 70660"/>
                  <a:gd name="connsiteY21" fmla="*/ 45352 h 115346"/>
                  <a:gd name="connsiteX22" fmla="*/ 18804 w 70660"/>
                  <a:gd name="connsiteY22" fmla="*/ 52801 h 115346"/>
                  <a:gd name="connsiteX23" fmla="*/ 12291 w 70660"/>
                  <a:gd name="connsiteY23" fmla="*/ 71511 h 11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60" h="115346">
                    <a:moveTo>
                      <a:pt x="12587" y="102413"/>
                    </a:moveTo>
                    <a:lnTo>
                      <a:pt x="12291" y="102413"/>
                    </a:lnTo>
                    <a:lnTo>
                      <a:pt x="12291" y="113499"/>
                    </a:lnTo>
                    <a:lnTo>
                      <a:pt x="0" y="113499"/>
                    </a:lnTo>
                    <a:lnTo>
                      <a:pt x="0" y="0"/>
                    </a:lnTo>
                    <a:lnTo>
                      <a:pt x="12291" y="0"/>
                    </a:lnTo>
                    <a:lnTo>
                      <a:pt x="12291" y="50314"/>
                    </a:lnTo>
                    <a:lnTo>
                      <a:pt x="12587" y="50314"/>
                    </a:lnTo>
                    <a:cubicBezTo>
                      <a:pt x="17817" y="40603"/>
                      <a:pt x="28091" y="34686"/>
                      <a:pt x="39121" y="35043"/>
                    </a:cubicBezTo>
                    <a:cubicBezTo>
                      <a:pt x="48024" y="34618"/>
                      <a:pt x="56598" y="38439"/>
                      <a:pt x="62234" y="45341"/>
                    </a:cubicBezTo>
                    <a:cubicBezTo>
                      <a:pt x="68155" y="53281"/>
                      <a:pt x="71115" y="63043"/>
                      <a:pt x="70600" y="72935"/>
                    </a:cubicBezTo>
                    <a:cubicBezTo>
                      <a:pt x="71159" y="83981"/>
                      <a:pt x="67848" y="94878"/>
                      <a:pt x="61236" y="103750"/>
                    </a:cubicBezTo>
                    <a:cubicBezTo>
                      <a:pt x="55008" y="111451"/>
                      <a:pt x="45502" y="115743"/>
                      <a:pt x="35601" y="115318"/>
                    </a:cubicBezTo>
                    <a:cubicBezTo>
                      <a:pt x="26106" y="115690"/>
                      <a:pt x="17214" y="110703"/>
                      <a:pt x="12587" y="102413"/>
                    </a:cubicBezTo>
                    <a:close/>
                    <a:moveTo>
                      <a:pt x="12291" y="71489"/>
                    </a:moveTo>
                    <a:lnTo>
                      <a:pt x="12291" y="82191"/>
                    </a:lnTo>
                    <a:cubicBezTo>
                      <a:pt x="12149" y="88174"/>
                      <a:pt x="14363" y="93973"/>
                      <a:pt x="18464" y="98338"/>
                    </a:cubicBezTo>
                    <a:cubicBezTo>
                      <a:pt x="26983" y="107039"/>
                      <a:pt x="40952" y="107193"/>
                      <a:pt x="49658" y="98681"/>
                    </a:cubicBezTo>
                    <a:cubicBezTo>
                      <a:pt x="50381" y="97975"/>
                      <a:pt x="51061" y="97220"/>
                      <a:pt x="51675" y="96421"/>
                    </a:cubicBezTo>
                    <a:cubicBezTo>
                      <a:pt x="56280" y="89393"/>
                      <a:pt x="58506" y="81070"/>
                      <a:pt x="58012" y="72683"/>
                    </a:cubicBezTo>
                    <a:cubicBezTo>
                      <a:pt x="58429" y="65510"/>
                      <a:pt x="56335" y="58416"/>
                      <a:pt x="52092" y="52614"/>
                    </a:cubicBezTo>
                    <a:cubicBezTo>
                      <a:pt x="48199" y="47797"/>
                      <a:pt x="42246" y="45103"/>
                      <a:pt x="36051" y="45352"/>
                    </a:cubicBezTo>
                    <a:cubicBezTo>
                      <a:pt x="29472" y="45104"/>
                      <a:pt x="23135" y="47843"/>
                      <a:pt x="18804" y="52801"/>
                    </a:cubicBezTo>
                    <a:cubicBezTo>
                      <a:pt x="14374" y="58007"/>
                      <a:pt x="12050" y="64681"/>
                      <a:pt x="12291" y="7151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8" name="Freeform: Shape 207">
                <a:extLst>
                  <a:ext uri="{FF2B5EF4-FFF2-40B4-BE49-F238E27FC236}">
                    <a16:creationId xmlns:a16="http://schemas.microsoft.com/office/drawing/2014/main" id="{280EA3C7-BBC3-AB35-03BA-29C77DFA7E20}"/>
                  </a:ext>
                </a:extLst>
              </p:cNvPr>
              <p:cNvSpPr/>
              <p:nvPr/>
            </p:nvSpPr>
            <p:spPr>
              <a:xfrm>
                <a:off x="4167193" y="2897745"/>
                <a:ext cx="16045" cy="112109"/>
              </a:xfrm>
              <a:custGeom>
                <a:avLst/>
                <a:gdLst>
                  <a:gd name="connsiteX0" fmla="*/ 7953 w 16045"/>
                  <a:gd name="connsiteY0" fmla="*/ 15951 h 112109"/>
                  <a:gd name="connsiteX1" fmla="*/ 2328 w 16045"/>
                  <a:gd name="connsiteY1" fmla="*/ 13705 h 112109"/>
                  <a:gd name="connsiteX2" fmla="*/ 4 w 16045"/>
                  <a:gd name="connsiteY2" fmla="*/ 8020 h 112109"/>
                  <a:gd name="connsiteX3" fmla="*/ 7744 w 16045"/>
                  <a:gd name="connsiteY3" fmla="*/ 3 h 112109"/>
                  <a:gd name="connsiteX4" fmla="*/ 7953 w 16045"/>
                  <a:gd name="connsiteY4" fmla="*/ 1 h 112109"/>
                  <a:gd name="connsiteX5" fmla="*/ 13687 w 16045"/>
                  <a:gd name="connsiteY5" fmla="*/ 2291 h 112109"/>
                  <a:gd name="connsiteX6" fmla="*/ 13709 w 16045"/>
                  <a:gd name="connsiteY6" fmla="*/ 13616 h 112109"/>
                  <a:gd name="connsiteX7" fmla="*/ 13687 w 16045"/>
                  <a:gd name="connsiteY7" fmla="*/ 13640 h 112109"/>
                  <a:gd name="connsiteX8" fmla="*/ 7953 w 16045"/>
                  <a:gd name="connsiteY8" fmla="*/ 15951 h 112109"/>
                  <a:gd name="connsiteX9" fmla="*/ 13939 w 16045"/>
                  <a:gd name="connsiteY9" fmla="*/ 112109 h 112109"/>
                  <a:gd name="connsiteX10" fmla="*/ 1648 w 16045"/>
                  <a:gd name="connsiteY10" fmla="*/ 112109 h 112109"/>
                  <a:gd name="connsiteX11" fmla="*/ 1648 w 16045"/>
                  <a:gd name="connsiteY11" fmla="*/ 35428 h 112109"/>
                  <a:gd name="connsiteX12" fmla="*/ 13939 w 16045"/>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5" h="112109">
                    <a:moveTo>
                      <a:pt x="7953" y="15951"/>
                    </a:moveTo>
                    <a:cubicBezTo>
                      <a:pt x="5847" y="15993"/>
                      <a:pt x="3819" y="15183"/>
                      <a:pt x="2328" y="13705"/>
                    </a:cubicBezTo>
                    <a:cubicBezTo>
                      <a:pt x="782" y="12222"/>
                      <a:pt x="-62" y="10158"/>
                      <a:pt x="4" y="8020"/>
                    </a:cubicBezTo>
                    <a:cubicBezTo>
                      <a:pt x="-73" y="3671"/>
                      <a:pt x="3391" y="81"/>
                      <a:pt x="7744" y="3"/>
                    </a:cubicBezTo>
                    <a:cubicBezTo>
                      <a:pt x="7810" y="1"/>
                      <a:pt x="7887" y="0"/>
                      <a:pt x="7953" y="1"/>
                    </a:cubicBezTo>
                    <a:cubicBezTo>
                      <a:pt x="10091" y="-39"/>
                      <a:pt x="12163" y="787"/>
                      <a:pt x="13687" y="2291"/>
                    </a:cubicBezTo>
                    <a:cubicBezTo>
                      <a:pt x="16823" y="5412"/>
                      <a:pt x="16834" y="10482"/>
                      <a:pt x="13709" y="13616"/>
                    </a:cubicBezTo>
                    <a:cubicBezTo>
                      <a:pt x="13698" y="13623"/>
                      <a:pt x="13698" y="13632"/>
                      <a:pt x="13687" y="13640"/>
                    </a:cubicBezTo>
                    <a:cubicBezTo>
                      <a:pt x="12174" y="15158"/>
                      <a:pt x="10102" y="15993"/>
                      <a:pt x="7953" y="15951"/>
                    </a:cubicBezTo>
                    <a:close/>
                    <a:moveTo>
                      <a:pt x="13939" y="112109"/>
                    </a:moveTo>
                    <a:lnTo>
                      <a:pt x="1648" y="112109"/>
                    </a:lnTo>
                    <a:lnTo>
                      <a:pt x="1648" y="35428"/>
                    </a:lnTo>
                    <a:lnTo>
                      <a:pt x="13939" y="35428"/>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9" name="Freeform: Shape 208">
                <a:extLst>
                  <a:ext uri="{FF2B5EF4-FFF2-40B4-BE49-F238E27FC236}">
                    <a16:creationId xmlns:a16="http://schemas.microsoft.com/office/drawing/2014/main" id="{365A1FC5-803F-0489-F97F-6BEB650D2AC7}"/>
                  </a:ext>
                </a:extLst>
              </p:cNvPr>
              <p:cNvSpPr/>
              <p:nvPr/>
            </p:nvSpPr>
            <p:spPr>
              <a:xfrm>
                <a:off x="4204442" y="2896333"/>
                <a:ext cx="12301" cy="113521"/>
              </a:xfrm>
              <a:custGeom>
                <a:avLst/>
                <a:gdLst>
                  <a:gd name="connsiteX0" fmla="*/ 12302 w 12301"/>
                  <a:gd name="connsiteY0" fmla="*/ 113521 h 113521"/>
                  <a:gd name="connsiteX1" fmla="*/ 0 w 12301"/>
                  <a:gd name="connsiteY1" fmla="*/ 113521 h 113521"/>
                  <a:gd name="connsiteX2" fmla="*/ 0 w 12301"/>
                  <a:gd name="connsiteY2" fmla="*/ 0 h 113521"/>
                  <a:gd name="connsiteX3" fmla="*/ 12291 w 12301"/>
                  <a:gd name="connsiteY3" fmla="*/ 0 h 113521"/>
                </a:gdLst>
                <a:ahLst/>
                <a:cxnLst>
                  <a:cxn ang="0">
                    <a:pos x="connsiteX0" y="connsiteY0"/>
                  </a:cxn>
                  <a:cxn ang="0">
                    <a:pos x="connsiteX1" y="connsiteY1"/>
                  </a:cxn>
                  <a:cxn ang="0">
                    <a:pos x="connsiteX2" y="connsiteY2"/>
                  </a:cxn>
                  <a:cxn ang="0">
                    <a:pos x="connsiteX3" y="connsiteY3"/>
                  </a:cxn>
                </a:cxnLst>
                <a:rect l="l" t="t" r="r" b="b"/>
                <a:pathLst>
                  <a:path w="12301" h="113521">
                    <a:moveTo>
                      <a:pt x="12302" y="113521"/>
                    </a:moveTo>
                    <a:lnTo>
                      <a:pt x="0" y="113521"/>
                    </a:lnTo>
                    <a:lnTo>
                      <a:pt x="0" y="0"/>
                    </a:lnTo>
                    <a:lnTo>
                      <a:pt x="12291"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0" name="Freeform: Shape 209">
                <a:extLst>
                  <a:ext uri="{FF2B5EF4-FFF2-40B4-BE49-F238E27FC236}">
                    <a16:creationId xmlns:a16="http://schemas.microsoft.com/office/drawing/2014/main" id="{4247A639-EA98-45CA-C004-ACE4C1415501}"/>
                  </a:ext>
                </a:extLst>
              </p:cNvPr>
              <p:cNvSpPr/>
              <p:nvPr/>
            </p:nvSpPr>
            <p:spPr>
              <a:xfrm>
                <a:off x="4235672" y="2931329"/>
                <a:ext cx="67097" cy="80375"/>
              </a:xfrm>
              <a:custGeom>
                <a:avLst/>
                <a:gdLst>
                  <a:gd name="connsiteX0" fmla="*/ 67011 w 67097"/>
                  <a:gd name="connsiteY0" fmla="*/ 43252 h 80375"/>
                  <a:gd name="connsiteX1" fmla="*/ 12826 w 67097"/>
                  <a:gd name="connsiteY1" fmla="*/ 43252 h 80375"/>
                  <a:gd name="connsiteX2" fmla="*/ 19722 w 67097"/>
                  <a:gd name="connsiteY2" fmla="*/ 63025 h 80375"/>
                  <a:gd name="connsiteX3" fmla="*/ 37857 w 67097"/>
                  <a:gd name="connsiteY3" fmla="*/ 69992 h 80375"/>
                  <a:gd name="connsiteX4" fmla="*/ 61694 w 67097"/>
                  <a:gd name="connsiteY4" fmla="*/ 61447 h 80375"/>
                  <a:gd name="connsiteX5" fmla="*/ 61694 w 67097"/>
                  <a:gd name="connsiteY5" fmla="*/ 72982 h 80375"/>
                  <a:gd name="connsiteX6" fmla="*/ 34941 w 67097"/>
                  <a:gd name="connsiteY6" fmla="*/ 80322 h 80375"/>
                  <a:gd name="connsiteX7" fmla="*/ 9382 w 67097"/>
                  <a:gd name="connsiteY7" fmla="*/ 69871 h 80375"/>
                  <a:gd name="connsiteX8" fmla="*/ 85 w 67097"/>
                  <a:gd name="connsiteY8" fmla="*/ 40480 h 80375"/>
                  <a:gd name="connsiteX9" fmla="*/ 10249 w 67097"/>
                  <a:gd name="connsiteY9" fmla="*/ 11320 h 80375"/>
                  <a:gd name="connsiteX10" fmla="*/ 35467 w 67097"/>
                  <a:gd name="connsiteY10" fmla="*/ 48 h 80375"/>
                  <a:gd name="connsiteX11" fmla="*/ 58777 w 67097"/>
                  <a:gd name="connsiteY11" fmla="*/ 9775 h 80375"/>
                  <a:gd name="connsiteX12" fmla="*/ 67022 w 67097"/>
                  <a:gd name="connsiteY12" fmla="*/ 36811 h 80375"/>
                  <a:gd name="connsiteX13" fmla="*/ 54424 w 67097"/>
                  <a:gd name="connsiteY13" fmla="*/ 32845 h 80375"/>
                  <a:gd name="connsiteX14" fmla="*/ 49293 w 67097"/>
                  <a:gd name="connsiteY14" fmla="*/ 16293 h 80375"/>
                  <a:gd name="connsiteX15" fmla="*/ 35236 w 67097"/>
                  <a:gd name="connsiteY15" fmla="*/ 10378 h 80375"/>
                  <a:gd name="connsiteX16" fmla="*/ 20468 w 67097"/>
                  <a:gd name="connsiteY16" fmla="*/ 16589 h 80375"/>
                  <a:gd name="connsiteX17" fmla="*/ 12979 w 67097"/>
                  <a:gd name="connsiteY17" fmla="*/ 32845 h 8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7" h="80375">
                    <a:moveTo>
                      <a:pt x="67011" y="43252"/>
                    </a:moveTo>
                    <a:lnTo>
                      <a:pt x="12826" y="43252"/>
                    </a:lnTo>
                    <a:cubicBezTo>
                      <a:pt x="12551" y="50475"/>
                      <a:pt x="15018" y="57534"/>
                      <a:pt x="19722" y="63025"/>
                    </a:cubicBezTo>
                    <a:cubicBezTo>
                      <a:pt x="24503" y="67822"/>
                      <a:pt x="31092" y="70357"/>
                      <a:pt x="37857" y="69992"/>
                    </a:cubicBezTo>
                    <a:cubicBezTo>
                      <a:pt x="46552" y="69978"/>
                      <a:pt x="54973" y="66958"/>
                      <a:pt x="61694" y="61447"/>
                    </a:cubicBezTo>
                    <a:lnTo>
                      <a:pt x="61694" y="72982"/>
                    </a:lnTo>
                    <a:cubicBezTo>
                      <a:pt x="53788" y="78213"/>
                      <a:pt x="44414" y="80785"/>
                      <a:pt x="34941" y="80322"/>
                    </a:cubicBezTo>
                    <a:cubicBezTo>
                      <a:pt x="25292" y="80817"/>
                      <a:pt x="15917" y="76985"/>
                      <a:pt x="9382" y="69871"/>
                    </a:cubicBezTo>
                    <a:cubicBezTo>
                      <a:pt x="2727" y="61571"/>
                      <a:pt x="-584" y="51092"/>
                      <a:pt x="85" y="40480"/>
                    </a:cubicBezTo>
                    <a:cubicBezTo>
                      <a:pt x="-376" y="29821"/>
                      <a:pt x="3264" y="19390"/>
                      <a:pt x="10249" y="11320"/>
                    </a:cubicBezTo>
                    <a:cubicBezTo>
                      <a:pt x="16564" y="4004"/>
                      <a:pt x="25807" y="-127"/>
                      <a:pt x="35467" y="48"/>
                    </a:cubicBezTo>
                    <a:cubicBezTo>
                      <a:pt x="44315" y="-461"/>
                      <a:pt x="52911" y="3127"/>
                      <a:pt x="58777" y="9775"/>
                    </a:cubicBezTo>
                    <a:cubicBezTo>
                      <a:pt x="64687" y="17507"/>
                      <a:pt x="67614" y="27103"/>
                      <a:pt x="67022" y="36811"/>
                    </a:cubicBezTo>
                    <a:close/>
                    <a:moveTo>
                      <a:pt x="54424" y="32845"/>
                    </a:moveTo>
                    <a:cubicBezTo>
                      <a:pt x="54753" y="26893"/>
                      <a:pt x="52933" y="21021"/>
                      <a:pt x="49293" y="16293"/>
                    </a:cubicBezTo>
                    <a:cubicBezTo>
                      <a:pt x="45751" y="12283"/>
                      <a:pt x="40576" y="10105"/>
                      <a:pt x="35236" y="10378"/>
                    </a:cubicBezTo>
                    <a:cubicBezTo>
                      <a:pt x="29656" y="10286"/>
                      <a:pt x="24305" y="12540"/>
                      <a:pt x="20468" y="16589"/>
                    </a:cubicBezTo>
                    <a:cubicBezTo>
                      <a:pt x="16279" y="21055"/>
                      <a:pt x="13648" y="26759"/>
                      <a:pt x="12979" y="3284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1" name="Freeform: Shape 210">
                <a:extLst>
                  <a:ext uri="{FF2B5EF4-FFF2-40B4-BE49-F238E27FC236}">
                    <a16:creationId xmlns:a16="http://schemas.microsoft.com/office/drawing/2014/main" id="{11972877-C915-280B-F20D-78F14F4A221C}"/>
                  </a:ext>
                </a:extLst>
              </p:cNvPr>
              <p:cNvSpPr/>
              <p:nvPr/>
            </p:nvSpPr>
            <p:spPr>
              <a:xfrm>
                <a:off x="4357606" y="2931368"/>
                <a:ext cx="60674" cy="80326"/>
              </a:xfrm>
              <a:custGeom>
                <a:avLst/>
                <a:gdLst>
                  <a:gd name="connsiteX0" fmla="*/ 60642 w 60674"/>
                  <a:gd name="connsiteY0" fmla="*/ 78486 h 80326"/>
                  <a:gd name="connsiteX1" fmla="*/ 48362 w 60674"/>
                  <a:gd name="connsiteY1" fmla="*/ 78486 h 80326"/>
                  <a:gd name="connsiteX2" fmla="*/ 48362 w 60674"/>
                  <a:gd name="connsiteY2" fmla="*/ 66502 h 80326"/>
                  <a:gd name="connsiteX3" fmla="*/ 48066 w 60674"/>
                  <a:gd name="connsiteY3" fmla="*/ 66502 h 80326"/>
                  <a:gd name="connsiteX4" fmla="*/ 24459 w 60674"/>
                  <a:gd name="connsiteY4" fmla="*/ 80283 h 80326"/>
                  <a:gd name="connsiteX5" fmla="*/ 6511 w 60674"/>
                  <a:gd name="connsiteY5" fmla="*/ 74214 h 80326"/>
                  <a:gd name="connsiteX6" fmla="*/ 20 w 60674"/>
                  <a:gd name="connsiteY6" fmla="*/ 58111 h 80326"/>
                  <a:gd name="connsiteX7" fmla="*/ 25358 w 60674"/>
                  <a:gd name="connsiteY7" fmla="*/ 33102 h 80326"/>
                  <a:gd name="connsiteX8" fmla="*/ 48384 w 60674"/>
                  <a:gd name="connsiteY8" fmla="*/ 29881 h 80326"/>
                  <a:gd name="connsiteX9" fmla="*/ 32573 w 60674"/>
                  <a:gd name="connsiteY9" fmla="*/ 10339 h 80326"/>
                  <a:gd name="connsiteX10" fmla="*/ 7541 w 60674"/>
                  <a:gd name="connsiteY10" fmla="*/ 19770 h 80326"/>
                  <a:gd name="connsiteX11" fmla="*/ 7541 w 60674"/>
                  <a:gd name="connsiteY11" fmla="*/ 7195 h 80326"/>
                  <a:gd name="connsiteX12" fmla="*/ 33625 w 60674"/>
                  <a:gd name="connsiteY12" fmla="*/ 9 h 80326"/>
                  <a:gd name="connsiteX13" fmla="*/ 60675 w 60674"/>
                  <a:gd name="connsiteY13" fmla="*/ 28611 h 80326"/>
                  <a:gd name="connsiteX14" fmla="*/ 48351 w 60674"/>
                  <a:gd name="connsiteY14" fmla="*/ 39697 h 80326"/>
                  <a:gd name="connsiteX15" fmla="*/ 29843 w 60674"/>
                  <a:gd name="connsiteY15" fmla="*/ 42238 h 80326"/>
                  <a:gd name="connsiteX16" fmla="*/ 16949 w 60674"/>
                  <a:gd name="connsiteY16" fmla="*/ 46467 h 80326"/>
                  <a:gd name="connsiteX17" fmla="*/ 12563 w 60674"/>
                  <a:gd name="connsiteY17" fmla="*/ 57213 h 80326"/>
                  <a:gd name="connsiteX18" fmla="*/ 16576 w 60674"/>
                  <a:gd name="connsiteY18" fmla="*/ 66393 h 80326"/>
                  <a:gd name="connsiteX19" fmla="*/ 27244 w 60674"/>
                  <a:gd name="connsiteY19" fmla="*/ 69953 h 80326"/>
                  <a:gd name="connsiteX20" fmla="*/ 42353 w 60674"/>
                  <a:gd name="connsiteY20" fmla="*/ 63545 h 80326"/>
                  <a:gd name="connsiteX21" fmla="*/ 48307 w 60674"/>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42" y="78486"/>
                    </a:moveTo>
                    <a:lnTo>
                      <a:pt x="48362" y="78486"/>
                    </a:lnTo>
                    <a:lnTo>
                      <a:pt x="48362" y="66502"/>
                    </a:lnTo>
                    <a:lnTo>
                      <a:pt x="48066" y="66502"/>
                    </a:lnTo>
                    <a:cubicBezTo>
                      <a:pt x="43494" y="75237"/>
                      <a:pt x="34316" y="80591"/>
                      <a:pt x="24459" y="80283"/>
                    </a:cubicBezTo>
                    <a:cubicBezTo>
                      <a:pt x="17914" y="80669"/>
                      <a:pt x="11477" y="78492"/>
                      <a:pt x="6511" y="74214"/>
                    </a:cubicBezTo>
                    <a:cubicBezTo>
                      <a:pt x="2125" y="70034"/>
                      <a:pt x="-243" y="64163"/>
                      <a:pt x="20" y="58111"/>
                    </a:cubicBezTo>
                    <a:cubicBezTo>
                      <a:pt x="20" y="43783"/>
                      <a:pt x="8462" y="35446"/>
                      <a:pt x="25358" y="33102"/>
                    </a:cubicBezTo>
                    <a:lnTo>
                      <a:pt x="48384" y="29881"/>
                    </a:lnTo>
                    <a:cubicBezTo>
                      <a:pt x="48384" y="16853"/>
                      <a:pt x="43110" y="10339"/>
                      <a:pt x="32573" y="10339"/>
                    </a:cubicBezTo>
                    <a:cubicBezTo>
                      <a:pt x="23352" y="10328"/>
                      <a:pt x="14460" y="13682"/>
                      <a:pt x="7541" y="19770"/>
                    </a:cubicBezTo>
                    <a:lnTo>
                      <a:pt x="7541" y="7195"/>
                    </a:lnTo>
                    <a:cubicBezTo>
                      <a:pt x="15359" y="2329"/>
                      <a:pt x="24415" y="-167"/>
                      <a:pt x="33625" y="9"/>
                    </a:cubicBezTo>
                    <a:cubicBezTo>
                      <a:pt x="51662" y="9"/>
                      <a:pt x="60675" y="9542"/>
                      <a:pt x="60675" y="28611"/>
                    </a:cubicBezTo>
                    <a:close/>
                    <a:moveTo>
                      <a:pt x="48351" y="39697"/>
                    </a:moveTo>
                    <a:lnTo>
                      <a:pt x="29843" y="42238"/>
                    </a:lnTo>
                    <a:cubicBezTo>
                      <a:pt x="25282" y="42651"/>
                      <a:pt x="20874" y="44097"/>
                      <a:pt x="16949" y="46467"/>
                    </a:cubicBezTo>
                    <a:cubicBezTo>
                      <a:pt x="13769" y="49082"/>
                      <a:pt x="12124" y="53121"/>
                      <a:pt x="12563" y="57213"/>
                    </a:cubicBezTo>
                    <a:cubicBezTo>
                      <a:pt x="12453" y="60719"/>
                      <a:pt x="13933" y="64089"/>
                      <a:pt x="16576" y="66393"/>
                    </a:cubicBezTo>
                    <a:cubicBezTo>
                      <a:pt x="19558" y="68874"/>
                      <a:pt x="23363" y="70145"/>
                      <a:pt x="27244" y="69953"/>
                    </a:cubicBezTo>
                    <a:cubicBezTo>
                      <a:pt x="32968" y="70110"/>
                      <a:pt x="38483" y="67771"/>
                      <a:pt x="42353" y="63545"/>
                    </a:cubicBezTo>
                    <a:cubicBezTo>
                      <a:pt x="46388" y="59127"/>
                      <a:pt x="48526" y="53306"/>
                      <a:pt x="48307" y="473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2" name="Freeform: Shape 211">
                <a:extLst>
                  <a:ext uri="{FF2B5EF4-FFF2-40B4-BE49-F238E27FC236}">
                    <a16:creationId xmlns:a16="http://schemas.microsoft.com/office/drawing/2014/main" id="{A4A965E4-471D-0804-1DB4-6743FAF533F4}"/>
                  </a:ext>
                </a:extLst>
              </p:cNvPr>
              <p:cNvSpPr/>
              <p:nvPr/>
            </p:nvSpPr>
            <p:spPr>
              <a:xfrm>
                <a:off x="4440429" y="2931364"/>
                <a:ext cx="63819" cy="78523"/>
              </a:xfrm>
              <a:custGeom>
                <a:avLst/>
                <a:gdLst>
                  <a:gd name="connsiteX0" fmla="*/ 63703 w 63819"/>
                  <a:gd name="connsiteY0" fmla="*/ 78490 h 78523"/>
                  <a:gd name="connsiteX1" fmla="*/ 51412 w 63819"/>
                  <a:gd name="connsiteY1" fmla="*/ 78490 h 78523"/>
                  <a:gd name="connsiteX2" fmla="*/ 51412 w 63819"/>
                  <a:gd name="connsiteY2" fmla="*/ 34760 h 78523"/>
                  <a:gd name="connsiteX3" fmla="*/ 33573 w 63819"/>
                  <a:gd name="connsiteY3" fmla="*/ 10343 h 78523"/>
                  <a:gd name="connsiteX4" fmla="*/ 18333 w 63819"/>
                  <a:gd name="connsiteY4" fmla="*/ 17266 h 78523"/>
                  <a:gd name="connsiteX5" fmla="*/ 12291 w 63819"/>
                  <a:gd name="connsiteY5" fmla="*/ 34793 h 78523"/>
                  <a:gd name="connsiteX6" fmla="*/ 12291 w 63819"/>
                  <a:gd name="connsiteY6" fmla="*/ 78523 h 78523"/>
                  <a:gd name="connsiteX7" fmla="*/ 0 w 63819"/>
                  <a:gd name="connsiteY7" fmla="*/ 78523 h 78523"/>
                  <a:gd name="connsiteX8" fmla="*/ 0 w 63819"/>
                  <a:gd name="connsiteY8" fmla="*/ 1842 h 78523"/>
                  <a:gd name="connsiteX9" fmla="*/ 12291 w 63819"/>
                  <a:gd name="connsiteY9" fmla="*/ 1842 h 78523"/>
                  <a:gd name="connsiteX10" fmla="*/ 12291 w 63819"/>
                  <a:gd name="connsiteY10" fmla="*/ 14571 h 78523"/>
                  <a:gd name="connsiteX11" fmla="*/ 12587 w 63819"/>
                  <a:gd name="connsiteY11" fmla="*/ 14571 h 78523"/>
                  <a:gd name="connsiteX12" fmla="*/ 37806 w 63819"/>
                  <a:gd name="connsiteY12" fmla="*/ 45 h 78523"/>
                  <a:gd name="connsiteX13" fmla="*/ 57070 w 63819"/>
                  <a:gd name="connsiteY13" fmla="*/ 8163 h 78523"/>
                  <a:gd name="connsiteX14" fmla="*/ 63736 w 63819"/>
                  <a:gd name="connsiteY14" fmla="*/ 31649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23">
                    <a:moveTo>
                      <a:pt x="63703" y="78490"/>
                    </a:moveTo>
                    <a:lnTo>
                      <a:pt x="51412" y="78490"/>
                    </a:lnTo>
                    <a:lnTo>
                      <a:pt x="51412" y="34760"/>
                    </a:lnTo>
                    <a:cubicBezTo>
                      <a:pt x="51412" y="18482"/>
                      <a:pt x="45469" y="10343"/>
                      <a:pt x="33573" y="10343"/>
                    </a:cubicBezTo>
                    <a:cubicBezTo>
                      <a:pt x="27707" y="10220"/>
                      <a:pt x="22093" y="12767"/>
                      <a:pt x="18333" y="17266"/>
                    </a:cubicBezTo>
                    <a:cubicBezTo>
                      <a:pt x="14210" y="22154"/>
                      <a:pt x="12050" y="28403"/>
                      <a:pt x="12291" y="34793"/>
                    </a:cubicBezTo>
                    <a:lnTo>
                      <a:pt x="12291" y="78523"/>
                    </a:lnTo>
                    <a:lnTo>
                      <a:pt x="0" y="78523"/>
                    </a:lnTo>
                    <a:lnTo>
                      <a:pt x="0" y="1842"/>
                    </a:lnTo>
                    <a:lnTo>
                      <a:pt x="12291" y="1842"/>
                    </a:lnTo>
                    <a:lnTo>
                      <a:pt x="12291" y="14571"/>
                    </a:lnTo>
                    <a:lnTo>
                      <a:pt x="12587" y="14571"/>
                    </a:lnTo>
                    <a:cubicBezTo>
                      <a:pt x="17565" y="5356"/>
                      <a:pt x="27323" y="-265"/>
                      <a:pt x="37806" y="45"/>
                    </a:cubicBezTo>
                    <a:cubicBezTo>
                      <a:pt x="45140" y="-411"/>
                      <a:pt x="52278" y="2593"/>
                      <a:pt x="57070" y="8163"/>
                    </a:cubicBezTo>
                    <a:cubicBezTo>
                      <a:pt x="61949" y="14982"/>
                      <a:pt x="64306" y="23285"/>
                      <a:pt x="63736" y="3164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3" name="Freeform: Shape 212">
                <a:extLst>
                  <a:ext uri="{FF2B5EF4-FFF2-40B4-BE49-F238E27FC236}">
                    <a16:creationId xmlns:a16="http://schemas.microsoft.com/office/drawing/2014/main" id="{9F684857-AD58-E61A-D323-135B4B56BB79}"/>
                  </a:ext>
                </a:extLst>
              </p:cNvPr>
              <p:cNvSpPr/>
              <p:nvPr/>
            </p:nvSpPr>
            <p:spPr>
              <a:xfrm>
                <a:off x="4521841" y="2896333"/>
                <a:ext cx="70851" cy="115353"/>
              </a:xfrm>
              <a:custGeom>
                <a:avLst/>
                <a:gdLst>
                  <a:gd name="connsiteX0" fmla="*/ 70829 w 70851"/>
                  <a:gd name="connsiteY0" fmla="*/ 113521 h 115353"/>
                  <a:gd name="connsiteX1" fmla="*/ 58538 w 70851"/>
                  <a:gd name="connsiteY1" fmla="*/ 113521 h 115353"/>
                  <a:gd name="connsiteX2" fmla="*/ 58538 w 70851"/>
                  <a:gd name="connsiteY2" fmla="*/ 100485 h 115353"/>
                  <a:gd name="connsiteX3" fmla="*/ 58231 w 70851"/>
                  <a:gd name="connsiteY3" fmla="*/ 100485 h 115353"/>
                  <a:gd name="connsiteX4" fmla="*/ 31851 w 70851"/>
                  <a:gd name="connsiteY4" fmla="*/ 115318 h 115353"/>
                  <a:gd name="connsiteX5" fmla="*/ 8738 w 70851"/>
                  <a:gd name="connsiteY5" fmla="*/ 105021 h 115353"/>
                  <a:gd name="connsiteX6" fmla="*/ 65 w 70851"/>
                  <a:gd name="connsiteY6" fmla="*/ 76977 h 115353"/>
                  <a:gd name="connsiteX7" fmla="*/ 9659 w 70851"/>
                  <a:gd name="connsiteY7" fmla="*/ 46502 h 115353"/>
                  <a:gd name="connsiteX8" fmla="*/ 35227 w 70851"/>
                  <a:gd name="connsiteY8" fmla="*/ 35043 h 115353"/>
                  <a:gd name="connsiteX9" fmla="*/ 58253 w 70851"/>
                  <a:gd name="connsiteY9" fmla="*/ 47477 h 115353"/>
                  <a:gd name="connsiteX10" fmla="*/ 58560 w 70851"/>
                  <a:gd name="connsiteY10" fmla="*/ 47477 h 115353"/>
                  <a:gd name="connsiteX11" fmla="*/ 58560 w 70851"/>
                  <a:gd name="connsiteY11" fmla="*/ 0 h 115353"/>
                  <a:gd name="connsiteX12" fmla="*/ 70851 w 70851"/>
                  <a:gd name="connsiteY12" fmla="*/ 0 h 115353"/>
                  <a:gd name="connsiteX13" fmla="*/ 58538 w 70851"/>
                  <a:gd name="connsiteY13" fmla="*/ 78850 h 115353"/>
                  <a:gd name="connsiteX14" fmla="*/ 58538 w 70851"/>
                  <a:gd name="connsiteY14" fmla="*/ 67545 h 115353"/>
                  <a:gd name="connsiteX15" fmla="*/ 52387 w 70851"/>
                  <a:gd name="connsiteY15" fmla="*/ 51815 h 115353"/>
                  <a:gd name="connsiteX16" fmla="*/ 36795 w 70851"/>
                  <a:gd name="connsiteY16" fmla="*/ 45373 h 115353"/>
                  <a:gd name="connsiteX17" fmla="*/ 19110 w 70851"/>
                  <a:gd name="connsiteY17" fmla="*/ 53611 h 115353"/>
                  <a:gd name="connsiteX18" fmla="*/ 12663 w 70851"/>
                  <a:gd name="connsiteY18" fmla="*/ 76375 h 115353"/>
                  <a:gd name="connsiteX19" fmla="*/ 18847 w 70851"/>
                  <a:gd name="connsiteY19" fmla="*/ 97309 h 115353"/>
                  <a:gd name="connsiteX20" fmla="*/ 35447 w 70851"/>
                  <a:gd name="connsiteY20" fmla="*/ 104977 h 115353"/>
                  <a:gd name="connsiteX21" fmla="*/ 52135 w 70851"/>
                  <a:gd name="connsiteY21" fmla="*/ 97561 h 115353"/>
                  <a:gd name="connsiteX22" fmla="*/ 58538 w 70851"/>
                  <a:gd name="connsiteY22" fmla="*/ 78850 h 11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51" h="115353">
                    <a:moveTo>
                      <a:pt x="70829" y="113521"/>
                    </a:moveTo>
                    <a:lnTo>
                      <a:pt x="58538" y="113521"/>
                    </a:lnTo>
                    <a:lnTo>
                      <a:pt x="58538" y="100485"/>
                    </a:lnTo>
                    <a:lnTo>
                      <a:pt x="58231" y="100485"/>
                    </a:lnTo>
                    <a:cubicBezTo>
                      <a:pt x="53034" y="110098"/>
                      <a:pt x="42771" y="115869"/>
                      <a:pt x="31851" y="115318"/>
                    </a:cubicBezTo>
                    <a:cubicBezTo>
                      <a:pt x="22970" y="115652"/>
                      <a:pt x="14428" y="111848"/>
                      <a:pt x="8738" y="105021"/>
                    </a:cubicBezTo>
                    <a:cubicBezTo>
                      <a:pt x="2587" y="97010"/>
                      <a:pt x="-494" y="87061"/>
                      <a:pt x="65" y="76977"/>
                    </a:cubicBezTo>
                    <a:cubicBezTo>
                      <a:pt x="-483" y="66000"/>
                      <a:pt x="2916" y="55190"/>
                      <a:pt x="9659" y="46502"/>
                    </a:cubicBezTo>
                    <a:cubicBezTo>
                      <a:pt x="15930" y="38915"/>
                      <a:pt x="25382" y="34679"/>
                      <a:pt x="35227" y="35043"/>
                    </a:cubicBezTo>
                    <a:cubicBezTo>
                      <a:pt x="44657" y="34422"/>
                      <a:pt x="53604" y="39255"/>
                      <a:pt x="58253" y="47477"/>
                    </a:cubicBezTo>
                    <a:lnTo>
                      <a:pt x="58560" y="47477"/>
                    </a:lnTo>
                    <a:lnTo>
                      <a:pt x="58560" y="0"/>
                    </a:lnTo>
                    <a:lnTo>
                      <a:pt x="70851" y="0"/>
                    </a:lnTo>
                    <a:close/>
                    <a:moveTo>
                      <a:pt x="58538" y="78850"/>
                    </a:moveTo>
                    <a:lnTo>
                      <a:pt x="58538" y="67545"/>
                    </a:lnTo>
                    <a:cubicBezTo>
                      <a:pt x="58669" y="61691"/>
                      <a:pt x="56455" y="56027"/>
                      <a:pt x="52387" y="51815"/>
                    </a:cubicBezTo>
                    <a:cubicBezTo>
                      <a:pt x="48352" y="47542"/>
                      <a:pt x="42672" y="45198"/>
                      <a:pt x="36795" y="45373"/>
                    </a:cubicBezTo>
                    <a:cubicBezTo>
                      <a:pt x="29910" y="45091"/>
                      <a:pt x="23320" y="48162"/>
                      <a:pt x="19110" y="53611"/>
                    </a:cubicBezTo>
                    <a:cubicBezTo>
                      <a:pt x="14461" y="60262"/>
                      <a:pt x="12191" y="68279"/>
                      <a:pt x="12663" y="76375"/>
                    </a:cubicBezTo>
                    <a:cubicBezTo>
                      <a:pt x="12246" y="83856"/>
                      <a:pt x="14428" y="91253"/>
                      <a:pt x="18847" y="97309"/>
                    </a:cubicBezTo>
                    <a:cubicBezTo>
                      <a:pt x="22838" y="102362"/>
                      <a:pt x="29011" y="105210"/>
                      <a:pt x="35447" y="104977"/>
                    </a:cubicBezTo>
                    <a:cubicBezTo>
                      <a:pt x="41850" y="105175"/>
                      <a:pt x="47990" y="102444"/>
                      <a:pt x="52135" y="97561"/>
                    </a:cubicBezTo>
                    <a:cubicBezTo>
                      <a:pt x="56509" y="92325"/>
                      <a:pt x="58790" y="85663"/>
                      <a:pt x="58538" y="7885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4" name="Freeform: Shape 213">
                <a:extLst>
                  <a:ext uri="{FF2B5EF4-FFF2-40B4-BE49-F238E27FC236}">
                    <a16:creationId xmlns:a16="http://schemas.microsoft.com/office/drawing/2014/main" id="{5697EF99-696F-5CD6-36A8-732C65694A3C}"/>
                  </a:ext>
                </a:extLst>
              </p:cNvPr>
              <p:cNvSpPr/>
              <p:nvPr/>
            </p:nvSpPr>
            <p:spPr>
              <a:xfrm>
                <a:off x="4661241" y="2902368"/>
                <a:ext cx="65794" cy="107431"/>
              </a:xfrm>
              <a:custGeom>
                <a:avLst/>
                <a:gdLst>
                  <a:gd name="connsiteX0" fmla="*/ 12598 w 65794"/>
                  <a:gd name="connsiteY0" fmla="*/ 66900 h 107431"/>
                  <a:gd name="connsiteX1" fmla="*/ 12598 w 65794"/>
                  <a:gd name="connsiteY1" fmla="*/ 107432 h 107431"/>
                  <a:gd name="connsiteX2" fmla="*/ 0 w 65794"/>
                  <a:gd name="connsiteY2" fmla="*/ 107432 h 107431"/>
                  <a:gd name="connsiteX3" fmla="*/ 0 w 65794"/>
                  <a:gd name="connsiteY3" fmla="*/ 78 h 107431"/>
                  <a:gd name="connsiteX4" fmla="*/ 29538 w 65794"/>
                  <a:gd name="connsiteY4" fmla="*/ 78 h 107431"/>
                  <a:gd name="connsiteX5" fmla="*/ 56258 w 65794"/>
                  <a:gd name="connsiteY5" fmla="*/ 8469 h 107431"/>
                  <a:gd name="connsiteX6" fmla="*/ 65743 w 65794"/>
                  <a:gd name="connsiteY6" fmla="*/ 32131 h 107431"/>
                  <a:gd name="connsiteX7" fmla="*/ 55217 w 65794"/>
                  <a:gd name="connsiteY7" fmla="*/ 57140 h 107431"/>
                  <a:gd name="connsiteX8" fmla="*/ 26709 w 65794"/>
                  <a:gd name="connsiteY8" fmla="*/ 66878 h 107431"/>
                  <a:gd name="connsiteX9" fmla="*/ 12598 w 65794"/>
                  <a:gd name="connsiteY9" fmla="*/ 11481 h 107431"/>
                  <a:gd name="connsiteX10" fmla="*/ 12598 w 65794"/>
                  <a:gd name="connsiteY10" fmla="*/ 55519 h 107431"/>
                  <a:gd name="connsiteX11" fmla="*/ 25755 w 65794"/>
                  <a:gd name="connsiteY11" fmla="*/ 55519 h 107431"/>
                  <a:gd name="connsiteX12" fmla="*/ 45656 w 65794"/>
                  <a:gd name="connsiteY12" fmla="*/ 49559 h 107431"/>
                  <a:gd name="connsiteX13" fmla="*/ 52508 w 65794"/>
                  <a:gd name="connsiteY13" fmla="*/ 32755 h 107431"/>
                  <a:gd name="connsiteX14" fmla="*/ 27291 w 65794"/>
                  <a:gd name="connsiteY14" fmla="*/ 11481 h 10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94" h="107431">
                    <a:moveTo>
                      <a:pt x="12598" y="66900"/>
                    </a:moveTo>
                    <a:lnTo>
                      <a:pt x="12598" y="107432"/>
                    </a:lnTo>
                    <a:lnTo>
                      <a:pt x="0" y="107432"/>
                    </a:lnTo>
                    <a:lnTo>
                      <a:pt x="0" y="78"/>
                    </a:lnTo>
                    <a:lnTo>
                      <a:pt x="29538" y="78"/>
                    </a:lnTo>
                    <a:cubicBezTo>
                      <a:pt x="39176" y="-532"/>
                      <a:pt x="48704" y="2458"/>
                      <a:pt x="56258" y="8469"/>
                    </a:cubicBezTo>
                    <a:cubicBezTo>
                      <a:pt x="62793" y="14549"/>
                      <a:pt x="66269" y="23225"/>
                      <a:pt x="65743" y="32131"/>
                    </a:cubicBezTo>
                    <a:cubicBezTo>
                      <a:pt x="66039" y="41600"/>
                      <a:pt x="62201" y="50730"/>
                      <a:pt x="55217" y="57140"/>
                    </a:cubicBezTo>
                    <a:cubicBezTo>
                      <a:pt x="47333" y="63948"/>
                      <a:pt x="37115" y="67438"/>
                      <a:pt x="26709" y="66878"/>
                    </a:cubicBezTo>
                    <a:close/>
                    <a:moveTo>
                      <a:pt x="12598" y="11481"/>
                    </a:moveTo>
                    <a:lnTo>
                      <a:pt x="12598" y="55519"/>
                    </a:lnTo>
                    <a:lnTo>
                      <a:pt x="25755" y="55519"/>
                    </a:lnTo>
                    <a:cubicBezTo>
                      <a:pt x="32893" y="56014"/>
                      <a:pt x="39965" y="53895"/>
                      <a:pt x="45656" y="49559"/>
                    </a:cubicBezTo>
                    <a:cubicBezTo>
                      <a:pt x="50360" y="45278"/>
                      <a:pt x="52881" y="39103"/>
                      <a:pt x="52508" y="32755"/>
                    </a:cubicBezTo>
                    <a:cubicBezTo>
                      <a:pt x="52508" y="18572"/>
                      <a:pt x="44099" y="11481"/>
                      <a:pt x="27291" y="1148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5" name="Freeform: Shape 214">
                <a:extLst>
                  <a:ext uri="{FF2B5EF4-FFF2-40B4-BE49-F238E27FC236}">
                    <a16:creationId xmlns:a16="http://schemas.microsoft.com/office/drawing/2014/main" id="{37980E8C-A245-6AAB-EF68-5290DBF8900B}"/>
                  </a:ext>
                </a:extLst>
              </p:cNvPr>
              <p:cNvSpPr/>
              <p:nvPr/>
            </p:nvSpPr>
            <p:spPr>
              <a:xfrm>
                <a:off x="4739451" y="2900679"/>
                <a:ext cx="80269" cy="110974"/>
              </a:xfrm>
              <a:custGeom>
                <a:avLst/>
                <a:gdLst>
                  <a:gd name="connsiteX0" fmla="*/ 80269 w 80269"/>
                  <a:gd name="connsiteY0" fmla="*/ 104640 h 110974"/>
                  <a:gd name="connsiteX1" fmla="*/ 50589 w 80269"/>
                  <a:gd name="connsiteY1" fmla="*/ 110928 h 110974"/>
                  <a:gd name="connsiteX2" fmla="*/ 13858 w 80269"/>
                  <a:gd name="connsiteY2" fmla="*/ 96172 h 110974"/>
                  <a:gd name="connsiteX3" fmla="*/ 54 w 80269"/>
                  <a:gd name="connsiteY3" fmla="*/ 57536 h 110974"/>
                  <a:gd name="connsiteX4" fmla="*/ 15568 w 80269"/>
                  <a:gd name="connsiteY4" fmla="*/ 15909 h 110974"/>
                  <a:gd name="connsiteX5" fmla="*/ 54919 w 80269"/>
                  <a:gd name="connsiteY5" fmla="*/ 36 h 110974"/>
                  <a:gd name="connsiteX6" fmla="*/ 80258 w 80269"/>
                  <a:gd name="connsiteY6" fmla="*/ 4418 h 110974"/>
                  <a:gd name="connsiteX7" fmla="*/ 80258 w 80269"/>
                  <a:gd name="connsiteY7" fmla="*/ 17826 h 110974"/>
                  <a:gd name="connsiteX8" fmla="*/ 54766 w 80269"/>
                  <a:gd name="connsiteY8" fmla="*/ 11385 h 110974"/>
                  <a:gd name="connsiteX9" fmla="*/ 24746 w 80269"/>
                  <a:gd name="connsiteY9" fmla="*/ 23741 h 110974"/>
                  <a:gd name="connsiteX10" fmla="*/ 13244 w 80269"/>
                  <a:gd name="connsiteY10" fmla="*/ 56769 h 110974"/>
                  <a:gd name="connsiteX11" fmla="*/ 24000 w 80269"/>
                  <a:gd name="connsiteY11" fmla="*/ 88033 h 110974"/>
                  <a:gd name="connsiteX12" fmla="*/ 52222 w 80269"/>
                  <a:gd name="connsiteY12" fmla="*/ 99678 h 110974"/>
                  <a:gd name="connsiteX13" fmla="*/ 80258 w 80269"/>
                  <a:gd name="connsiteY13" fmla="*/ 92481 h 11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69" h="110974">
                    <a:moveTo>
                      <a:pt x="80269" y="104640"/>
                    </a:moveTo>
                    <a:cubicBezTo>
                      <a:pt x="71037" y="109114"/>
                      <a:pt x="60851" y="111272"/>
                      <a:pt x="50589" y="110928"/>
                    </a:cubicBezTo>
                    <a:cubicBezTo>
                      <a:pt x="36784" y="111538"/>
                      <a:pt x="23397" y="106158"/>
                      <a:pt x="13858" y="96172"/>
                    </a:cubicBezTo>
                    <a:cubicBezTo>
                      <a:pt x="4385" y="85587"/>
                      <a:pt x="-571" y="71721"/>
                      <a:pt x="54" y="57536"/>
                    </a:cubicBezTo>
                    <a:cubicBezTo>
                      <a:pt x="-615" y="42136"/>
                      <a:pt x="4988" y="27123"/>
                      <a:pt x="15568" y="15909"/>
                    </a:cubicBezTo>
                    <a:cubicBezTo>
                      <a:pt x="25875" y="5334"/>
                      <a:pt x="40151" y="-425"/>
                      <a:pt x="54919" y="36"/>
                    </a:cubicBezTo>
                    <a:cubicBezTo>
                      <a:pt x="63581" y="-256"/>
                      <a:pt x="72200" y="1235"/>
                      <a:pt x="80258" y="4418"/>
                    </a:cubicBezTo>
                    <a:lnTo>
                      <a:pt x="80258" y="17826"/>
                    </a:lnTo>
                    <a:cubicBezTo>
                      <a:pt x="72463" y="13508"/>
                      <a:pt x="63680" y="11288"/>
                      <a:pt x="54766" y="11385"/>
                    </a:cubicBezTo>
                    <a:cubicBezTo>
                      <a:pt x="43440" y="10963"/>
                      <a:pt x="32486" y="15471"/>
                      <a:pt x="24746" y="23741"/>
                    </a:cubicBezTo>
                    <a:cubicBezTo>
                      <a:pt x="16764" y="32840"/>
                      <a:pt x="12641" y="44685"/>
                      <a:pt x="13244" y="56769"/>
                    </a:cubicBezTo>
                    <a:cubicBezTo>
                      <a:pt x="12652" y="68187"/>
                      <a:pt x="16511" y="79389"/>
                      <a:pt x="24000" y="88033"/>
                    </a:cubicBezTo>
                    <a:cubicBezTo>
                      <a:pt x="31258" y="95836"/>
                      <a:pt x="41565" y="100088"/>
                      <a:pt x="52222" y="99678"/>
                    </a:cubicBezTo>
                    <a:cubicBezTo>
                      <a:pt x="62057" y="99927"/>
                      <a:pt x="71761" y="97435"/>
                      <a:pt x="80258" y="9248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6" name="Freeform: Shape 215">
                <a:extLst>
                  <a:ext uri="{FF2B5EF4-FFF2-40B4-BE49-F238E27FC236}">
                    <a16:creationId xmlns:a16="http://schemas.microsoft.com/office/drawing/2014/main" id="{FD4FAE1B-73C9-A3FA-0DA8-CDBA357D34EE}"/>
                  </a:ext>
                </a:extLst>
              </p:cNvPr>
              <p:cNvSpPr/>
              <p:nvPr/>
            </p:nvSpPr>
            <p:spPr>
              <a:xfrm>
                <a:off x="4834467" y="2931447"/>
                <a:ext cx="50891" cy="80195"/>
              </a:xfrm>
              <a:custGeom>
                <a:avLst/>
                <a:gdLst>
                  <a:gd name="connsiteX0" fmla="*/ 0 w 50891"/>
                  <a:gd name="connsiteY0" fmla="*/ 75636 h 80195"/>
                  <a:gd name="connsiteX1" fmla="*/ 0 w 50891"/>
                  <a:gd name="connsiteY1" fmla="*/ 62490 h 80195"/>
                  <a:gd name="connsiteX2" fmla="*/ 22115 w 50891"/>
                  <a:gd name="connsiteY2" fmla="*/ 69907 h 80195"/>
                  <a:gd name="connsiteX3" fmla="*/ 38298 w 50891"/>
                  <a:gd name="connsiteY3" fmla="*/ 59116 h 80195"/>
                  <a:gd name="connsiteX4" fmla="*/ 36928 w 50891"/>
                  <a:gd name="connsiteY4" fmla="*/ 53913 h 80195"/>
                  <a:gd name="connsiteX5" fmla="*/ 33178 w 50891"/>
                  <a:gd name="connsiteY5" fmla="*/ 50134 h 80195"/>
                  <a:gd name="connsiteX6" fmla="*/ 27630 w 50891"/>
                  <a:gd name="connsiteY6" fmla="*/ 47176 h 80195"/>
                  <a:gd name="connsiteX7" fmla="*/ 20766 w 50891"/>
                  <a:gd name="connsiteY7" fmla="*/ 44437 h 80195"/>
                  <a:gd name="connsiteX8" fmla="*/ 11809 w 50891"/>
                  <a:gd name="connsiteY8" fmla="*/ 40362 h 80195"/>
                  <a:gd name="connsiteX9" fmla="*/ 5372 w 50891"/>
                  <a:gd name="connsiteY9" fmla="*/ 35718 h 80195"/>
                  <a:gd name="connsiteX10" fmla="*/ 1469 w 50891"/>
                  <a:gd name="connsiteY10" fmla="*/ 29835 h 80195"/>
                  <a:gd name="connsiteX11" fmla="*/ 154 w 50891"/>
                  <a:gd name="connsiteY11" fmla="*/ 22167 h 80195"/>
                  <a:gd name="connsiteX12" fmla="*/ 2631 w 50891"/>
                  <a:gd name="connsiteY12" fmla="*/ 12626 h 80195"/>
                  <a:gd name="connsiteX13" fmla="*/ 9210 w 50891"/>
                  <a:gd name="connsiteY13" fmla="*/ 5658 h 80195"/>
                  <a:gd name="connsiteX14" fmla="*/ 18629 w 50891"/>
                  <a:gd name="connsiteY14" fmla="*/ 1430 h 80195"/>
                  <a:gd name="connsiteX15" fmla="*/ 29527 w 50891"/>
                  <a:gd name="connsiteY15" fmla="*/ 6 h 80195"/>
                  <a:gd name="connsiteX16" fmla="*/ 47366 w 50891"/>
                  <a:gd name="connsiteY16" fmla="*/ 3446 h 80195"/>
                  <a:gd name="connsiteX17" fmla="*/ 47366 w 50891"/>
                  <a:gd name="connsiteY17" fmla="*/ 15813 h 80195"/>
                  <a:gd name="connsiteX18" fmla="*/ 27871 w 50891"/>
                  <a:gd name="connsiteY18" fmla="*/ 10270 h 80195"/>
                  <a:gd name="connsiteX19" fmla="*/ 21655 w 50891"/>
                  <a:gd name="connsiteY19" fmla="*/ 11059 h 80195"/>
                  <a:gd name="connsiteX20" fmla="*/ 16896 w 50891"/>
                  <a:gd name="connsiteY20" fmla="*/ 13250 h 80195"/>
                  <a:gd name="connsiteX21" fmla="*/ 13826 w 50891"/>
                  <a:gd name="connsiteY21" fmla="*/ 16657 h 80195"/>
                  <a:gd name="connsiteX22" fmla="*/ 12729 w 50891"/>
                  <a:gd name="connsiteY22" fmla="*/ 21039 h 80195"/>
                  <a:gd name="connsiteX23" fmla="*/ 13826 w 50891"/>
                  <a:gd name="connsiteY23" fmla="*/ 26056 h 80195"/>
                  <a:gd name="connsiteX24" fmla="*/ 17006 w 50891"/>
                  <a:gd name="connsiteY24" fmla="*/ 29660 h 80195"/>
                  <a:gd name="connsiteX25" fmla="*/ 22104 w 50891"/>
                  <a:gd name="connsiteY25" fmla="*/ 32497 h 80195"/>
                  <a:gd name="connsiteX26" fmla="*/ 28924 w 50891"/>
                  <a:gd name="connsiteY26" fmla="*/ 35268 h 80195"/>
                  <a:gd name="connsiteX27" fmla="*/ 38068 w 50891"/>
                  <a:gd name="connsiteY27" fmla="*/ 39278 h 80195"/>
                  <a:gd name="connsiteX28" fmla="*/ 44965 w 50891"/>
                  <a:gd name="connsiteY28" fmla="*/ 43922 h 80195"/>
                  <a:gd name="connsiteX29" fmla="*/ 49351 w 50891"/>
                  <a:gd name="connsiteY29" fmla="*/ 49871 h 80195"/>
                  <a:gd name="connsiteX30" fmla="*/ 50886 w 50891"/>
                  <a:gd name="connsiteY30" fmla="*/ 57889 h 80195"/>
                  <a:gd name="connsiteX31" fmla="*/ 48375 w 50891"/>
                  <a:gd name="connsiteY31" fmla="*/ 67748 h 80195"/>
                  <a:gd name="connsiteX32" fmla="*/ 41665 w 50891"/>
                  <a:gd name="connsiteY32" fmla="*/ 74715 h 80195"/>
                  <a:gd name="connsiteX33" fmla="*/ 31994 w 50891"/>
                  <a:gd name="connsiteY33" fmla="*/ 78834 h 80195"/>
                  <a:gd name="connsiteX34" fmla="*/ 20525 w 50891"/>
                  <a:gd name="connsiteY34" fmla="*/ 80182 h 80195"/>
                  <a:gd name="connsiteX35" fmla="*/ 0 w 50891"/>
                  <a:gd name="connsiteY35" fmla="*/ 75636 h 8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91" h="80195">
                    <a:moveTo>
                      <a:pt x="0" y="75636"/>
                    </a:moveTo>
                    <a:lnTo>
                      <a:pt x="0" y="62490"/>
                    </a:lnTo>
                    <a:cubicBezTo>
                      <a:pt x="6359" y="67316"/>
                      <a:pt x="14133" y="69921"/>
                      <a:pt x="22115" y="69907"/>
                    </a:cubicBezTo>
                    <a:cubicBezTo>
                      <a:pt x="32904" y="69907"/>
                      <a:pt x="38298" y="66310"/>
                      <a:pt x="38298" y="59116"/>
                    </a:cubicBezTo>
                    <a:cubicBezTo>
                      <a:pt x="38353" y="57286"/>
                      <a:pt x="37882" y="55478"/>
                      <a:pt x="36928" y="53913"/>
                    </a:cubicBezTo>
                    <a:cubicBezTo>
                      <a:pt x="35930" y="52424"/>
                      <a:pt x="34658" y="51141"/>
                      <a:pt x="33178" y="50134"/>
                    </a:cubicBezTo>
                    <a:cubicBezTo>
                      <a:pt x="31446" y="48950"/>
                      <a:pt x="29582" y="47958"/>
                      <a:pt x="27630" y="47176"/>
                    </a:cubicBezTo>
                    <a:cubicBezTo>
                      <a:pt x="25503" y="46300"/>
                      <a:pt x="23244" y="45390"/>
                      <a:pt x="20766" y="44437"/>
                    </a:cubicBezTo>
                    <a:cubicBezTo>
                      <a:pt x="17707" y="43244"/>
                      <a:pt x="14714" y="41884"/>
                      <a:pt x="11809" y="40362"/>
                    </a:cubicBezTo>
                    <a:cubicBezTo>
                      <a:pt x="9451" y="39138"/>
                      <a:pt x="7280" y="37572"/>
                      <a:pt x="5372" y="35718"/>
                    </a:cubicBezTo>
                    <a:cubicBezTo>
                      <a:pt x="3673" y="34051"/>
                      <a:pt x="2346" y="32047"/>
                      <a:pt x="1469" y="29835"/>
                    </a:cubicBezTo>
                    <a:cubicBezTo>
                      <a:pt x="548" y="27384"/>
                      <a:pt x="99" y="24783"/>
                      <a:pt x="154" y="22167"/>
                    </a:cubicBezTo>
                    <a:cubicBezTo>
                      <a:pt x="88" y="18819"/>
                      <a:pt x="943" y="15519"/>
                      <a:pt x="2631" y="12626"/>
                    </a:cubicBezTo>
                    <a:cubicBezTo>
                      <a:pt x="4287" y="9846"/>
                      <a:pt x="6535" y="7467"/>
                      <a:pt x="9210" y="5658"/>
                    </a:cubicBezTo>
                    <a:cubicBezTo>
                      <a:pt x="12083" y="3726"/>
                      <a:pt x="15273" y="2297"/>
                      <a:pt x="18629" y="1430"/>
                    </a:cubicBezTo>
                    <a:cubicBezTo>
                      <a:pt x="22181" y="474"/>
                      <a:pt x="25843" y="-5"/>
                      <a:pt x="29527" y="6"/>
                    </a:cubicBezTo>
                    <a:cubicBezTo>
                      <a:pt x="35645" y="-95"/>
                      <a:pt x="41719" y="1076"/>
                      <a:pt x="47366" y="3446"/>
                    </a:cubicBezTo>
                    <a:lnTo>
                      <a:pt x="47366" y="15813"/>
                    </a:lnTo>
                    <a:cubicBezTo>
                      <a:pt x="41566" y="12075"/>
                      <a:pt x="34779" y="10145"/>
                      <a:pt x="27871" y="10270"/>
                    </a:cubicBezTo>
                    <a:cubicBezTo>
                      <a:pt x="25777" y="10245"/>
                      <a:pt x="23683" y="10511"/>
                      <a:pt x="21655" y="11059"/>
                    </a:cubicBezTo>
                    <a:cubicBezTo>
                      <a:pt x="19955" y="11508"/>
                      <a:pt x="18343" y="12249"/>
                      <a:pt x="16896" y="13250"/>
                    </a:cubicBezTo>
                    <a:cubicBezTo>
                      <a:pt x="15624" y="14132"/>
                      <a:pt x="14572" y="15298"/>
                      <a:pt x="13826" y="16657"/>
                    </a:cubicBezTo>
                    <a:cubicBezTo>
                      <a:pt x="13091" y="18000"/>
                      <a:pt x="12719" y="19508"/>
                      <a:pt x="12729" y="21039"/>
                    </a:cubicBezTo>
                    <a:cubicBezTo>
                      <a:pt x="12675" y="22776"/>
                      <a:pt x="13048" y="24500"/>
                      <a:pt x="13826" y="26056"/>
                    </a:cubicBezTo>
                    <a:cubicBezTo>
                      <a:pt x="14605" y="27478"/>
                      <a:pt x="15690" y="28708"/>
                      <a:pt x="17006" y="29660"/>
                    </a:cubicBezTo>
                    <a:cubicBezTo>
                      <a:pt x="18585" y="30803"/>
                      <a:pt x="20295" y="31756"/>
                      <a:pt x="22104" y="32497"/>
                    </a:cubicBezTo>
                    <a:cubicBezTo>
                      <a:pt x="24111" y="33351"/>
                      <a:pt x="26391" y="34275"/>
                      <a:pt x="28924" y="35268"/>
                    </a:cubicBezTo>
                    <a:cubicBezTo>
                      <a:pt x="32038" y="36445"/>
                      <a:pt x="35097" y="37784"/>
                      <a:pt x="38068" y="39278"/>
                    </a:cubicBezTo>
                    <a:cubicBezTo>
                      <a:pt x="40557" y="40517"/>
                      <a:pt x="42882" y="42079"/>
                      <a:pt x="44965" y="43922"/>
                    </a:cubicBezTo>
                    <a:cubicBezTo>
                      <a:pt x="46829" y="45580"/>
                      <a:pt x="48320" y="47605"/>
                      <a:pt x="49351" y="49871"/>
                    </a:cubicBezTo>
                    <a:cubicBezTo>
                      <a:pt x="50425" y="52403"/>
                      <a:pt x="50952" y="55138"/>
                      <a:pt x="50886" y="57889"/>
                    </a:cubicBezTo>
                    <a:cubicBezTo>
                      <a:pt x="50973" y="61343"/>
                      <a:pt x="50096" y="64755"/>
                      <a:pt x="48375" y="67748"/>
                    </a:cubicBezTo>
                    <a:cubicBezTo>
                      <a:pt x="46697" y="70549"/>
                      <a:pt x="44406" y="72932"/>
                      <a:pt x="41665" y="74715"/>
                    </a:cubicBezTo>
                    <a:cubicBezTo>
                      <a:pt x="38704" y="76631"/>
                      <a:pt x="35426" y="78025"/>
                      <a:pt x="31994" y="78834"/>
                    </a:cubicBezTo>
                    <a:cubicBezTo>
                      <a:pt x="28244" y="79747"/>
                      <a:pt x="24385" y="80199"/>
                      <a:pt x="20525" y="80182"/>
                    </a:cubicBezTo>
                    <a:cubicBezTo>
                      <a:pt x="13420" y="80361"/>
                      <a:pt x="6370" y="78800"/>
                      <a:pt x="0" y="7563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7" name="Freeform: Shape 216">
                <a:extLst>
                  <a:ext uri="{FF2B5EF4-FFF2-40B4-BE49-F238E27FC236}">
                    <a16:creationId xmlns:a16="http://schemas.microsoft.com/office/drawing/2014/main" id="{422717BC-FC35-E99A-2487-F19480A5A148}"/>
                  </a:ext>
                </a:extLst>
              </p:cNvPr>
              <p:cNvSpPr/>
              <p:nvPr/>
            </p:nvSpPr>
            <p:spPr>
              <a:xfrm>
                <a:off x="4886493" y="2902467"/>
                <a:ext cx="34525" cy="131793"/>
              </a:xfrm>
              <a:custGeom>
                <a:avLst/>
                <a:gdLst>
                  <a:gd name="connsiteX0" fmla="*/ 11118 w 34525"/>
                  <a:gd name="connsiteY0" fmla="*/ 131793 h 131793"/>
                  <a:gd name="connsiteX1" fmla="*/ 154 w 34525"/>
                  <a:gd name="connsiteY1" fmla="*/ 131793 h 131793"/>
                  <a:gd name="connsiteX2" fmla="*/ 23541 w 34525"/>
                  <a:gd name="connsiteY2" fmla="*/ 66275 h 131793"/>
                  <a:gd name="connsiteX3" fmla="*/ 0 w 34525"/>
                  <a:gd name="connsiteY3" fmla="*/ 0 h 131793"/>
                  <a:gd name="connsiteX4" fmla="*/ 11096 w 34525"/>
                  <a:gd name="connsiteY4" fmla="*/ 0 h 131793"/>
                  <a:gd name="connsiteX5" fmla="*/ 34483 w 34525"/>
                  <a:gd name="connsiteY5" fmla="*/ 66428 h 131793"/>
                  <a:gd name="connsiteX6" fmla="*/ 11118 w 34525"/>
                  <a:gd name="connsiteY6" fmla="*/ 131793 h 13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25" h="131793">
                    <a:moveTo>
                      <a:pt x="11118" y="131793"/>
                    </a:moveTo>
                    <a:lnTo>
                      <a:pt x="154" y="131793"/>
                    </a:lnTo>
                    <a:cubicBezTo>
                      <a:pt x="15613" y="113493"/>
                      <a:pt x="23924" y="90220"/>
                      <a:pt x="23541" y="66275"/>
                    </a:cubicBezTo>
                    <a:cubicBezTo>
                      <a:pt x="23902" y="42077"/>
                      <a:pt x="15547" y="18556"/>
                      <a:pt x="0" y="0"/>
                    </a:cubicBezTo>
                    <a:lnTo>
                      <a:pt x="11096" y="0"/>
                    </a:lnTo>
                    <a:cubicBezTo>
                      <a:pt x="26786" y="18527"/>
                      <a:pt x="35108" y="42169"/>
                      <a:pt x="34483" y="66428"/>
                    </a:cubicBezTo>
                    <a:cubicBezTo>
                      <a:pt x="35196" y="90377"/>
                      <a:pt x="26852" y="113714"/>
                      <a:pt x="11118" y="13179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8" name="Freeform: Shape 217">
                <a:extLst>
                  <a:ext uri="{FF2B5EF4-FFF2-40B4-BE49-F238E27FC236}">
                    <a16:creationId xmlns:a16="http://schemas.microsoft.com/office/drawing/2014/main" id="{EA676132-E046-6A85-F361-D12A95AF0C8B}"/>
                  </a:ext>
                </a:extLst>
              </p:cNvPr>
              <p:cNvSpPr/>
              <p:nvPr/>
            </p:nvSpPr>
            <p:spPr>
              <a:xfrm>
                <a:off x="3244499" y="3233325"/>
                <a:ext cx="95653" cy="107353"/>
              </a:xfrm>
              <a:custGeom>
                <a:avLst/>
                <a:gdLst>
                  <a:gd name="connsiteX0" fmla="*/ 95653 w 95653"/>
                  <a:gd name="connsiteY0" fmla="*/ 107354 h 107353"/>
                  <a:gd name="connsiteX1" fmla="*/ 81696 w 95653"/>
                  <a:gd name="connsiteY1" fmla="*/ 107354 h 107353"/>
                  <a:gd name="connsiteX2" fmla="*/ 70304 w 95653"/>
                  <a:gd name="connsiteY2" fmla="*/ 77240 h 107353"/>
                  <a:gd name="connsiteX3" fmla="*/ 24725 w 95653"/>
                  <a:gd name="connsiteY3" fmla="*/ 77240 h 107353"/>
                  <a:gd name="connsiteX4" fmla="*/ 14012 w 95653"/>
                  <a:gd name="connsiteY4" fmla="*/ 107354 h 107353"/>
                  <a:gd name="connsiteX5" fmla="*/ 0 w 95653"/>
                  <a:gd name="connsiteY5" fmla="*/ 107354 h 107353"/>
                  <a:gd name="connsiteX6" fmla="*/ 41215 w 95653"/>
                  <a:gd name="connsiteY6" fmla="*/ 0 h 107353"/>
                  <a:gd name="connsiteX7" fmla="*/ 54285 w 95653"/>
                  <a:gd name="connsiteY7" fmla="*/ 0 h 107353"/>
                  <a:gd name="connsiteX8" fmla="*/ 66203 w 95653"/>
                  <a:gd name="connsiteY8" fmla="*/ 65935 h 107353"/>
                  <a:gd name="connsiteX9" fmla="*/ 49340 w 95653"/>
                  <a:gd name="connsiteY9" fmla="*/ 20178 h 107353"/>
                  <a:gd name="connsiteX10" fmla="*/ 47684 w 95653"/>
                  <a:gd name="connsiteY10" fmla="*/ 12992 h 107353"/>
                  <a:gd name="connsiteX11" fmla="*/ 47388 w 95653"/>
                  <a:gd name="connsiteY11" fmla="*/ 12992 h 107353"/>
                  <a:gd name="connsiteX12" fmla="*/ 45667 w 95653"/>
                  <a:gd name="connsiteY12" fmla="*/ 20178 h 107353"/>
                  <a:gd name="connsiteX13" fmla="*/ 28946 w 95653"/>
                  <a:gd name="connsiteY13" fmla="*/ 65935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653" h="107353">
                    <a:moveTo>
                      <a:pt x="95653" y="107354"/>
                    </a:moveTo>
                    <a:lnTo>
                      <a:pt x="81696" y="107354"/>
                    </a:lnTo>
                    <a:lnTo>
                      <a:pt x="70304" y="77240"/>
                    </a:lnTo>
                    <a:lnTo>
                      <a:pt x="24725" y="77240"/>
                    </a:lnTo>
                    <a:lnTo>
                      <a:pt x="14012" y="107354"/>
                    </a:lnTo>
                    <a:lnTo>
                      <a:pt x="0" y="107354"/>
                    </a:lnTo>
                    <a:lnTo>
                      <a:pt x="41215" y="0"/>
                    </a:lnTo>
                    <a:lnTo>
                      <a:pt x="54285" y="0"/>
                    </a:lnTo>
                    <a:close/>
                    <a:moveTo>
                      <a:pt x="66203" y="65935"/>
                    </a:moveTo>
                    <a:lnTo>
                      <a:pt x="49340" y="20178"/>
                    </a:lnTo>
                    <a:cubicBezTo>
                      <a:pt x="48583" y="17834"/>
                      <a:pt x="48035" y="15435"/>
                      <a:pt x="47684" y="12992"/>
                    </a:cubicBezTo>
                    <a:lnTo>
                      <a:pt x="47388" y="12992"/>
                    </a:lnTo>
                    <a:cubicBezTo>
                      <a:pt x="47037" y="15435"/>
                      <a:pt x="46456" y="17845"/>
                      <a:pt x="45667" y="20178"/>
                    </a:cubicBezTo>
                    <a:lnTo>
                      <a:pt x="28946" y="65935"/>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9" name="Freeform: Shape 218">
                <a:extLst>
                  <a:ext uri="{FF2B5EF4-FFF2-40B4-BE49-F238E27FC236}">
                    <a16:creationId xmlns:a16="http://schemas.microsoft.com/office/drawing/2014/main" id="{D0FCAD63-EAEF-DF6A-47EC-38F8A4FF4609}"/>
                  </a:ext>
                </a:extLst>
              </p:cNvPr>
              <p:cNvSpPr/>
              <p:nvPr/>
            </p:nvSpPr>
            <p:spPr>
              <a:xfrm>
                <a:off x="3347276" y="3262151"/>
                <a:ext cx="57763" cy="80353"/>
              </a:xfrm>
              <a:custGeom>
                <a:avLst/>
                <a:gdLst>
                  <a:gd name="connsiteX0" fmla="*/ 57610 w 57763"/>
                  <a:gd name="connsiteY0" fmla="*/ 75001 h 80353"/>
                  <a:gd name="connsiteX1" fmla="*/ 36624 w 57763"/>
                  <a:gd name="connsiteY1" fmla="*/ 80324 h 80353"/>
                  <a:gd name="connsiteX2" fmla="*/ 10123 w 57763"/>
                  <a:gd name="connsiteY2" fmla="*/ 69644 h 80353"/>
                  <a:gd name="connsiteX3" fmla="*/ 47 w 57763"/>
                  <a:gd name="connsiteY3" fmla="*/ 41984 h 80353"/>
                  <a:gd name="connsiteX4" fmla="*/ 10913 w 57763"/>
                  <a:gd name="connsiteY4" fmla="*/ 11541 h 80353"/>
                  <a:gd name="connsiteX5" fmla="*/ 39925 w 57763"/>
                  <a:gd name="connsiteY5" fmla="*/ 39 h 80353"/>
                  <a:gd name="connsiteX6" fmla="*/ 57764 w 57763"/>
                  <a:gd name="connsiteY6" fmla="*/ 3786 h 80353"/>
                  <a:gd name="connsiteX7" fmla="*/ 57764 w 57763"/>
                  <a:gd name="connsiteY7" fmla="*/ 16372 h 80353"/>
                  <a:gd name="connsiteX8" fmla="*/ 39475 w 57763"/>
                  <a:gd name="connsiteY8" fmla="*/ 10380 h 80353"/>
                  <a:gd name="connsiteX9" fmla="*/ 20167 w 57763"/>
                  <a:gd name="connsiteY9" fmla="*/ 18804 h 80353"/>
                  <a:gd name="connsiteX10" fmla="*/ 12634 w 57763"/>
                  <a:gd name="connsiteY10" fmla="*/ 40932 h 80353"/>
                  <a:gd name="connsiteX11" fmla="*/ 19717 w 57763"/>
                  <a:gd name="connsiteY11" fmla="*/ 62195 h 80353"/>
                  <a:gd name="connsiteX12" fmla="*/ 38718 w 57763"/>
                  <a:gd name="connsiteY12" fmla="*/ 69983 h 80353"/>
                  <a:gd name="connsiteX13" fmla="*/ 57610 w 57763"/>
                  <a:gd name="connsiteY13" fmla="*/ 63323 h 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53">
                    <a:moveTo>
                      <a:pt x="57610" y="75001"/>
                    </a:moveTo>
                    <a:cubicBezTo>
                      <a:pt x="51240" y="78670"/>
                      <a:pt x="43981" y="80511"/>
                      <a:pt x="36624" y="80324"/>
                    </a:cubicBezTo>
                    <a:cubicBezTo>
                      <a:pt x="26669" y="80730"/>
                      <a:pt x="17020" y="76841"/>
                      <a:pt x="10123" y="69644"/>
                    </a:cubicBezTo>
                    <a:cubicBezTo>
                      <a:pt x="3249" y="62107"/>
                      <a:pt x="-370" y="52171"/>
                      <a:pt x="47" y="41984"/>
                    </a:cubicBezTo>
                    <a:cubicBezTo>
                      <a:pt x="-479" y="30799"/>
                      <a:pt x="3424" y="19867"/>
                      <a:pt x="10913" y="11541"/>
                    </a:cubicBezTo>
                    <a:cubicBezTo>
                      <a:pt x="18489" y="3731"/>
                      <a:pt x="29048" y="-454"/>
                      <a:pt x="39925" y="39"/>
                    </a:cubicBezTo>
                    <a:cubicBezTo>
                      <a:pt x="46076" y="-81"/>
                      <a:pt x="52183" y="1189"/>
                      <a:pt x="57764" y="3786"/>
                    </a:cubicBezTo>
                    <a:lnTo>
                      <a:pt x="57764" y="16372"/>
                    </a:lnTo>
                    <a:cubicBezTo>
                      <a:pt x="52446" y="12505"/>
                      <a:pt x="46054" y="10402"/>
                      <a:pt x="39475" y="10380"/>
                    </a:cubicBezTo>
                    <a:cubicBezTo>
                      <a:pt x="32107" y="10172"/>
                      <a:pt x="25024" y="13261"/>
                      <a:pt x="20167" y="18804"/>
                    </a:cubicBezTo>
                    <a:cubicBezTo>
                      <a:pt x="14948" y="24972"/>
                      <a:pt x="12261" y="32870"/>
                      <a:pt x="12634" y="40932"/>
                    </a:cubicBezTo>
                    <a:cubicBezTo>
                      <a:pt x="12207" y="48666"/>
                      <a:pt x="14739" y="56268"/>
                      <a:pt x="19717" y="62195"/>
                    </a:cubicBezTo>
                    <a:cubicBezTo>
                      <a:pt x="24596" y="67453"/>
                      <a:pt x="31548" y="70301"/>
                      <a:pt x="38718" y="69983"/>
                    </a:cubicBezTo>
                    <a:cubicBezTo>
                      <a:pt x="45582" y="69929"/>
                      <a:pt x="52238" y="67584"/>
                      <a:pt x="57610" y="633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0" name="Freeform: Shape 219">
                <a:extLst>
                  <a:ext uri="{FF2B5EF4-FFF2-40B4-BE49-F238E27FC236}">
                    <a16:creationId xmlns:a16="http://schemas.microsoft.com/office/drawing/2014/main" id="{D1405E38-15F1-3606-2406-1D2D169F1FD2}"/>
                  </a:ext>
                </a:extLst>
              </p:cNvPr>
              <p:cNvSpPr/>
              <p:nvPr/>
            </p:nvSpPr>
            <p:spPr>
              <a:xfrm>
                <a:off x="3416286" y="3262151"/>
                <a:ext cx="57763" cy="80353"/>
              </a:xfrm>
              <a:custGeom>
                <a:avLst/>
                <a:gdLst>
                  <a:gd name="connsiteX0" fmla="*/ 57610 w 57763"/>
                  <a:gd name="connsiteY0" fmla="*/ 75001 h 80353"/>
                  <a:gd name="connsiteX1" fmla="*/ 36624 w 57763"/>
                  <a:gd name="connsiteY1" fmla="*/ 80324 h 80353"/>
                  <a:gd name="connsiteX2" fmla="*/ 10134 w 57763"/>
                  <a:gd name="connsiteY2" fmla="*/ 69644 h 80353"/>
                  <a:gd name="connsiteX3" fmla="*/ 47 w 57763"/>
                  <a:gd name="connsiteY3" fmla="*/ 41984 h 80353"/>
                  <a:gd name="connsiteX4" fmla="*/ 10924 w 57763"/>
                  <a:gd name="connsiteY4" fmla="*/ 11541 h 80353"/>
                  <a:gd name="connsiteX5" fmla="*/ 39925 w 57763"/>
                  <a:gd name="connsiteY5" fmla="*/ 39 h 80353"/>
                  <a:gd name="connsiteX6" fmla="*/ 57764 w 57763"/>
                  <a:gd name="connsiteY6" fmla="*/ 3786 h 80353"/>
                  <a:gd name="connsiteX7" fmla="*/ 57764 w 57763"/>
                  <a:gd name="connsiteY7" fmla="*/ 16372 h 80353"/>
                  <a:gd name="connsiteX8" fmla="*/ 39475 w 57763"/>
                  <a:gd name="connsiteY8" fmla="*/ 10380 h 80353"/>
                  <a:gd name="connsiteX9" fmla="*/ 20178 w 57763"/>
                  <a:gd name="connsiteY9" fmla="*/ 18804 h 80353"/>
                  <a:gd name="connsiteX10" fmla="*/ 12645 w 57763"/>
                  <a:gd name="connsiteY10" fmla="*/ 40932 h 80353"/>
                  <a:gd name="connsiteX11" fmla="*/ 19728 w 57763"/>
                  <a:gd name="connsiteY11" fmla="*/ 62195 h 80353"/>
                  <a:gd name="connsiteX12" fmla="*/ 38729 w 57763"/>
                  <a:gd name="connsiteY12" fmla="*/ 69983 h 80353"/>
                  <a:gd name="connsiteX13" fmla="*/ 57610 w 57763"/>
                  <a:gd name="connsiteY13" fmla="*/ 63323 h 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53">
                    <a:moveTo>
                      <a:pt x="57610" y="75001"/>
                    </a:moveTo>
                    <a:cubicBezTo>
                      <a:pt x="51240" y="78681"/>
                      <a:pt x="43981" y="80522"/>
                      <a:pt x="36624" y="80324"/>
                    </a:cubicBezTo>
                    <a:cubicBezTo>
                      <a:pt x="26669" y="80730"/>
                      <a:pt x="17020" y="76841"/>
                      <a:pt x="10134" y="69644"/>
                    </a:cubicBezTo>
                    <a:cubicBezTo>
                      <a:pt x="3249" y="62118"/>
                      <a:pt x="-370" y="52171"/>
                      <a:pt x="47" y="41984"/>
                    </a:cubicBezTo>
                    <a:cubicBezTo>
                      <a:pt x="-479" y="30799"/>
                      <a:pt x="3424" y="19867"/>
                      <a:pt x="10924" y="11541"/>
                    </a:cubicBezTo>
                    <a:cubicBezTo>
                      <a:pt x="18500" y="3731"/>
                      <a:pt x="29059" y="-454"/>
                      <a:pt x="39925" y="39"/>
                    </a:cubicBezTo>
                    <a:cubicBezTo>
                      <a:pt x="46076" y="-92"/>
                      <a:pt x="52183" y="1189"/>
                      <a:pt x="57764" y="3786"/>
                    </a:cubicBezTo>
                    <a:lnTo>
                      <a:pt x="57764" y="16372"/>
                    </a:lnTo>
                    <a:cubicBezTo>
                      <a:pt x="52446" y="12505"/>
                      <a:pt x="46054" y="10402"/>
                      <a:pt x="39475" y="10380"/>
                    </a:cubicBezTo>
                    <a:cubicBezTo>
                      <a:pt x="32107" y="10172"/>
                      <a:pt x="25035" y="13261"/>
                      <a:pt x="20178" y="18804"/>
                    </a:cubicBezTo>
                    <a:cubicBezTo>
                      <a:pt x="14959" y="24972"/>
                      <a:pt x="12272" y="32870"/>
                      <a:pt x="12645" y="40932"/>
                    </a:cubicBezTo>
                    <a:cubicBezTo>
                      <a:pt x="12218" y="48666"/>
                      <a:pt x="14750" y="56268"/>
                      <a:pt x="19728" y="62195"/>
                    </a:cubicBezTo>
                    <a:cubicBezTo>
                      <a:pt x="24607" y="67453"/>
                      <a:pt x="31559" y="70301"/>
                      <a:pt x="38729" y="69983"/>
                    </a:cubicBezTo>
                    <a:cubicBezTo>
                      <a:pt x="45593" y="69929"/>
                      <a:pt x="52238" y="67584"/>
                      <a:pt x="57610" y="633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1" name="Freeform: Shape 220">
                <a:extLst>
                  <a:ext uri="{FF2B5EF4-FFF2-40B4-BE49-F238E27FC236}">
                    <a16:creationId xmlns:a16="http://schemas.microsoft.com/office/drawing/2014/main" id="{F293EC4D-E267-C0C0-B919-D5F48C7AE268}"/>
                  </a:ext>
                </a:extLst>
              </p:cNvPr>
              <p:cNvSpPr/>
              <p:nvPr/>
            </p:nvSpPr>
            <p:spPr>
              <a:xfrm>
                <a:off x="3485193" y="3262148"/>
                <a:ext cx="75659" cy="80366"/>
              </a:xfrm>
              <a:custGeom>
                <a:avLst/>
                <a:gdLst>
                  <a:gd name="connsiteX0" fmla="*/ 37396 w 75659"/>
                  <a:gd name="connsiteY0" fmla="*/ 80328 h 80366"/>
                  <a:gd name="connsiteX1" fmla="*/ 10226 w 75659"/>
                  <a:gd name="connsiteY1" fmla="*/ 69581 h 80366"/>
                  <a:gd name="connsiteX2" fmla="*/ 73 w 75659"/>
                  <a:gd name="connsiteY2" fmla="*/ 41100 h 80366"/>
                  <a:gd name="connsiteX3" fmla="*/ 10643 w 75659"/>
                  <a:gd name="connsiteY3" fmla="*/ 10920 h 80366"/>
                  <a:gd name="connsiteX4" fmla="*/ 39150 w 75659"/>
                  <a:gd name="connsiteY4" fmla="*/ 53 h 80366"/>
                  <a:gd name="connsiteX5" fmla="*/ 65947 w 75659"/>
                  <a:gd name="connsiteY5" fmla="*/ 10613 h 80366"/>
                  <a:gd name="connsiteX6" fmla="*/ 75585 w 75659"/>
                  <a:gd name="connsiteY6" fmla="*/ 39895 h 80366"/>
                  <a:gd name="connsiteX7" fmla="*/ 65202 w 75659"/>
                  <a:gd name="connsiteY7" fmla="*/ 69286 h 80366"/>
                  <a:gd name="connsiteX8" fmla="*/ 37396 w 75659"/>
                  <a:gd name="connsiteY8" fmla="*/ 80328 h 80366"/>
                  <a:gd name="connsiteX9" fmla="*/ 38295 w 75659"/>
                  <a:gd name="connsiteY9" fmla="*/ 10383 h 80366"/>
                  <a:gd name="connsiteX10" fmla="*/ 19557 w 75659"/>
                  <a:gd name="connsiteY10" fmla="*/ 18435 h 80366"/>
                  <a:gd name="connsiteX11" fmla="*/ 12671 w 75659"/>
                  <a:gd name="connsiteY11" fmla="*/ 40640 h 80366"/>
                  <a:gd name="connsiteX12" fmla="*/ 19634 w 75659"/>
                  <a:gd name="connsiteY12" fmla="*/ 62121 h 80366"/>
                  <a:gd name="connsiteX13" fmla="*/ 38273 w 75659"/>
                  <a:gd name="connsiteY13" fmla="*/ 69987 h 80366"/>
                  <a:gd name="connsiteX14" fmla="*/ 56606 w 75659"/>
                  <a:gd name="connsiteY14" fmla="*/ 62318 h 80366"/>
                  <a:gd name="connsiteX15" fmla="*/ 63009 w 75659"/>
                  <a:gd name="connsiteY15" fmla="*/ 40410 h 80366"/>
                  <a:gd name="connsiteX16" fmla="*/ 56606 w 75659"/>
                  <a:gd name="connsiteY16" fmla="*/ 18249 h 80366"/>
                  <a:gd name="connsiteX17" fmla="*/ 38295 w 75659"/>
                  <a:gd name="connsiteY17" fmla="*/ 10383 h 8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9" h="80366">
                    <a:moveTo>
                      <a:pt x="37396" y="80328"/>
                    </a:moveTo>
                    <a:cubicBezTo>
                      <a:pt x="27221" y="80788"/>
                      <a:pt x="17331" y="76877"/>
                      <a:pt x="10226" y="69581"/>
                    </a:cubicBezTo>
                    <a:cubicBezTo>
                      <a:pt x="3231" y="61793"/>
                      <a:pt x="-420" y="51561"/>
                      <a:pt x="73" y="41100"/>
                    </a:cubicBezTo>
                    <a:cubicBezTo>
                      <a:pt x="-585" y="30036"/>
                      <a:pt x="3220" y="19158"/>
                      <a:pt x="10643" y="10920"/>
                    </a:cubicBezTo>
                    <a:cubicBezTo>
                      <a:pt x="18208" y="3482"/>
                      <a:pt x="28548" y="-462"/>
                      <a:pt x="39150" y="53"/>
                    </a:cubicBezTo>
                    <a:cubicBezTo>
                      <a:pt x="49194" y="-505"/>
                      <a:pt x="58985" y="3351"/>
                      <a:pt x="65947" y="10613"/>
                    </a:cubicBezTo>
                    <a:cubicBezTo>
                      <a:pt x="72767" y="18796"/>
                      <a:pt x="76221" y="29269"/>
                      <a:pt x="75585" y="39895"/>
                    </a:cubicBezTo>
                    <a:cubicBezTo>
                      <a:pt x="76111" y="50674"/>
                      <a:pt x="72383" y="61223"/>
                      <a:pt x="65202" y="69286"/>
                    </a:cubicBezTo>
                    <a:cubicBezTo>
                      <a:pt x="57954" y="76778"/>
                      <a:pt x="47823" y="80810"/>
                      <a:pt x="37396" y="80328"/>
                    </a:cubicBezTo>
                    <a:close/>
                    <a:moveTo>
                      <a:pt x="38295" y="10383"/>
                    </a:moveTo>
                    <a:cubicBezTo>
                      <a:pt x="31146" y="10066"/>
                      <a:pt x="24239" y="13023"/>
                      <a:pt x="19557" y="18435"/>
                    </a:cubicBezTo>
                    <a:cubicBezTo>
                      <a:pt x="14645" y="24756"/>
                      <a:pt x="12200" y="32654"/>
                      <a:pt x="12671" y="40640"/>
                    </a:cubicBezTo>
                    <a:cubicBezTo>
                      <a:pt x="12233" y="48417"/>
                      <a:pt x="14711" y="56074"/>
                      <a:pt x="19634" y="62121"/>
                    </a:cubicBezTo>
                    <a:cubicBezTo>
                      <a:pt x="24359" y="67401"/>
                      <a:pt x="31190" y="70282"/>
                      <a:pt x="38273" y="69987"/>
                    </a:cubicBezTo>
                    <a:cubicBezTo>
                      <a:pt x="45246" y="70414"/>
                      <a:pt x="52011" y="67577"/>
                      <a:pt x="56606" y="62318"/>
                    </a:cubicBezTo>
                    <a:cubicBezTo>
                      <a:pt x="61244" y="55987"/>
                      <a:pt x="63502" y="48231"/>
                      <a:pt x="63009" y="40410"/>
                    </a:cubicBezTo>
                    <a:cubicBezTo>
                      <a:pt x="63513" y="32500"/>
                      <a:pt x="61254" y="24668"/>
                      <a:pt x="56606" y="18249"/>
                    </a:cubicBezTo>
                    <a:cubicBezTo>
                      <a:pt x="52066" y="12903"/>
                      <a:pt x="45290" y="10000"/>
                      <a:pt x="38295" y="1038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2" name="Freeform: Shape 221">
                <a:extLst>
                  <a:ext uri="{FF2B5EF4-FFF2-40B4-BE49-F238E27FC236}">
                    <a16:creationId xmlns:a16="http://schemas.microsoft.com/office/drawing/2014/main" id="{E28CDF32-D759-849A-E674-0C57A203CD02}"/>
                  </a:ext>
                </a:extLst>
              </p:cNvPr>
              <p:cNvSpPr/>
              <p:nvPr/>
            </p:nvSpPr>
            <p:spPr>
              <a:xfrm>
                <a:off x="3578365" y="3263943"/>
                <a:ext cx="63757" cy="78557"/>
              </a:xfrm>
              <a:custGeom>
                <a:avLst/>
                <a:gdLst>
                  <a:gd name="connsiteX0" fmla="*/ 63681 w 63757"/>
                  <a:gd name="connsiteY0" fmla="*/ 76736 h 78557"/>
                  <a:gd name="connsiteX1" fmla="*/ 51390 w 63757"/>
                  <a:gd name="connsiteY1" fmla="*/ 76736 h 78557"/>
                  <a:gd name="connsiteX2" fmla="*/ 51390 w 63757"/>
                  <a:gd name="connsiteY2" fmla="*/ 64599 h 78557"/>
                  <a:gd name="connsiteX3" fmla="*/ 51094 w 63757"/>
                  <a:gd name="connsiteY3" fmla="*/ 64599 h 78557"/>
                  <a:gd name="connsiteX4" fmla="*/ 27411 w 63757"/>
                  <a:gd name="connsiteY4" fmla="*/ 78533 h 78557"/>
                  <a:gd name="connsiteX5" fmla="*/ 0 w 63757"/>
                  <a:gd name="connsiteY5" fmla="*/ 45877 h 78557"/>
                  <a:gd name="connsiteX6" fmla="*/ 0 w 63757"/>
                  <a:gd name="connsiteY6" fmla="*/ 55 h 78557"/>
                  <a:gd name="connsiteX7" fmla="*/ 12214 w 63757"/>
                  <a:gd name="connsiteY7" fmla="*/ 55 h 78557"/>
                  <a:gd name="connsiteX8" fmla="*/ 12214 w 63757"/>
                  <a:gd name="connsiteY8" fmla="*/ 43873 h 78557"/>
                  <a:gd name="connsiteX9" fmla="*/ 30854 w 63757"/>
                  <a:gd name="connsiteY9" fmla="*/ 68137 h 78557"/>
                  <a:gd name="connsiteX10" fmla="*/ 45667 w 63757"/>
                  <a:gd name="connsiteY10" fmla="*/ 61509 h 78557"/>
                  <a:gd name="connsiteX11" fmla="*/ 51467 w 63757"/>
                  <a:gd name="connsiteY11" fmla="*/ 44179 h 78557"/>
                  <a:gd name="connsiteX12" fmla="*/ 51467 w 63757"/>
                  <a:gd name="connsiteY12" fmla="*/ 0 h 78557"/>
                  <a:gd name="connsiteX13" fmla="*/ 63758 w 63757"/>
                  <a:gd name="connsiteY13" fmla="*/ 0 h 7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57" h="78557">
                    <a:moveTo>
                      <a:pt x="63681" y="76736"/>
                    </a:moveTo>
                    <a:lnTo>
                      <a:pt x="51390" y="76736"/>
                    </a:lnTo>
                    <a:lnTo>
                      <a:pt x="51390" y="64599"/>
                    </a:lnTo>
                    <a:lnTo>
                      <a:pt x="51094" y="64599"/>
                    </a:lnTo>
                    <a:cubicBezTo>
                      <a:pt x="46654" y="73516"/>
                      <a:pt x="37367" y="78971"/>
                      <a:pt x="27411" y="78533"/>
                    </a:cubicBezTo>
                    <a:cubicBezTo>
                      <a:pt x="9133" y="78533"/>
                      <a:pt x="0" y="67644"/>
                      <a:pt x="0" y="45877"/>
                    </a:cubicBezTo>
                    <a:lnTo>
                      <a:pt x="0" y="55"/>
                    </a:lnTo>
                    <a:lnTo>
                      <a:pt x="12214" y="55"/>
                    </a:lnTo>
                    <a:lnTo>
                      <a:pt x="12214" y="43873"/>
                    </a:lnTo>
                    <a:cubicBezTo>
                      <a:pt x="12214" y="60052"/>
                      <a:pt x="18431" y="68148"/>
                      <a:pt x="30854" y="68137"/>
                    </a:cubicBezTo>
                    <a:cubicBezTo>
                      <a:pt x="36544" y="68279"/>
                      <a:pt x="41983" y="65847"/>
                      <a:pt x="45667" y="61509"/>
                    </a:cubicBezTo>
                    <a:cubicBezTo>
                      <a:pt x="49691" y="56657"/>
                      <a:pt x="51763" y="50478"/>
                      <a:pt x="51467" y="44179"/>
                    </a:cubicBezTo>
                    <a:lnTo>
                      <a:pt x="51467" y="0"/>
                    </a:lnTo>
                    <a:lnTo>
                      <a:pt x="63758"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3" name="Freeform: Shape 222">
                <a:extLst>
                  <a:ext uri="{FF2B5EF4-FFF2-40B4-BE49-F238E27FC236}">
                    <a16:creationId xmlns:a16="http://schemas.microsoft.com/office/drawing/2014/main" id="{AD7576FB-0832-C2B7-493F-C890B72E2383}"/>
                  </a:ext>
                </a:extLst>
              </p:cNvPr>
              <p:cNvSpPr/>
              <p:nvPr/>
            </p:nvSpPr>
            <p:spPr>
              <a:xfrm>
                <a:off x="3665115" y="3262190"/>
                <a:ext cx="63816" cy="78532"/>
              </a:xfrm>
              <a:custGeom>
                <a:avLst/>
                <a:gdLst>
                  <a:gd name="connsiteX0" fmla="*/ 63747 w 63816"/>
                  <a:gd name="connsiteY0" fmla="*/ 78489 h 78532"/>
                  <a:gd name="connsiteX1" fmla="*/ 51412 w 63816"/>
                  <a:gd name="connsiteY1" fmla="*/ 78489 h 78532"/>
                  <a:gd name="connsiteX2" fmla="*/ 51412 w 63816"/>
                  <a:gd name="connsiteY2" fmla="*/ 34748 h 78532"/>
                  <a:gd name="connsiteX3" fmla="*/ 33573 w 63816"/>
                  <a:gd name="connsiteY3" fmla="*/ 10341 h 78532"/>
                  <a:gd name="connsiteX4" fmla="*/ 18322 w 63816"/>
                  <a:gd name="connsiteY4" fmla="*/ 17265 h 78532"/>
                  <a:gd name="connsiteX5" fmla="*/ 12291 w 63816"/>
                  <a:gd name="connsiteY5" fmla="*/ 34792 h 78532"/>
                  <a:gd name="connsiteX6" fmla="*/ 12291 w 63816"/>
                  <a:gd name="connsiteY6" fmla="*/ 78533 h 78532"/>
                  <a:gd name="connsiteX7" fmla="*/ 0 w 63816"/>
                  <a:gd name="connsiteY7" fmla="*/ 78533 h 78532"/>
                  <a:gd name="connsiteX8" fmla="*/ 0 w 63816"/>
                  <a:gd name="connsiteY8" fmla="*/ 1852 h 78532"/>
                  <a:gd name="connsiteX9" fmla="*/ 12291 w 63816"/>
                  <a:gd name="connsiteY9" fmla="*/ 1852 h 78532"/>
                  <a:gd name="connsiteX10" fmla="*/ 12291 w 63816"/>
                  <a:gd name="connsiteY10" fmla="*/ 14581 h 78532"/>
                  <a:gd name="connsiteX11" fmla="*/ 12587 w 63816"/>
                  <a:gd name="connsiteY11" fmla="*/ 14581 h 78532"/>
                  <a:gd name="connsiteX12" fmla="*/ 37805 w 63816"/>
                  <a:gd name="connsiteY12" fmla="*/ 44 h 78532"/>
                  <a:gd name="connsiteX13" fmla="*/ 57070 w 63816"/>
                  <a:gd name="connsiteY13" fmla="*/ 8172 h 78532"/>
                  <a:gd name="connsiteX14" fmla="*/ 63736 w 63816"/>
                  <a:gd name="connsiteY14" fmla="*/ 31648 h 7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6" h="78532">
                    <a:moveTo>
                      <a:pt x="63747" y="78489"/>
                    </a:moveTo>
                    <a:lnTo>
                      <a:pt x="51412" y="78489"/>
                    </a:lnTo>
                    <a:lnTo>
                      <a:pt x="51412" y="34748"/>
                    </a:lnTo>
                    <a:cubicBezTo>
                      <a:pt x="51412" y="18470"/>
                      <a:pt x="45470" y="10330"/>
                      <a:pt x="33573" y="10341"/>
                    </a:cubicBezTo>
                    <a:cubicBezTo>
                      <a:pt x="27707" y="10221"/>
                      <a:pt x="22093" y="12762"/>
                      <a:pt x="18322" y="17265"/>
                    </a:cubicBezTo>
                    <a:cubicBezTo>
                      <a:pt x="14199" y="22161"/>
                      <a:pt x="12050" y="28405"/>
                      <a:pt x="12291" y="34792"/>
                    </a:cubicBezTo>
                    <a:lnTo>
                      <a:pt x="12291" y="78533"/>
                    </a:lnTo>
                    <a:lnTo>
                      <a:pt x="0" y="78533"/>
                    </a:lnTo>
                    <a:lnTo>
                      <a:pt x="0" y="1852"/>
                    </a:lnTo>
                    <a:lnTo>
                      <a:pt x="12291" y="1852"/>
                    </a:lnTo>
                    <a:lnTo>
                      <a:pt x="12291" y="14581"/>
                    </a:lnTo>
                    <a:lnTo>
                      <a:pt x="12587" y="14581"/>
                    </a:lnTo>
                    <a:cubicBezTo>
                      <a:pt x="17565" y="5357"/>
                      <a:pt x="27323" y="-274"/>
                      <a:pt x="37805" y="44"/>
                    </a:cubicBezTo>
                    <a:cubicBezTo>
                      <a:pt x="45151" y="-405"/>
                      <a:pt x="52278" y="2596"/>
                      <a:pt x="57070" y="8172"/>
                    </a:cubicBezTo>
                    <a:cubicBezTo>
                      <a:pt x="61938" y="14997"/>
                      <a:pt x="64295" y="23289"/>
                      <a:pt x="63736" y="3164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4" name="Freeform: Shape 223">
                <a:extLst>
                  <a:ext uri="{FF2B5EF4-FFF2-40B4-BE49-F238E27FC236}">
                    <a16:creationId xmlns:a16="http://schemas.microsoft.com/office/drawing/2014/main" id="{F0E6AED6-79F9-B497-081D-2DA60A1BB7EB}"/>
                  </a:ext>
                </a:extLst>
              </p:cNvPr>
              <p:cNvSpPr/>
              <p:nvPr/>
            </p:nvSpPr>
            <p:spPr>
              <a:xfrm>
                <a:off x="3741416" y="3241300"/>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9 w 44789"/>
                  <a:gd name="connsiteY8" fmla="*/ 0 h 101045"/>
                  <a:gd name="connsiteX9" fmla="*/ 25449 w 44789"/>
                  <a:gd name="connsiteY9" fmla="*/ 22698 h 101045"/>
                  <a:gd name="connsiteX10" fmla="*/ 44789 w 44789"/>
                  <a:gd name="connsiteY10" fmla="*/ 22698 h 101045"/>
                  <a:gd name="connsiteX11" fmla="*/ 44789 w 44789"/>
                  <a:gd name="connsiteY11" fmla="*/ 33181 h 101045"/>
                  <a:gd name="connsiteX12" fmla="*/ 25449 w 44789"/>
                  <a:gd name="connsiteY12" fmla="*/ 33181 h 101045"/>
                  <a:gd name="connsiteX13" fmla="*/ 25449 w 44789"/>
                  <a:gd name="connsiteY13" fmla="*/ 76386 h 101045"/>
                  <a:gd name="connsiteX14" fmla="*/ 28069 w 44789"/>
                  <a:gd name="connsiteY14" fmla="*/ 87340 h 101045"/>
                  <a:gd name="connsiteX15" fmla="*/ 36764 w 44789"/>
                  <a:gd name="connsiteY15" fmla="*/ 90626 h 101045"/>
                  <a:gd name="connsiteX16" fmla="*/ 44789 w 44789"/>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65"/>
                      <a:pt x="37279" y="101197"/>
                      <a:pt x="33321" y="101022"/>
                    </a:cubicBezTo>
                    <a:cubicBezTo>
                      <a:pt x="19868" y="101022"/>
                      <a:pt x="13146" y="93529"/>
                      <a:pt x="13157" y="78554"/>
                    </a:cubicBezTo>
                    <a:lnTo>
                      <a:pt x="13157" y="33181"/>
                    </a:lnTo>
                    <a:lnTo>
                      <a:pt x="0" y="33181"/>
                    </a:lnTo>
                    <a:lnTo>
                      <a:pt x="0" y="22698"/>
                    </a:lnTo>
                    <a:lnTo>
                      <a:pt x="13157" y="22698"/>
                    </a:lnTo>
                    <a:lnTo>
                      <a:pt x="13157" y="3976"/>
                    </a:lnTo>
                    <a:lnTo>
                      <a:pt x="25449" y="0"/>
                    </a:lnTo>
                    <a:lnTo>
                      <a:pt x="25449" y="22698"/>
                    </a:lnTo>
                    <a:lnTo>
                      <a:pt x="44789" y="22698"/>
                    </a:lnTo>
                    <a:lnTo>
                      <a:pt x="44789" y="33181"/>
                    </a:lnTo>
                    <a:lnTo>
                      <a:pt x="25449" y="33181"/>
                    </a:lnTo>
                    <a:lnTo>
                      <a:pt x="25449" y="76386"/>
                    </a:lnTo>
                    <a:cubicBezTo>
                      <a:pt x="25120" y="80220"/>
                      <a:pt x="26040" y="84065"/>
                      <a:pt x="28069" y="87340"/>
                    </a:cubicBezTo>
                    <a:cubicBezTo>
                      <a:pt x="30295" y="89728"/>
                      <a:pt x="33507" y="90944"/>
                      <a:pt x="36764" y="90626"/>
                    </a:cubicBezTo>
                    <a:cubicBezTo>
                      <a:pt x="39647" y="90692"/>
                      <a:pt x="42476" y="89794"/>
                      <a:pt x="44789" y="880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5" name="Freeform: Shape 224">
                <a:extLst>
                  <a:ext uri="{FF2B5EF4-FFF2-40B4-BE49-F238E27FC236}">
                    <a16:creationId xmlns:a16="http://schemas.microsoft.com/office/drawing/2014/main" id="{907554CC-C5B7-0F3A-B93C-17E94B39016A}"/>
                  </a:ext>
                </a:extLst>
              </p:cNvPr>
              <p:cNvSpPr/>
              <p:nvPr/>
            </p:nvSpPr>
            <p:spPr>
              <a:xfrm>
                <a:off x="3799089" y="3262272"/>
                <a:ext cx="50858" cy="80183"/>
              </a:xfrm>
              <a:custGeom>
                <a:avLst/>
                <a:gdLst>
                  <a:gd name="connsiteX0" fmla="*/ 0 w 50858"/>
                  <a:gd name="connsiteY0" fmla="*/ 75635 h 80183"/>
                  <a:gd name="connsiteX1" fmla="*/ 0 w 50858"/>
                  <a:gd name="connsiteY1" fmla="*/ 62490 h 80183"/>
                  <a:gd name="connsiteX2" fmla="*/ 22104 w 50858"/>
                  <a:gd name="connsiteY2" fmla="*/ 69906 h 80183"/>
                  <a:gd name="connsiteX3" fmla="*/ 38298 w 50858"/>
                  <a:gd name="connsiteY3" fmla="*/ 59127 h 80183"/>
                  <a:gd name="connsiteX4" fmla="*/ 36917 w 50858"/>
                  <a:gd name="connsiteY4" fmla="*/ 53924 h 80183"/>
                  <a:gd name="connsiteX5" fmla="*/ 33167 w 50858"/>
                  <a:gd name="connsiteY5" fmla="*/ 50144 h 80183"/>
                  <a:gd name="connsiteX6" fmla="*/ 27619 w 50858"/>
                  <a:gd name="connsiteY6" fmla="*/ 47187 h 80183"/>
                  <a:gd name="connsiteX7" fmla="*/ 20756 w 50858"/>
                  <a:gd name="connsiteY7" fmla="*/ 44448 h 80183"/>
                  <a:gd name="connsiteX8" fmla="*/ 11809 w 50858"/>
                  <a:gd name="connsiteY8" fmla="*/ 40362 h 80183"/>
                  <a:gd name="connsiteX9" fmla="*/ 5361 w 50858"/>
                  <a:gd name="connsiteY9" fmla="*/ 35728 h 80183"/>
                  <a:gd name="connsiteX10" fmla="*/ 1458 w 50858"/>
                  <a:gd name="connsiteY10" fmla="*/ 29846 h 80183"/>
                  <a:gd name="connsiteX11" fmla="*/ 143 w 50858"/>
                  <a:gd name="connsiteY11" fmla="*/ 22178 h 80183"/>
                  <a:gd name="connsiteX12" fmla="*/ 2620 w 50858"/>
                  <a:gd name="connsiteY12" fmla="*/ 12625 h 80183"/>
                  <a:gd name="connsiteX13" fmla="*/ 9199 w 50858"/>
                  <a:gd name="connsiteY13" fmla="*/ 5669 h 80183"/>
                  <a:gd name="connsiteX14" fmla="*/ 18606 w 50858"/>
                  <a:gd name="connsiteY14" fmla="*/ 1430 h 80183"/>
                  <a:gd name="connsiteX15" fmla="*/ 29505 w 50858"/>
                  <a:gd name="connsiteY15" fmla="*/ 6 h 80183"/>
                  <a:gd name="connsiteX16" fmla="*/ 47344 w 50858"/>
                  <a:gd name="connsiteY16" fmla="*/ 3456 h 80183"/>
                  <a:gd name="connsiteX17" fmla="*/ 47344 w 50858"/>
                  <a:gd name="connsiteY17" fmla="*/ 15813 h 80183"/>
                  <a:gd name="connsiteX18" fmla="*/ 27860 w 50858"/>
                  <a:gd name="connsiteY18" fmla="*/ 10270 h 80183"/>
                  <a:gd name="connsiteX19" fmla="*/ 21633 w 50858"/>
                  <a:gd name="connsiteY19" fmla="*/ 11059 h 80183"/>
                  <a:gd name="connsiteX20" fmla="*/ 16885 w 50858"/>
                  <a:gd name="connsiteY20" fmla="*/ 13250 h 80183"/>
                  <a:gd name="connsiteX21" fmla="*/ 13804 w 50858"/>
                  <a:gd name="connsiteY21" fmla="*/ 16657 h 80183"/>
                  <a:gd name="connsiteX22" fmla="*/ 12708 w 50858"/>
                  <a:gd name="connsiteY22" fmla="*/ 21038 h 80183"/>
                  <a:gd name="connsiteX23" fmla="*/ 13804 w 50858"/>
                  <a:gd name="connsiteY23" fmla="*/ 26055 h 80183"/>
                  <a:gd name="connsiteX24" fmla="*/ 16984 w 50858"/>
                  <a:gd name="connsiteY24" fmla="*/ 29648 h 80183"/>
                  <a:gd name="connsiteX25" fmla="*/ 22082 w 50858"/>
                  <a:gd name="connsiteY25" fmla="*/ 32497 h 80183"/>
                  <a:gd name="connsiteX26" fmla="*/ 28902 w 50858"/>
                  <a:gd name="connsiteY26" fmla="*/ 35268 h 80183"/>
                  <a:gd name="connsiteX27" fmla="*/ 38046 w 50858"/>
                  <a:gd name="connsiteY27" fmla="*/ 39278 h 80183"/>
                  <a:gd name="connsiteX28" fmla="*/ 44943 w 50858"/>
                  <a:gd name="connsiteY28" fmla="*/ 43922 h 80183"/>
                  <a:gd name="connsiteX29" fmla="*/ 49329 w 50858"/>
                  <a:gd name="connsiteY29" fmla="*/ 49870 h 80183"/>
                  <a:gd name="connsiteX30" fmla="*/ 50853 w 50858"/>
                  <a:gd name="connsiteY30" fmla="*/ 57878 h 80183"/>
                  <a:gd name="connsiteX31" fmla="*/ 48353 w 50858"/>
                  <a:gd name="connsiteY31" fmla="*/ 67737 h 80183"/>
                  <a:gd name="connsiteX32" fmla="*/ 41632 w 50858"/>
                  <a:gd name="connsiteY32" fmla="*/ 74704 h 80183"/>
                  <a:gd name="connsiteX33" fmla="*/ 31972 w 50858"/>
                  <a:gd name="connsiteY33" fmla="*/ 78823 h 80183"/>
                  <a:gd name="connsiteX34" fmla="*/ 20503 w 50858"/>
                  <a:gd name="connsiteY34" fmla="*/ 80170 h 80183"/>
                  <a:gd name="connsiteX35" fmla="*/ 0 w 50858"/>
                  <a:gd name="connsiteY35" fmla="*/ 75635 h 8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58" h="80183">
                    <a:moveTo>
                      <a:pt x="0" y="75635"/>
                    </a:moveTo>
                    <a:lnTo>
                      <a:pt x="0" y="62490"/>
                    </a:lnTo>
                    <a:cubicBezTo>
                      <a:pt x="6348" y="67321"/>
                      <a:pt x="14122" y="69928"/>
                      <a:pt x="22104" y="69906"/>
                    </a:cubicBezTo>
                    <a:cubicBezTo>
                      <a:pt x="32904" y="69906"/>
                      <a:pt x="38298" y="66313"/>
                      <a:pt x="38298" y="59127"/>
                    </a:cubicBezTo>
                    <a:cubicBezTo>
                      <a:pt x="38353" y="57298"/>
                      <a:pt x="37882" y="55490"/>
                      <a:pt x="36917" y="53924"/>
                    </a:cubicBezTo>
                    <a:cubicBezTo>
                      <a:pt x="35919" y="52434"/>
                      <a:pt x="34648" y="51152"/>
                      <a:pt x="33167" y="50144"/>
                    </a:cubicBezTo>
                    <a:cubicBezTo>
                      <a:pt x="31435" y="48950"/>
                      <a:pt x="29571" y="47964"/>
                      <a:pt x="27619" y="47187"/>
                    </a:cubicBezTo>
                    <a:cubicBezTo>
                      <a:pt x="25492" y="46310"/>
                      <a:pt x="23233" y="45390"/>
                      <a:pt x="20756" y="44448"/>
                    </a:cubicBezTo>
                    <a:cubicBezTo>
                      <a:pt x="17696" y="43254"/>
                      <a:pt x="14714" y="41896"/>
                      <a:pt x="11809" y="40362"/>
                    </a:cubicBezTo>
                    <a:cubicBezTo>
                      <a:pt x="9440" y="39146"/>
                      <a:pt x="7269" y="37591"/>
                      <a:pt x="5361" y="35728"/>
                    </a:cubicBezTo>
                    <a:cubicBezTo>
                      <a:pt x="3673" y="34052"/>
                      <a:pt x="2346" y="32048"/>
                      <a:pt x="1458" y="29846"/>
                    </a:cubicBezTo>
                    <a:cubicBezTo>
                      <a:pt x="537" y="27392"/>
                      <a:pt x="88" y="24796"/>
                      <a:pt x="143" y="22178"/>
                    </a:cubicBezTo>
                    <a:cubicBezTo>
                      <a:pt x="88" y="18825"/>
                      <a:pt x="943" y="15528"/>
                      <a:pt x="2620" y="12625"/>
                    </a:cubicBezTo>
                    <a:cubicBezTo>
                      <a:pt x="4276" y="9854"/>
                      <a:pt x="6513" y="7477"/>
                      <a:pt x="9199" y="5669"/>
                    </a:cubicBezTo>
                    <a:cubicBezTo>
                      <a:pt x="12072" y="3741"/>
                      <a:pt x="15251" y="2306"/>
                      <a:pt x="18606" y="1430"/>
                    </a:cubicBezTo>
                    <a:cubicBezTo>
                      <a:pt x="22159" y="477"/>
                      <a:pt x="25821" y="6"/>
                      <a:pt x="29505" y="6"/>
                    </a:cubicBezTo>
                    <a:cubicBezTo>
                      <a:pt x="35623" y="-93"/>
                      <a:pt x="41708" y="1079"/>
                      <a:pt x="47344" y="3456"/>
                    </a:cubicBezTo>
                    <a:lnTo>
                      <a:pt x="47344" y="15813"/>
                    </a:lnTo>
                    <a:cubicBezTo>
                      <a:pt x="41544" y="12067"/>
                      <a:pt x="34757" y="10139"/>
                      <a:pt x="27860" y="10270"/>
                    </a:cubicBezTo>
                    <a:cubicBezTo>
                      <a:pt x="25755" y="10248"/>
                      <a:pt x="23661" y="10511"/>
                      <a:pt x="21633" y="11059"/>
                    </a:cubicBezTo>
                    <a:cubicBezTo>
                      <a:pt x="19933" y="11508"/>
                      <a:pt x="18332" y="12253"/>
                      <a:pt x="16885" y="13250"/>
                    </a:cubicBezTo>
                    <a:cubicBezTo>
                      <a:pt x="15613" y="14137"/>
                      <a:pt x="14561" y="15309"/>
                      <a:pt x="13804" y="16657"/>
                    </a:cubicBezTo>
                    <a:cubicBezTo>
                      <a:pt x="13069" y="18004"/>
                      <a:pt x="12697" y="19505"/>
                      <a:pt x="12708" y="21038"/>
                    </a:cubicBezTo>
                    <a:cubicBezTo>
                      <a:pt x="12653" y="22780"/>
                      <a:pt x="13026" y="24500"/>
                      <a:pt x="13804" y="26055"/>
                    </a:cubicBezTo>
                    <a:cubicBezTo>
                      <a:pt x="14582" y="27469"/>
                      <a:pt x="15668" y="28695"/>
                      <a:pt x="16984" y="29648"/>
                    </a:cubicBezTo>
                    <a:cubicBezTo>
                      <a:pt x="18563" y="30799"/>
                      <a:pt x="20273" y="31752"/>
                      <a:pt x="22082" y="32497"/>
                    </a:cubicBezTo>
                    <a:cubicBezTo>
                      <a:pt x="24089" y="33351"/>
                      <a:pt x="26358" y="34271"/>
                      <a:pt x="28902" y="35268"/>
                    </a:cubicBezTo>
                    <a:cubicBezTo>
                      <a:pt x="32016" y="36440"/>
                      <a:pt x="35075" y="37777"/>
                      <a:pt x="38046" y="39278"/>
                    </a:cubicBezTo>
                    <a:cubicBezTo>
                      <a:pt x="40546" y="40504"/>
                      <a:pt x="42860" y="42071"/>
                      <a:pt x="44943" y="43922"/>
                    </a:cubicBezTo>
                    <a:cubicBezTo>
                      <a:pt x="46796" y="45587"/>
                      <a:pt x="48287" y="47603"/>
                      <a:pt x="49329" y="49870"/>
                    </a:cubicBezTo>
                    <a:cubicBezTo>
                      <a:pt x="50392" y="52401"/>
                      <a:pt x="50918" y="55129"/>
                      <a:pt x="50853" y="57878"/>
                    </a:cubicBezTo>
                    <a:cubicBezTo>
                      <a:pt x="50929" y="61329"/>
                      <a:pt x="50064" y="64736"/>
                      <a:pt x="48353" y="67737"/>
                    </a:cubicBezTo>
                    <a:cubicBezTo>
                      <a:pt x="46664" y="70531"/>
                      <a:pt x="44373" y="72919"/>
                      <a:pt x="41632" y="74704"/>
                    </a:cubicBezTo>
                    <a:cubicBezTo>
                      <a:pt x="38671" y="76621"/>
                      <a:pt x="35404" y="78012"/>
                      <a:pt x="31972" y="78823"/>
                    </a:cubicBezTo>
                    <a:cubicBezTo>
                      <a:pt x="28222" y="79732"/>
                      <a:pt x="24363" y="80192"/>
                      <a:pt x="20503" y="80170"/>
                    </a:cubicBezTo>
                    <a:cubicBezTo>
                      <a:pt x="13398" y="80346"/>
                      <a:pt x="6359" y="78790"/>
                      <a:pt x="0" y="756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6" name="Freeform: Shape 225">
                <a:extLst>
                  <a:ext uri="{FF2B5EF4-FFF2-40B4-BE49-F238E27FC236}">
                    <a16:creationId xmlns:a16="http://schemas.microsoft.com/office/drawing/2014/main" id="{339FDE02-388A-A7CF-A4D8-3669FED34118}"/>
                  </a:ext>
                </a:extLst>
              </p:cNvPr>
              <p:cNvSpPr/>
              <p:nvPr/>
            </p:nvSpPr>
            <p:spPr>
              <a:xfrm>
                <a:off x="3905193" y="3262182"/>
                <a:ext cx="60674" cy="80337"/>
              </a:xfrm>
              <a:custGeom>
                <a:avLst/>
                <a:gdLst>
                  <a:gd name="connsiteX0" fmla="*/ 60664 w 60674"/>
                  <a:gd name="connsiteY0" fmla="*/ 78497 h 80337"/>
                  <a:gd name="connsiteX1" fmla="*/ 48373 w 60674"/>
                  <a:gd name="connsiteY1" fmla="*/ 78497 h 80337"/>
                  <a:gd name="connsiteX2" fmla="*/ 48373 w 60674"/>
                  <a:gd name="connsiteY2" fmla="*/ 66513 h 80337"/>
                  <a:gd name="connsiteX3" fmla="*/ 48066 w 60674"/>
                  <a:gd name="connsiteY3" fmla="*/ 66513 h 80337"/>
                  <a:gd name="connsiteX4" fmla="*/ 24459 w 60674"/>
                  <a:gd name="connsiteY4" fmla="*/ 80294 h 80337"/>
                  <a:gd name="connsiteX5" fmla="*/ 6511 w 60674"/>
                  <a:gd name="connsiteY5" fmla="*/ 74225 h 80337"/>
                  <a:gd name="connsiteX6" fmla="*/ 20 w 60674"/>
                  <a:gd name="connsiteY6" fmla="*/ 58122 h 80337"/>
                  <a:gd name="connsiteX7" fmla="*/ 25359 w 60674"/>
                  <a:gd name="connsiteY7" fmla="*/ 33113 h 80337"/>
                  <a:gd name="connsiteX8" fmla="*/ 48384 w 60674"/>
                  <a:gd name="connsiteY8" fmla="*/ 29892 h 80337"/>
                  <a:gd name="connsiteX9" fmla="*/ 32562 w 60674"/>
                  <a:gd name="connsiteY9" fmla="*/ 10350 h 80337"/>
                  <a:gd name="connsiteX10" fmla="*/ 7530 w 60674"/>
                  <a:gd name="connsiteY10" fmla="*/ 19781 h 80337"/>
                  <a:gd name="connsiteX11" fmla="*/ 7530 w 60674"/>
                  <a:gd name="connsiteY11" fmla="*/ 7206 h 80337"/>
                  <a:gd name="connsiteX12" fmla="*/ 33615 w 60674"/>
                  <a:gd name="connsiteY12" fmla="*/ 9 h 80337"/>
                  <a:gd name="connsiteX13" fmla="*/ 60675 w 60674"/>
                  <a:gd name="connsiteY13" fmla="*/ 28622 h 80337"/>
                  <a:gd name="connsiteX14" fmla="*/ 48373 w 60674"/>
                  <a:gd name="connsiteY14" fmla="*/ 39708 h 80337"/>
                  <a:gd name="connsiteX15" fmla="*/ 29854 w 60674"/>
                  <a:gd name="connsiteY15" fmla="*/ 42249 h 80337"/>
                  <a:gd name="connsiteX16" fmla="*/ 16960 w 60674"/>
                  <a:gd name="connsiteY16" fmla="*/ 46477 h 80337"/>
                  <a:gd name="connsiteX17" fmla="*/ 12574 w 60674"/>
                  <a:gd name="connsiteY17" fmla="*/ 57224 h 80337"/>
                  <a:gd name="connsiteX18" fmla="*/ 16587 w 60674"/>
                  <a:gd name="connsiteY18" fmla="*/ 66404 h 80337"/>
                  <a:gd name="connsiteX19" fmla="*/ 27266 w 60674"/>
                  <a:gd name="connsiteY19" fmla="*/ 69953 h 80337"/>
                  <a:gd name="connsiteX20" fmla="*/ 42375 w 60674"/>
                  <a:gd name="connsiteY20" fmla="*/ 63556 h 80337"/>
                  <a:gd name="connsiteX21" fmla="*/ 48329 w 60674"/>
                  <a:gd name="connsiteY21" fmla="*/ 47343 h 80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37">
                    <a:moveTo>
                      <a:pt x="60664" y="78497"/>
                    </a:moveTo>
                    <a:lnTo>
                      <a:pt x="48373" y="78497"/>
                    </a:lnTo>
                    <a:lnTo>
                      <a:pt x="48373" y="66513"/>
                    </a:lnTo>
                    <a:lnTo>
                      <a:pt x="48066" y="66513"/>
                    </a:lnTo>
                    <a:cubicBezTo>
                      <a:pt x="43494" y="75244"/>
                      <a:pt x="34327" y="80601"/>
                      <a:pt x="24459" y="80294"/>
                    </a:cubicBezTo>
                    <a:cubicBezTo>
                      <a:pt x="17914" y="80677"/>
                      <a:pt x="11478" y="78497"/>
                      <a:pt x="6511" y="74225"/>
                    </a:cubicBezTo>
                    <a:cubicBezTo>
                      <a:pt x="2125" y="70041"/>
                      <a:pt x="-243" y="64169"/>
                      <a:pt x="20" y="58122"/>
                    </a:cubicBezTo>
                    <a:cubicBezTo>
                      <a:pt x="20" y="43794"/>
                      <a:pt x="8463" y="35457"/>
                      <a:pt x="25359" y="33113"/>
                    </a:cubicBezTo>
                    <a:lnTo>
                      <a:pt x="48384" y="29892"/>
                    </a:lnTo>
                    <a:cubicBezTo>
                      <a:pt x="48384" y="16868"/>
                      <a:pt x="43110" y="10350"/>
                      <a:pt x="32562" y="10350"/>
                    </a:cubicBezTo>
                    <a:cubicBezTo>
                      <a:pt x="23341" y="10339"/>
                      <a:pt x="14449" y="13691"/>
                      <a:pt x="7530" y="19781"/>
                    </a:cubicBezTo>
                    <a:lnTo>
                      <a:pt x="7530" y="7206"/>
                    </a:lnTo>
                    <a:cubicBezTo>
                      <a:pt x="15348" y="2331"/>
                      <a:pt x="24405" y="-167"/>
                      <a:pt x="33615" y="9"/>
                    </a:cubicBezTo>
                    <a:cubicBezTo>
                      <a:pt x="51651" y="9"/>
                      <a:pt x="60664" y="9550"/>
                      <a:pt x="60675" y="28622"/>
                    </a:cubicBezTo>
                    <a:close/>
                    <a:moveTo>
                      <a:pt x="48373" y="39708"/>
                    </a:moveTo>
                    <a:lnTo>
                      <a:pt x="29854" y="42249"/>
                    </a:lnTo>
                    <a:cubicBezTo>
                      <a:pt x="25293" y="42665"/>
                      <a:pt x="20885" y="44111"/>
                      <a:pt x="16960" y="46477"/>
                    </a:cubicBezTo>
                    <a:cubicBezTo>
                      <a:pt x="13780" y="49096"/>
                      <a:pt x="12136" y="53138"/>
                      <a:pt x="12574" y="57224"/>
                    </a:cubicBezTo>
                    <a:cubicBezTo>
                      <a:pt x="12464" y="60729"/>
                      <a:pt x="13945" y="64103"/>
                      <a:pt x="16587" y="66404"/>
                    </a:cubicBezTo>
                    <a:cubicBezTo>
                      <a:pt x="19580" y="68879"/>
                      <a:pt x="23385" y="70150"/>
                      <a:pt x="27266" y="69953"/>
                    </a:cubicBezTo>
                    <a:cubicBezTo>
                      <a:pt x="32990" y="70117"/>
                      <a:pt x="38505" y="67773"/>
                      <a:pt x="42375" y="63556"/>
                    </a:cubicBezTo>
                    <a:cubicBezTo>
                      <a:pt x="46399" y="59130"/>
                      <a:pt x="48537" y="53313"/>
                      <a:pt x="48329" y="4734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7" name="Freeform: Shape 226">
                <a:extLst>
                  <a:ext uri="{FF2B5EF4-FFF2-40B4-BE49-F238E27FC236}">
                    <a16:creationId xmlns:a16="http://schemas.microsoft.com/office/drawing/2014/main" id="{B5801666-8282-8097-AC55-6B506EE15D12}"/>
                  </a:ext>
                </a:extLst>
              </p:cNvPr>
              <p:cNvSpPr/>
              <p:nvPr/>
            </p:nvSpPr>
            <p:spPr>
              <a:xfrm>
                <a:off x="3988016" y="3262190"/>
                <a:ext cx="63841" cy="78532"/>
              </a:xfrm>
              <a:custGeom>
                <a:avLst/>
                <a:gdLst>
                  <a:gd name="connsiteX0" fmla="*/ 63714 w 63841"/>
                  <a:gd name="connsiteY0" fmla="*/ 78489 h 78532"/>
                  <a:gd name="connsiteX1" fmla="*/ 51423 w 63841"/>
                  <a:gd name="connsiteY1" fmla="*/ 78489 h 78532"/>
                  <a:gd name="connsiteX2" fmla="*/ 51423 w 63841"/>
                  <a:gd name="connsiteY2" fmla="*/ 34748 h 78532"/>
                  <a:gd name="connsiteX3" fmla="*/ 33584 w 63841"/>
                  <a:gd name="connsiteY3" fmla="*/ 10341 h 78532"/>
                  <a:gd name="connsiteX4" fmla="*/ 18332 w 63841"/>
                  <a:gd name="connsiteY4" fmla="*/ 17265 h 78532"/>
                  <a:gd name="connsiteX5" fmla="*/ 12291 w 63841"/>
                  <a:gd name="connsiteY5" fmla="*/ 34792 h 78532"/>
                  <a:gd name="connsiteX6" fmla="*/ 12291 w 63841"/>
                  <a:gd name="connsiteY6" fmla="*/ 78533 h 78532"/>
                  <a:gd name="connsiteX7" fmla="*/ 0 w 63841"/>
                  <a:gd name="connsiteY7" fmla="*/ 78533 h 78532"/>
                  <a:gd name="connsiteX8" fmla="*/ 0 w 63841"/>
                  <a:gd name="connsiteY8" fmla="*/ 1852 h 78532"/>
                  <a:gd name="connsiteX9" fmla="*/ 12291 w 63841"/>
                  <a:gd name="connsiteY9" fmla="*/ 1852 h 78532"/>
                  <a:gd name="connsiteX10" fmla="*/ 12291 w 63841"/>
                  <a:gd name="connsiteY10" fmla="*/ 14581 h 78532"/>
                  <a:gd name="connsiteX11" fmla="*/ 12598 w 63841"/>
                  <a:gd name="connsiteY11" fmla="*/ 14581 h 78532"/>
                  <a:gd name="connsiteX12" fmla="*/ 37816 w 63841"/>
                  <a:gd name="connsiteY12" fmla="*/ 44 h 78532"/>
                  <a:gd name="connsiteX13" fmla="*/ 57081 w 63841"/>
                  <a:gd name="connsiteY13" fmla="*/ 8172 h 78532"/>
                  <a:gd name="connsiteX14" fmla="*/ 63758 w 63841"/>
                  <a:gd name="connsiteY14" fmla="*/ 31648 h 7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41" h="78532">
                    <a:moveTo>
                      <a:pt x="63714" y="78489"/>
                    </a:moveTo>
                    <a:lnTo>
                      <a:pt x="51423" y="78489"/>
                    </a:lnTo>
                    <a:lnTo>
                      <a:pt x="51423" y="34748"/>
                    </a:lnTo>
                    <a:cubicBezTo>
                      <a:pt x="51423" y="18470"/>
                      <a:pt x="45480" y="10330"/>
                      <a:pt x="33584" y="10341"/>
                    </a:cubicBezTo>
                    <a:cubicBezTo>
                      <a:pt x="27707" y="10221"/>
                      <a:pt x="22104" y="12762"/>
                      <a:pt x="18332" y="17265"/>
                    </a:cubicBezTo>
                    <a:cubicBezTo>
                      <a:pt x="14210" y="22150"/>
                      <a:pt x="12050" y="28405"/>
                      <a:pt x="12291" y="34792"/>
                    </a:cubicBezTo>
                    <a:lnTo>
                      <a:pt x="12291" y="78533"/>
                    </a:lnTo>
                    <a:lnTo>
                      <a:pt x="0" y="78533"/>
                    </a:lnTo>
                    <a:lnTo>
                      <a:pt x="0" y="1852"/>
                    </a:lnTo>
                    <a:lnTo>
                      <a:pt x="12291" y="1852"/>
                    </a:lnTo>
                    <a:lnTo>
                      <a:pt x="12291" y="14581"/>
                    </a:lnTo>
                    <a:lnTo>
                      <a:pt x="12598" y="14581"/>
                    </a:lnTo>
                    <a:cubicBezTo>
                      <a:pt x="17565" y="5357"/>
                      <a:pt x="27334" y="-274"/>
                      <a:pt x="37816" y="44"/>
                    </a:cubicBezTo>
                    <a:cubicBezTo>
                      <a:pt x="45163" y="-405"/>
                      <a:pt x="52289" y="2596"/>
                      <a:pt x="57081" y="8172"/>
                    </a:cubicBezTo>
                    <a:cubicBezTo>
                      <a:pt x="61960" y="14986"/>
                      <a:pt x="64328" y="23289"/>
                      <a:pt x="63758" y="3164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8" name="Freeform: Shape 227">
                <a:extLst>
                  <a:ext uri="{FF2B5EF4-FFF2-40B4-BE49-F238E27FC236}">
                    <a16:creationId xmlns:a16="http://schemas.microsoft.com/office/drawing/2014/main" id="{DEDAC1BB-D26C-2E09-89CB-F12DA6611BDC}"/>
                  </a:ext>
                </a:extLst>
              </p:cNvPr>
              <p:cNvSpPr/>
              <p:nvPr/>
            </p:nvSpPr>
            <p:spPr>
              <a:xfrm>
                <a:off x="4069472" y="3227147"/>
                <a:ext cx="70840" cy="115364"/>
              </a:xfrm>
              <a:custGeom>
                <a:avLst/>
                <a:gdLst>
                  <a:gd name="connsiteX0" fmla="*/ 70785 w 70840"/>
                  <a:gd name="connsiteY0" fmla="*/ 113532 h 115364"/>
                  <a:gd name="connsiteX1" fmla="*/ 58494 w 70840"/>
                  <a:gd name="connsiteY1" fmla="*/ 113532 h 115364"/>
                  <a:gd name="connsiteX2" fmla="*/ 58494 w 70840"/>
                  <a:gd name="connsiteY2" fmla="*/ 100496 h 115364"/>
                  <a:gd name="connsiteX3" fmla="*/ 58220 w 70840"/>
                  <a:gd name="connsiteY3" fmla="*/ 100496 h 115364"/>
                  <a:gd name="connsiteX4" fmla="*/ 31840 w 70840"/>
                  <a:gd name="connsiteY4" fmla="*/ 115329 h 115364"/>
                  <a:gd name="connsiteX5" fmla="*/ 8727 w 70840"/>
                  <a:gd name="connsiteY5" fmla="*/ 105031 h 115364"/>
                  <a:gd name="connsiteX6" fmla="*/ 65 w 70840"/>
                  <a:gd name="connsiteY6" fmla="*/ 76988 h 115364"/>
                  <a:gd name="connsiteX7" fmla="*/ 9659 w 70840"/>
                  <a:gd name="connsiteY7" fmla="*/ 46502 h 115364"/>
                  <a:gd name="connsiteX8" fmla="*/ 35217 w 70840"/>
                  <a:gd name="connsiteY8" fmla="*/ 35043 h 115364"/>
                  <a:gd name="connsiteX9" fmla="*/ 58242 w 70840"/>
                  <a:gd name="connsiteY9" fmla="*/ 47477 h 115364"/>
                  <a:gd name="connsiteX10" fmla="*/ 58549 w 70840"/>
                  <a:gd name="connsiteY10" fmla="*/ 47477 h 115364"/>
                  <a:gd name="connsiteX11" fmla="*/ 58549 w 70840"/>
                  <a:gd name="connsiteY11" fmla="*/ 0 h 115364"/>
                  <a:gd name="connsiteX12" fmla="*/ 70840 w 70840"/>
                  <a:gd name="connsiteY12" fmla="*/ 0 h 115364"/>
                  <a:gd name="connsiteX13" fmla="*/ 58494 w 70840"/>
                  <a:gd name="connsiteY13" fmla="*/ 78850 h 115364"/>
                  <a:gd name="connsiteX14" fmla="*/ 58494 w 70840"/>
                  <a:gd name="connsiteY14" fmla="*/ 67545 h 115364"/>
                  <a:gd name="connsiteX15" fmla="*/ 52343 w 70840"/>
                  <a:gd name="connsiteY15" fmla="*/ 51826 h 115364"/>
                  <a:gd name="connsiteX16" fmla="*/ 36752 w 70840"/>
                  <a:gd name="connsiteY16" fmla="*/ 45384 h 115364"/>
                  <a:gd name="connsiteX17" fmla="*/ 19066 w 70840"/>
                  <a:gd name="connsiteY17" fmla="*/ 53622 h 115364"/>
                  <a:gd name="connsiteX18" fmla="*/ 12619 w 70840"/>
                  <a:gd name="connsiteY18" fmla="*/ 76386 h 115364"/>
                  <a:gd name="connsiteX19" fmla="*/ 18814 w 70840"/>
                  <a:gd name="connsiteY19" fmla="*/ 97319 h 115364"/>
                  <a:gd name="connsiteX20" fmla="*/ 35403 w 70840"/>
                  <a:gd name="connsiteY20" fmla="*/ 104988 h 115364"/>
                  <a:gd name="connsiteX21" fmla="*/ 52091 w 70840"/>
                  <a:gd name="connsiteY21" fmla="*/ 97571 h 115364"/>
                  <a:gd name="connsiteX22" fmla="*/ 58494 w 70840"/>
                  <a:gd name="connsiteY22" fmla="*/ 78850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40" h="115364">
                    <a:moveTo>
                      <a:pt x="70785" y="113532"/>
                    </a:moveTo>
                    <a:lnTo>
                      <a:pt x="58494" y="113532"/>
                    </a:lnTo>
                    <a:lnTo>
                      <a:pt x="58494" y="100496"/>
                    </a:lnTo>
                    <a:lnTo>
                      <a:pt x="58220" y="100496"/>
                    </a:lnTo>
                    <a:cubicBezTo>
                      <a:pt x="53023" y="110103"/>
                      <a:pt x="42760" y="115876"/>
                      <a:pt x="31840" y="115329"/>
                    </a:cubicBezTo>
                    <a:cubicBezTo>
                      <a:pt x="22959" y="115657"/>
                      <a:pt x="14417" y="111856"/>
                      <a:pt x="8727" y="105031"/>
                    </a:cubicBezTo>
                    <a:cubicBezTo>
                      <a:pt x="2576" y="97024"/>
                      <a:pt x="-494" y="87066"/>
                      <a:pt x="65" y="76988"/>
                    </a:cubicBezTo>
                    <a:cubicBezTo>
                      <a:pt x="-483" y="66012"/>
                      <a:pt x="2916" y="55189"/>
                      <a:pt x="9659" y="46502"/>
                    </a:cubicBezTo>
                    <a:cubicBezTo>
                      <a:pt x="15931" y="38921"/>
                      <a:pt x="25382" y="34682"/>
                      <a:pt x="35217" y="35043"/>
                    </a:cubicBezTo>
                    <a:cubicBezTo>
                      <a:pt x="44646" y="34430"/>
                      <a:pt x="53593" y="39261"/>
                      <a:pt x="58242" y="47477"/>
                    </a:cubicBezTo>
                    <a:lnTo>
                      <a:pt x="58549" y="47477"/>
                    </a:lnTo>
                    <a:lnTo>
                      <a:pt x="58549" y="0"/>
                    </a:lnTo>
                    <a:lnTo>
                      <a:pt x="70840" y="0"/>
                    </a:lnTo>
                    <a:close/>
                    <a:moveTo>
                      <a:pt x="58494" y="78850"/>
                    </a:moveTo>
                    <a:lnTo>
                      <a:pt x="58494" y="67545"/>
                    </a:lnTo>
                    <a:cubicBezTo>
                      <a:pt x="58626" y="61696"/>
                      <a:pt x="56411" y="56032"/>
                      <a:pt x="52343" y="51826"/>
                    </a:cubicBezTo>
                    <a:cubicBezTo>
                      <a:pt x="48308" y="47553"/>
                      <a:pt x="42629" y="45209"/>
                      <a:pt x="36752" y="45384"/>
                    </a:cubicBezTo>
                    <a:cubicBezTo>
                      <a:pt x="29866" y="45100"/>
                      <a:pt x="23277" y="48167"/>
                      <a:pt x="19066" y="53622"/>
                    </a:cubicBezTo>
                    <a:cubicBezTo>
                      <a:pt x="14417" y="60271"/>
                      <a:pt x="12148" y="68290"/>
                      <a:pt x="12619" y="76386"/>
                    </a:cubicBezTo>
                    <a:cubicBezTo>
                      <a:pt x="12203" y="83867"/>
                      <a:pt x="14395" y="91262"/>
                      <a:pt x="18814" y="97319"/>
                    </a:cubicBezTo>
                    <a:cubicBezTo>
                      <a:pt x="22805" y="102369"/>
                      <a:pt x="28967" y="105218"/>
                      <a:pt x="35403" y="104988"/>
                    </a:cubicBezTo>
                    <a:cubicBezTo>
                      <a:pt x="41806" y="105196"/>
                      <a:pt x="47957" y="102457"/>
                      <a:pt x="52091" y="97571"/>
                    </a:cubicBezTo>
                    <a:cubicBezTo>
                      <a:pt x="56466" y="92335"/>
                      <a:pt x="58747" y="85664"/>
                      <a:pt x="58494" y="7885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9" name="Freeform: Shape 228">
                <a:extLst>
                  <a:ext uri="{FF2B5EF4-FFF2-40B4-BE49-F238E27FC236}">
                    <a16:creationId xmlns:a16="http://schemas.microsoft.com/office/drawing/2014/main" id="{3241CF16-9AE7-A3CD-16D8-46441773D398}"/>
                  </a:ext>
                </a:extLst>
              </p:cNvPr>
              <p:cNvSpPr/>
              <p:nvPr/>
            </p:nvSpPr>
            <p:spPr>
              <a:xfrm>
                <a:off x="4205535" y="3228624"/>
                <a:ext cx="16047" cy="112054"/>
              </a:xfrm>
              <a:custGeom>
                <a:avLst/>
                <a:gdLst>
                  <a:gd name="connsiteX0" fmla="*/ 7953 w 16047"/>
                  <a:gd name="connsiteY0" fmla="*/ 15897 h 112054"/>
                  <a:gd name="connsiteX1" fmla="*/ 2328 w 16047"/>
                  <a:gd name="connsiteY1" fmla="*/ 13706 h 112054"/>
                  <a:gd name="connsiteX2" fmla="*/ 4 w 16047"/>
                  <a:gd name="connsiteY2" fmla="*/ 8020 h 112054"/>
                  <a:gd name="connsiteX3" fmla="*/ 7744 w 16047"/>
                  <a:gd name="connsiteY3" fmla="*/ 2 h 112054"/>
                  <a:gd name="connsiteX4" fmla="*/ 7953 w 16047"/>
                  <a:gd name="connsiteY4" fmla="*/ 2 h 112054"/>
                  <a:gd name="connsiteX5" fmla="*/ 13687 w 16047"/>
                  <a:gd name="connsiteY5" fmla="*/ 2291 h 112054"/>
                  <a:gd name="connsiteX6" fmla="*/ 13720 w 16047"/>
                  <a:gd name="connsiteY6" fmla="*/ 13596 h 112054"/>
                  <a:gd name="connsiteX7" fmla="*/ 13687 w 16047"/>
                  <a:gd name="connsiteY7" fmla="*/ 13629 h 112054"/>
                  <a:gd name="connsiteX8" fmla="*/ 7953 w 16047"/>
                  <a:gd name="connsiteY8" fmla="*/ 15897 h 112054"/>
                  <a:gd name="connsiteX9" fmla="*/ 13939 w 16047"/>
                  <a:gd name="connsiteY9" fmla="*/ 112055 h 112054"/>
                  <a:gd name="connsiteX10" fmla="*/ 1648 w 16047"/>
                  <a:gd name="connsiteY10" fmla="*/ 112055 h 112054"/>
                  <a:gd name="connsiteX11" fmla="*/ 1648 w 16047"/>
                  <a:gd name="connsiteY11" fmla="*/ 35374 h 112054"/>
                  <a:gd name="connsiteX12" fmla="*/ 13939 w 16047"/>
                  <a:gd name="connsiteY12" fmla="*/ 35374 h 11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7" h="112054">
                    <a:moveTo>
                      <a:pt x="7953" y="15897"/>
                    </a:moveTo>
                    <a:cubicBezTo>
                      <a:pt x="5859" y="15951"/>
                      <a:pt x="3830" y="15163"/>
                      <a:pt x="2328" y="13706"/>
                    </a:cubicBezTo>
                    <a:cubicBezTo>
                      <a:pt x="782" y="12227"/>
                      <a:pt x="-62" y="10156"/>
                      <a:pt x="4" y="8020"/>
                    </a:cubicBezTo>
                    <a:cubicBezTo>
                      <a:pt x="-73" y="3671"/>
                      <a:pt x="3391" y="78"/>
                      <a:pt x="7744" y="2"/>
                    </a:cubicBezTo>
                    <a:cubicBezTo>
                      <a:pt x="7810" y="2"/>
                      <a:pt x="7887" y="2"/>
                      <a:pt x="7953" y="2"/>
                    </a:cubicBezTo>
                    <a:cubicBezTo>
                      <a:pt x="10091" y="-42"/>
                      <a:pt x="12163" y="779"/>
                      <a:pt x="13687" y="2291"/>
                    </a:cubicBezTo>
                    <a:cubicBezTo>
                      <a:pt x="16823" y="5402"/>
                      <a:pt x="16834" y="10474"/>
                      <a:pt x="13720" y="13596"/>
                    </a:cubicBezTo>
                    <a:cubicBezTo>
                      <a:pt x="13709" y="13607"/>
                      <a:pt x="13698" y="13618"/>
                      <a:pt x="13687" y="13629"/>
                    </a:cubicBezTo>
                    <a:cubicBezTo>
                      <a:pt x="12163" y="15130"/>
                      <a:pt x="10091" y="15951"/>
                      <a:pt x="7953" y="15897"/>
                    </a:cubicBezTo>
                    <a:close/>
                    <a:moveTo>
                      <a:pt x="13939" y="112055"/>
                    </a:moveTo>
                    <a:lnTo>
                      <a:pt x="1648" y="112055"/>
                    </a:lnTo>
                    <a:lnTo>
                      <a:pt x="1648" y="35374"/>
                    </a:lnTo>
                    <a:lnTo>
                      <a:pt x="13939" y="35374"/>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0" name="Freeform: Shape 229">
                <a:extLst>
                  <a:ext uri="{FF2B5EF4-FFF2-40B4-BE49-F238E27FC236}">
                    <a16:creationId xmlns:a16="http://schemas.microsoft.com/office/drawing/2014/main" id="{910FA11B-F68B-A044-13A0-43E6AFB568B7}"/>
                  </a:ext>
                </a:extLst>
              </p:cNvPr>
              <p:cNvSpPr/>
              <p:nvPr/>
            </p:nvSpPr>
            <p:spPr>
              <a:xfrm>
                <a:off x="4237950" y="3227147"/>
                <a:ext cx="70829" cy="115332"/>
              </a:xfrm>
              <a:custGeom>
                <a:avLst/>
                <a:gdLst>
                  <a:gd name="connsiteX0" fmla="*/ 70818 w 70829"/>
                  <a:gd name="connsiteY0" fmla="*/ 113532 h 115332"/>
                  <a:gd name="connsiteX1" fmla="*/ 58527 w 70829"/>
                  <a:gd name="connsiteY1" fmla="*/ 113532 h 115332"/>
                  <a:gd name="connsiteX2" fmla="*/ 58527 w 70829"/>
                  <a:gd name="connsiteY2" fmla="*/ 100496 h 115332"/>
                  <a:gd name="connsiteX3" fmla="*/ 58231 w 70829"/>
                  <a:gd name="connsiteY3" fmla="*/ 100496 h 115332"/>
                  <a:gd name="connsiteX4" fmla="*/ 15657 w 70829"/>
                  <a:gd name="connsiteY4" fmla="*/ 110804 h 115332"/>
                  <a:gd name="connsiteX5" fmla="*/ 8716 w 70829"/>
                  <a:gd name="connsiteY5" fmla="*/ 105031 h 115332"/>
                  <a:gd name="connsiteX6" fmla="*/ 65 w 70829"/>
                  <a:gd name="connsiteY6" fmla="*/ 76988 h 115332"/>
                  <a:gd name="connsiteX7" fmla="*/ 9659 w 70829"/>
                  <a:gd name="connsiteY7" fmla="*/ 46502 h 115332"/>
                  <a:gd name="connsiteX8" fmla="*/ 35217 w 70829"/>
                  <a:gd name="connsiteY8" fmla="*/ 35043 h 115332"/>
                  <a:gd name="connsiteX9" fmla="*/ 58242 w 70829"/>
                  <a:gd name="connsiteY9" fmla="*/ 47477 h 115332"/>
                  <a:gd name="connsiteX10" fmla="*/ 58538 w 70829"/>
                  <a:gd name="connsiteY10" fmla="*/ 47477 h 115332"/>
                  <a:gd name="connsiteX11" fmla="*/ 58538 w 70829"/>
                  <a:gd name="connsiteY11" fmla="*/ 0 h 115332"/>
                  <a:gd name="connsiteX12" fmla="*/ 70829 w 70829"/>
                  <a:gd name="connsiteY12" fmla="*/ 0 h 115332"/>
                  <a:gd name="connsiteX13" fmla="*/ 58527 w 70829"/>
                  <a:gd name="connsiteY13" fmla="*/ 78850 h 115332"/>
                  <a:gd name="connsiteX14" fmla="*/ 58527 w 70829"/>
                  <a:gd name="connsiteY14" fmla="*/ 67545 h 115332"/>
                  <a:gd name="connsiteX15" fmla="*/ 52376 w 70829"/>
                  <a:gd name="connsiteY15" fmla="*/ 51826 h 115332"/>
                  <a:gd name="connsiteX16" fmla="*/ 36796 w 70829"/>
                  <a:gd name="connsiteY16" fmla="*/ 45384 h 115332"/>
                  <a:gd name="connsiteX17" fmla="*/ 19099 w 70829"/>
                  <a:gd name="connsiteY17" fmla="*/ 53622 h 115332"/>
                  <a:gd name="connsiteX18" fmla="*/ 12652 w 70829"/>
                  <a:gd name="connsiteY18" fmla="*/ 76386 h 115332"/>
                  <a:gd name="connsiteX19" fmla="*/ 18836 w 70829"/>
                  <a:gd name="connsiteY19" fmla="*/ 97319 h 115332"/>
                  <a:gd name="connsiteX20" fmla="*/ 35436 w 70829"/>
                  <a:gd name="connsiteY20" fmla="*/ 104988 h 115332"/>
                  <a:gd name="connsiteX21" fmla="*/ 52113 w 70829"/>
                  <a:gd name="connsiteY21" fmla="*/ 97571 h 115332"/>
                  <a:gd name="connsiteX22" fmla="*/ 58527 w 70829"/>
                  <a:gd name="connsiteY22" fmla="*/ 78850 h 11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29" h="115332">
                    <a:moveTo>
                      <a:pt x="70818" y="113532"/>
                    </a:moveTo>
                    <a:lnTo>
                      <a:pt x="58527" y="113532"/>
                    </a:lnTo>
                    <a:lnTo>
                      <a:pt x="58527" y="100496"/>
                    </a:lnTo>
                    <a:lnTo>
                      <a:pt x="58231" y="100496"/>
                    </a:lnTo>
                    <a:cubicBezTo>
                      <a:pt x="49328" y="115088"/>
                      <a:pt x="30261" y="119699"/>
                      <a:pt x="15657" y="110804"/>
                    </a:cubicBezTo>
                    <a:cubicBezTo>
                      <a:pt x="13080" y="109227"/>
                      <a:pt x="10733" y="107288"/>
                      <a:pt x="8716" y="105031"/>
                    </a:cubicBezTo>
                    <a:cubicBezTo>
                      <a:pt x="2576" y="97013"/>
                      <a:pt x="-494" y="87066"/>
                      <a:pt x="65" y="76988"/>
                    </a:cubicBezTo>
                    <a:cubicBezTo>
                      <a:pt x="-494" y="66012"/>
                      <a:pt x="2916" y="55189"/>
                      <a:pt x="9659" y="46502"/>
                    </a:cubicBezTo>
                    <a:cubicBezTo>
                      <a:pt x="15931" y="38921"/>
                      <a:pt x="25382" y="34682"/>
                      <a:pt x="35217" y="35043"/>
                    </a:cubicBezTo>
                    <a:cubicBezTo>
                      <a:pt x="44646" y="34430"/>
                      <a:pt x="53582" y="39261"/>
                      <a:pt x="58242" y="47477"/>
                    </a:cubicBezTo>
                    <a:lnTo>
                      <a:pt x="58538" y="47477"/>
                    </a:lnTo>
                    <a:lnTo>
                      <a:pt x="58538" y="0"/>
                    </a:lnTo>
                    <a:lnTo>
                      <a:pt x="70829" y="0"/>
                    </a:lnTo>
                    <a:close/>
                    <a:moveTo>
                      <a:pt x="58527" y="78850"/>
                    </a:moveTo>
                    <a:lnTo>
                      <a:pt x="58527" y="67545"/>
                    </a:lnTo>
                    <a:cubicBezTo>
                      <a:pt x="58659" y="61696"/>
                      <a:pt x="56444" y="56032"/>
                      <a:pt x="52376" y="51826"/>
                    </a:cubicBezTo>
                    <a:cubicBezTo>
                      <a:pt x="48341" y="47553"/>
                      <a:pt x="42673" y="45209"/>
                      <a:pt x="36796" y="45384"/>
                    </a:cubicBezTo>
                    <a:cubicBezTo>
                      <a:pt x="29910" y="45100"/>
                      <a:pt x="23310" y="48167"/>
                      <a:pt x="19099" y="53622"/>
                    </a:cubicBezTo>
                    <a:cubicBezTo>
                      <a:pt x="14450" y="60271"/>
                      <a:pt x="12181" y="68290"/>
                      <a:pt x="12652" y="76386"/>
                    </a:cubicBezTo>
                    <a:cubicBezTo>
                      <a:pt x="12236" y="83867"/>
                      <a:pt x="14417" y="91262"/>
                      <a:pt x="18836" y="97319"/>
                    </a:cubicBezTo>
                    <a:cubicBezTo>
                      <a:pt x="22827" y="102369"/>
                      <a:pt x="29000" y="105218"/>
                      <a:pt x="35436" y="104988"/>
                    </a:cubicBezTo>
                    <a:cubicBezTo>
                      <a:pt x="41839" y="105185"/>
                      <a:pt x="47980" y="102457"/>
                      <a:pt x="52113" y="97571"/>
                    </a:cubicBezTo>
                    <a:cubicBezTo>
                      <a:pt x="56488" y="92335"/>
                      <a:pt x="58779" y="85664"/>
                      <a:pt x="58527" y="7885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1" name="Freeform: Shape 230">
                <a:extLst>
                  <a:ext uri="{FF2B5EF4-FFF2-40B4-BE49-F238E27FC236}">
                    <a16:creationId xmlns:a16="http://schemas.microsoft.com/office/drawing/2014/main" id="{443F4234-F024-2910-0768-74D82591D175}"/>
                  </a:ext>
                </a:extLst>
              </p:cNvPr>
              <p:cNvSpPr/>
              <p:nvPr/>
            </p:nvSpPr>
            <p:spPr>
              <a:xfrm>
                <a:off x="4327510" y="3262100"/>
                <a:ext cx="67083" cy="80384"/>
              </a:xfrm>
              <a:custGeom>
                <a:avLst/>
                <a:gdLst>
                  <a:gd name="connsiteX0" fmla="*/ 67011 w 67083"/>
                  <a:gd name="connsiteY0" fmla="*/ 43306 h 80384"/>
                  <a:gd name="connsiteX1" fmla="*/ 12825 w 67083"/>
                  <a:gd name="connsiteY1" fmla="*/ 43306 h 80384"/>
                  <a:gd name="connsiteX2" fmla="*/ 19722 w 67083"/>
                  <a:gd name="connsiteY2" fmla="*/ 63024 h 80384"/>
                  <a:gd name="connsiteX3" fmla="*/ 37857 w 67083"/>
                  <a:gd name="connsiteY3" fmla="*/ 69991 h 80384"/>
                  <a:gd name="connsiteX4" fmla="*/ 61693 w 67083"/>
                  <a:gd name="connsiteY4" fmla="*/ 61457 h 80384"/>
                  <a:gd name="connsiteX5" fmla="*/ 61693 w 67083"/>
                  <a:gd name="connsiteY5" fmla="*/ 72993 h 80384"/>
                  <a:gd name="connsiteX6" fmla="*/ 34940 w 67083"/>
                  <a:gd name="connsiteY6" fmla="*/ 80332 h 80384"/>
                  <a:gd name="connsiteX7" fmla="*/ 9371 w 67083"/>
                  <a:gd name="connsiteY7" fmla="*/ 69881 h 80384"/>
                  <a:gd name="connsiteX8" fmla="*/ 85 w 67083"/>
                  <a:gd name="connsiteY8" fmla="*/ 40491 h 80384"/>
                  <a:gd name="connsiteX9" fmla="*/ 10238 w 67083"/>
                  <a:gd name="connsiteY9" fmla="*/ 11319 h 80384"/>
                  <a:gd name="connsiteX10" fmla="*/ 35456 w 67083"/>
                  <a:gd name="connsiteY10" fmla="*/ 47 h 80384"/>
                  <a:gd name="connsiteX11" fmla="*/ 58766 w 67083"/>
                  <a:gd name="connsiteY11" fmla="*/ 9785 h 80384"/>
                  <a:gd name="connsiteX12" fmla="*/ 67011 w 67083"/>
                  <a:gd name="connsiteY12" fmla="*/ 36821 h 80384"/>
                  <a:gd name="connsiteX13" fmla="*/ 54424 w 67083"/>
                  <a:gd name="connsiteY13" fmla="*/ 32899 h 80384"/>
                  <a:gd name="connsiteX14" fmla="*/ 49282 w 67083"/>
                  <a:gd name="connsiteY14" fmla="*/ 16347 h 80384"/>
                  <a:gd name="connsiteX15" fmla="*/ 35236 w 67083"/>
                  <a:gd name="connsiteY15" fmla="*/ 10432 h 80384"/>
                  <a:gd name="connsiteX16" fmla="*/ 20468 w 67083"/>
                  <a:gd name="connsiteY16" fmla="*/ 16643 h 80384"/>
                  <a:gd name="connsiteX17" fmla="*/ 12979 w 67083"/>
                  <a:gd name="connsiteY17" fmla="*/ 32899 h 8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84">
                    <a:moveTo>
                      <a:pt x="67011" y="43306"/>
                    </a:moveTo>
                    <a:lnTo>
                      <a:pt x="12825" y="43306"/>
                    </a:lnTo>
                    <a:cubicBezTo>
                      <a:pt x="12551" y="50514"/>
                      <a:pt x="15018" y="57558"/>
                      <a:pt x="19722" y="63024"/>
                    </a:cubicBezTo>
                    <a:cubicBezTo>
                      <a:pt x="24492" y="67822"/>
                      <a:pt x="31092" y="70363"/>
                      <a:pt x="37857" y="69991"/>
                    </a:cubicBezTo>
                    <a:cubicBezTo>
                      <a:pt x="46552" y="69969"/>
                      <a:pt x="54973" y="66957"/>
                      <a:pt x="61693" y="61457"/>
                    </a:cubicBezTo>
                    <a:lnTo>
                      <a:pt x="61693" y="72993"/>
                    </a:lnTo>
                    <a:cubicBezTo>
                      <a:pt x="53788" y="78218"/>
                      <a:pt x="44414" y="80792"/>
                      <a:pt x="34940" y="80332"/>
                    </a:cubicBezTo>
                    <a:cubicBezTo>
                      <a:pt x="25281" y="80836"/>
                      <a:pt x="15906" y="77002"/>
                      <a:pt x="9371" y="69881"/>
                    </a:cubicBezTo>
                    <a:cubicBezTo>
                      <a:pt x="2727" y="61578"/>
                      <a:pt x="-584" y="51105"/>
                      <a:pt x="85" y="40491"/>
                    </a:cubicBezTo>
                    <a:cubicBezTo>
                      <a:pt x="-365" y="29832"/>
                      <a:pt x="3264" y="19392"/>
                      <a:pt x="10238" y="11319"/>
                    </a:cubicBezTo>
                    <a:cubicBezTo>
                      <a:pt x="16553" y="4012"/>
                      <a:pt x="25796" y="-118"/>
                      <a:pt x="35456" y="47"/>
                    </a:cubicBezTo>
                    <a:cubicBezTo>
                      <a:pt x="44315" y="-457"/>
                      <a:pt x="52900" y="3136"/>
                      <a:pt x="58766" y="9785"/>
                    </a:cubicBezTo>
                    <a:cubicBezTo>
                      <a:pt x="64665" y="17519"/>
                      <a:pt x="67593" y="27115"/>
                      <a:pt x="67011" y="36821"/>
                    </a:cubicBezTo>
                    <a:close/>
                    <a:moveTo>
                      <a:pt x="54424" y="32899"/>
                    </a:moveTo>
                    <a:cubicBezTo>
                      <a:pt x="54742" y="26951"/>
                      <a:pt x="52922" y="21079"/>
                      <a:pt x="49282" y="16347"/>
                    </a:cubicBezTo>
                    <a:cubicBezTo>
                      <a:pt x="45751" y="12327"/>
                      <a:pt x="40576" y="10147"/>
                      <a:pt x="35236" y="10432"/>
                    </a:cubicBezTo>
                    <a:cubicBezTo>
                      <a:pt x="29656" y="10333"/>
                      <a:pt x="24294" y="12590"/>
                      <a:pt x="20468" y="16643"/>
                    </a:cubicBezTo>
                    <a:cubicBezTo>
                      <a:pt x="16268" y="21101"/>
                      <a:pt x="13648" y="26809"/>
                      <a:pt x="12979" y="3289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2" name="Freeform: Shape 231">
                <a:extLst>
                  <a:ext uri="{FF2B5EF4-FFF2-40B4-BE49-F238E27FC236}">
                    <a16:creationId xmlns:a16="http://schemas.microsoft.com/office/drawing/2014/main" id="{EDD700F6-D557-BE9B-93B0-73B5CEB8446E}"/>
                  </a:ext>
                </a:extLst>
              </p:cNvPr>
              <p:cNvSpPr/>
              <p:nvPr/>
            </p:nvSpPr>
            <p:spPr>
              <a:xfrm>
                <a:off x="4412974" y="3262190"/>
                <a:ext cx="63819" cy="78532"/>
              </a:xfrm>
              <a:custGeom>
                <a:avLst/>
                <a:gdLst>
                  <a:gd name="connsiteX0" fmla="*/ 63703 w 63819"/>
                  <a:gd name="connsiteY0" fmla="*/ 78489 h 78532"/>
                  <a:gd name="connsiteX1" fmla="*/ 51412 w 63819"/>
                  <a:gd name="connsiteY1" fmla="*/ 78489 h 78532"/>
                  <a:gd name="connsiteX2" fmla="*/ 51412 w 63819"/>
                  <a:gd name="connsiteY2" fmla="*/ 34748 h 78532"/>
                  <a:gd name="connsiteX3" fmla="*/ 33573 w 63819"/>
                  <a:gd name="connsiteY3" fmla="*/ 10341 h 78532"/>
                  <a:gd name="connsiteX4" fmla="*/ 18332 w 63819"/>
                  <a:gd name="connsiteY4" fmla="*/ 17265 h 78532"/>
                  <a:gd name="connsiteX5" fmla="*/ 12291 w 63819"/>
                  <a:gd name="connsiteY5" fmla="*/ 34792 h 78532"/>
                  <a:gd name="connsiteX6" fmla="*/ 12291 w 63819"/>
                  <a:gd name="connsiteY6" fmla="*/ 78533 h 78532"/>
                  <a:gd name="connsiteX7" fmla="*/ 0 w 63819"/>
                  <a:gd name="connsiteY7" fmla="*/ 78533 h 78532"/>
                  <a:gd name="connsiteX8" fmla="*/ 0 w 63819"/>
                  <a:gd name="connsiteY8" fmla="*/ 1852 h 78532"/>
                  <a:gd name="connsiteX9" fmla="*/ 12291 w 63819"/>
                  <a:gd name="connsiteY9" fmla="*/ 1852 h 78532"/>
                  <a:gd name="connsiteX10" fmla="*/ 12291 w 63819"/>
                  <a:gd name="connsiteY10" fmla="*/ 14581 h 78532"/>
                  <a:gd name="connsiteX11" fmla="*/ 12587 w 63819"/>
                  <a:gd name="connsiteY11" fmla="*/ 14581 h 78532"/>
                  <a:gd name="connsiteX12" fmla="*/ 37805 w 63819"/>
                  <a:gd name="connsiteY12" fmla="*/ 44 h 78532"/>
                  <a:gd name="connsiteX13" fmla="*/ 57070 w 63819"/>
                  <a:gd name="connsiteY13" fmla="*/ 8172 h 78532"/>
                  <a:gd name="connsiteX14" fmla="*/ 63736 w 63819"/>
                  <a:gd name="connsiteY14" fmla="*/ 31648 h 7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32">
                    <a:moveTo>
                      <a:pt x="63703" y="78489"/>
                    </a:moveTo>
                    <a:lnTo>
                      <a:pt x="51412" y="78489"/>
                    </a:lnTo>
                    <a:lnTo>
                      <a:pt x="51412" y="34748"/>
                    </a:lnTo>
                    <a:cubicBezTo>
                      <a:pt x="51412" y="18470"/>
                      <a:pt x="45469" y="10330"/>
                      <a:pt x="33573" y="10341"/>
                    </a:cubicBezTo>
                    <a:cubicBezTo>
                      <a:pt x="27707" y="10221"/>
                      <a:pt x="22093" y="12762"/>
                      <a:pt x="18332" y="17265"/>
                    </a:cubicBezTo>
                    <a:cubicBezTo>
                      <a:pt x="14210" y="22150"/>
                      <a:pt x="12050" y="28405"/>
                      <a:pt x="12291" y="34792"/>
                    </a:cubicBezTo>
                    <a:lnTo>
                      <a:pt x="12291" y="78533"/>
                    </a:lnTo>
                    <a:lnTo>
                      <a:pt x="0" y="78533"/>
                    </a:lnTo>
                    <a:lnTo>
                      <a:pt x="0" y="1852"/>
                    </a:lnTo>
                    <a:lnTo>
                      <a:pt x="12291" y="1852"/>
                    </a:lnTo>
                    <a:lnTo>
                      <a:pt x="12291" y="14581"/>
                    </a:lnTo>
                    <a:lnTo>
                      <a:pt x="12587" y="14581"/>
                    </a:lnTo>
                    <a:cubicBezTo>
                      <a:pt x="17565" y="5357"/>
                      <a:pt x="27323" y="-263"/>
                      <a:pt x="37805" y="44"/>
                    </a:cubicBezTo>
                    <a:cubicBezTo>
                      <a:pt x="45151" y="-405"/>
                      <a:pt x="52278" y="2596"/>
                      <a:pt x="57070" y="8172"/>
                    </a:cubicBezTo>
                    <a:cubicBezTo>
                      <a:pt x="61949" y="14986"/>
                      <a:pt x="64306" y="23289"/>
                      <a:pt x="63736" y="3164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3" name="Freeform: Shape 232">
                <a:extLst>
                  <a:ext uri="{FF2B5EF4-FFF2-40B4-BE49-F238E27FC236}">
                    <a16:creationId xmlns:a16="http://schemas.microsoft.com/office/drawing/2014/main" id="{81721288-DADC-B8D7-32E5-01C07EAE2BB3}"/>
                  </a:ext>
                </a:extLst>
              </p:cNvPr>
              <p:cNvSpPr/>
              <p:nvPr/>
            </p:nvSpPr>
            <p:spPr>
              <a:xfrm>
                <a:off x="4489232" y="3241300"/>
                <a:ext cx="44844" cy="101045"/>
              </a:xfrm>
              <a:custGeom>
                <a:avLst/>
                <a:gdLst>
                  <a:gd name="connsiteX0" fmla="*/ 44789 w 44844"/>
                  <a:gd name="connsiteY0" fmla="*/ 98623 h 101045"/>
                  <a:gd name="connsiteX1" fmla="*/ 33321 w 44844"/>
                  <a:gd name="connsiteY1" fmla="*/ 101022 h 101045"/>
                  <a:gd name="connsiteX2" fmla="*/ 13157 w 44844"/>
                  <a:gd name="connsiteY2" fmla="*/ 78554 h 101045"/>
                  <a:gd name="connsiteX3" fmla="*/ 13157 w 44844"/>
                  <a:gd name="connsiteY3" fmla="*/ 33181 h 101045"/>
                  <a:gd name="connsiteX4" fmla="*/ 0 w 44844"/>
                  <a:gd name="connsiteY4" fmla="*/ 33181 h 101045"/>
                  <a:gd name="connsiteX5" fmla="*/ 0 w 44844"/>
                  <a:gd name="connsiteY5" fmla="*/ 22698 h 101045"/>
                  <a:gd name="connsiteX6" fmla="*/ 13157 w 44844"/>
                  <a:gd name="connsiteY6" fmla="*/ 22698 h 101045"/>
                  <a:gd name="connsiteX7" fmla="*/ 13157 w 44844"/>
                  <a:gd name="connsiteY7" fmla="*/ 3976 h 101045"/>
                  <a:gd name="connsiteX8" fmla="*/ 25448 w 44844"/>
                  <a:gd name="connsiteY8" fmla="*/ 0 h 101045"/>
                  <a:gd name="connsiteX9" fmla="*/ 25448 w 44844"/>
                  <a:gd name="connsiteY9" fmla="*/ 22698 h 101045"/>
                  <a:gd name="connsiteX10" fmla="*/ 44789 w 44844"/>
                  <a:gd name="connsiteY10" fmla="*/ 22698 h 101045"/>
                  <a:gd name="connsiteX11" fmla="*/ 44789 w 44844"/>
                  <a:gd name="connsiteY11" fmla="*/ 33181 h 101045"/>
                  <a:gd name="connsiteX12" fmla="*/ 25503 w 44844"/>
                  <a:gd name="connsiteY12" fmla="*/ 33181 h 101045"/>
                  <a:gd name="connsiteX13" fmla="*/ 25503 w 44844"/>
                  <a:gd name="connsiteY13" fmla="*/ 76386 h 101045"/>
                  <a:gd name="connsiteX14" fmla="*/ 28135 w 44844"/>
                  <a:gd name="connsiteY14" fmla="*/ 87340 h 101045"/>
                  <a:gd name="connsiteX15" fmla="*/ 36829 w 44844"/>
                  <a:gd name="connsiteY15" fmla="*/ 90626 h 101045"/>
                  <a:gd name="connsiteX16" fmla="*/ 44844 w 44844"/>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44" h="101045">
                    <a:moveTo>
                      <a:pt x="44789" y="98623"/>
                    </a:moveTo>
                    <a:cubicBezTo>
                      <a:pt x="41226" y="100365"/>
                      <a:pt x="37279" y="101197"/>
                      <a:pt x="33321" y="101022"/>
                    </a:cubicBezTo>
                    <a:cubicBezTo>
                      <a:pt x="19878" y="101022"/>
                      <a:pt x="13157" y="93529"/>
                      <a:pt x="13157" y="78554"/>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503" y="33181"/>
                    </a:lnTo>
                    <a:lnTo>
                      <a:pt x="25503" y="76386"/>
                    </a:lnTo>
                    <a:cubicBezTo>
                      <a:pt x="25174" y="80231"/>
                      <a:pt x="26095" y="84065"/>
                      <a:pt x="28135" y="87340"/>
                    </a:cubicBezTo>
                    <a:cubicBezTo>
                      <a:pt x="30360" y="89728"/>
                      <a:pt x="33573" y="90944"/>
                      <a:pt x="36829" y="90626"/>
                    </a:cubicBezTo>
                    <a:cubicBezTo>
                      <a:pt x="39713" y="90692"/>
                      <a:pt x="42531" y="89794"/>
                      <a:pt x="44844" y="880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4" name="Freeform: Shape 233">
                <a:extLst>
                  <a:ext uri="{FF2B5EF4-FFF2-40B4-BE49-F238E27FC236}">
                    <a16:creationId xmlns:a16="http://schemas.microsoft.com/office/drawing/2014/main" id="{C3658AB2-4DA2-A7B4-F0AC-15FF0318DFAA}"/>
                  </a:ext>
                </a:extLst>
              </p:cNvPr>
              <p:cNvSpPr/>
              <p:nvPr/>
            </p:nvSpPr>
            <p:spPr>
              <a:xfrm>
                <a:off x="4547504" y="3228624"/>
                <a:ext cx="16047" cy="112054"/>
              </a:xfrm>
              <a:custGeom>
                <a:avLst/>
                <a:gdLst>
                  <a:gd name="connsiteX0" fmla="*/ 7953 w 16047"/>
                  <a:gd name="connsiteY0" fmla="*/ 15897 h 112054"/>
                  <a:gd name="connsiteX1" fmla="*/ 2328 w 16047"/>
                  <a:gd name="connsiteY1" fmla="*/ 13706 h 112054"/>
                  <a:gd name="connsiteX2" fmla="*/ 4 w 16047"/>
                  <a:gd name="connsiteY2" fmla="*/ 8020 h 112054"/>
                  <a:gd name="connsiteX3" fmla="*/ 7744 w 16047"/>
                  <a:gd name="connsiteY3" fmla="*/ 2 h 112054"/>
                  <a:gd name="connsiteX4" fmla="*/ 7953 w 16047"/>
                  <a:gd name="connsiteY4" fmla="*/ 2 h 112054"/>
                  <a:gd name="connsiteX5" fmla="*/ 13687 w 16047"/>
                  <a:gd name="connsiteY5" fmla="*/ 2291 h 112054"/>
                  <a:gd name="connsiteX6" fmla="*/ 13720 w 16047"/>
                  <a:gd name="connsiteY6" fmla="*/ 13596 h 112054"/>
                  <a:gd name="connsiteX7" fmla="*/ 13687 w 16047"/>
                  <a:gd name="connsiteY7" fmla="*/ 13629 h 112054"/>
                  <a:gd name="connsiteX8" fmla="*/ 7953 w 16047"/>
                  <a:gd name="connsiteY8" fmla="*/ 15897 h 112054"/>
                  <a:gd name="connsiteX9" fmla="*/ 13950 w 16047"/>
                  <a:gd name="connsiteY9" fmla="*/ 112055 h 112054"/>
                  <a:gd name="connsiteX10" fmla="*/ 1659 w 16047"/>
                  <a:gd name="connsiteY10" fmla="*/ 112055 h 112054"/>
                  <a:gd name="connsiteX11" fmla="*/ 1659 w 16047"/>
                  <a:gd name="connsiteY11" fmla="*/ 35374 h 112054"/>
                  <a:gd name="connsiteX12" fmla="*/ 13950 w 16047"/>
                  <a:gd name="connsiteY12" fmla="*/ 35374 h 11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7" h="112054">
                    <a:moveTo>
                      <a:pt x="7953" y="15897"/>
                    </a:moveTo>
                    <a:cubicBezTo>
                      <a:pt x="5859" y="15951"/>
                      <a:pt x="3830" y="15163"/>
                      <a:pt x="2328" y="13706"/>
                    </a:cubicBezTo>
                    <a:cubicBezTo>
                      <a:pt x="782" y="12227"/>
                      <a:pt x="-62" y="10156"/>
                      <a:pt x="4" y="8020"/>
                    </a:cubicBezTo>
                    <a:cubicBezTo>
                      <a:pt x="-73" y="3671"/>
                      <a:pt x="3391" y="78"/>
                      <a:pt x="7744" y="2"/>
                    </a:cubicBezTo>
                    <a:cubicBezTo>
                      <a:pt x="7810" y="2"/>
                      <a:pt x="7887" y="2"/>
                      <a:pt x="7953" y="2"/>
                    </a:cubicBezTo>
                    <a:cubicBezTo>
                      <a:pt x="10091" y="-42"/>
                      <a:pt x="12163" y="779"/>
                      <a:pt x="13687" y="2291"/>
                    </a:cubicBezTo>
                    <a:cubicBezTo>
                      <a:pt x="16823" y="5402"/>
                      <a:pt x="16834" y="10474"/>
                      <a:pt x="13720" y="13596"/>
                    </a:cubicBezTo>
                    <a:cubicBezTo>
                      <a:pt x="13709" y="13607"/>
                      <a:pt x="13698" y="13618"/>
                      <a:pt x="13687" y="13629"/>
                    </a:cubicBezTo>
                    <a:cubicBezTo>
                      <a:pt x="12163" y="15130"/>
                      <a:pt x="10091" y="15951"/>
                      <a:pt x="7953" y="15897"/>
                    </a:cubicBezTo>
                    <a:close/>
                    <a:moveTo>
                      <a:pt x="13950" y="112055"/>
                    </a:moveTo>
                    <a:lnTo>
                      <a:pt x="1659" y="112055"/>
                    </a:lnTo>
                    <a:lnTo>
                      <a:pt x="1659" y="35374"/>
                    </a:lnTo>
                    <a:lnTo>
                      <a:pt x="13950" y="35374"/>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5" name="Freeform: Shape 234">
                <a:extLst>
                  <a:ext uri="{FF2B5EF4-FFF2-40B4-BE49-F238E27FC236}">
                    <a16:creationId xmlns:a16="http://schemas.microsoft.com/office/drawing/2014/main" id="{702BD9EA-3581-500C-E364-DC9807BCBF9A}"/>
                  </a:ext>
                </a:extLst>
              </p:cNvPr>
              <p:cNvSpPr/>
              <p:nvPr/>
            </p:nvSpPr>
            <p:spPr>
              <a:xfrm>
                <a:off x="4576388" y="3241300"/>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59 w 44789"/>
                  <a:gd name="connsiteY8" fmla="*/ 0 h 101045"/>
                  <a:gd name="connsiteX9" fmla="*/ 25459 w 44789"/>
                  <a:gd name="connsiteY9" fmla="*/ 22698 h 101045"/>
                  <a:gd name="connsiteX10" fmla="*/ 44789 w 44789"/>
                  <a:gd name="connsiteY10" fmla="*/ 22698 h 101045"/>
                  <a:gd name="connsiteX11" fmla="*/ 44789 w 44789"/>
                  <a:gd name="connsiteY11" fmla="*/ 33181 h 101045"/>
                  <a:gd name="connsiteX12" fmla="*/ 25459 w 44789"/>
                  <a:gd name="connsiteY12" fmla="*/ 33181 h 101045"/>
                  <a:gd name="connsiteX13" fmla="*/ 25459 w 44789"/>
                  <a:gd name="connsiteY13" fmla="*/ 76386 h 101045"/>
                  <a:gd name="connsiteX14" fmla="*/ 28080 w 44789"/>
                  <a:gd name="connsiteY14" fmla="*/ 87340 h 101045"/>
                  <a:gd name="connsiteX15" fmla="*/ 36775 w 44789"/>
                  <a:gd name="connsiteY15" fmla="*/ 90626 h 101045"/>
                  <a:gd name="connsiteX16" fmla="*/ 44789 w 44789"/>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76"/>
                      <a:pt x="37290" y="101197"/>
                      <a:pt x="33321" y="101022"/>
                    </a:cubicBezTo>
                    <a:cubicBezTo>
                      <a:pt x="19889" y="101022"/>
                      <a:pt x="13168" y="93529"/>
                      <a:pt x="13157" y="78554"/>
                    </a:cubicBezTo>
                    <a:lnTo>
                      <a:pt x="13157" y="33181"/>
                    </a:lnTo>
                    <a:lnTo>
                      <a:pt x="0" y="33181"/>
                    </a:lnTo>
                    <a:lnTo>
                      <a:pt x="0" y="22698"/>
                    </a:lnTo>
                    <a:lnTo>
                      <a:pt x="13157" y="22698"/>
                    </a:lnTo>
                    <a:lnTo>
                      <a:pt x="13157" y="3976"/>
                    </a:lnTo>
                    <a:lnTo>
                      <a:pt x="25459" y="0"/>
                    </a:lnTo>
                    <a:lnTo>
                      <a:pt x="25459" y="22698"/>
                    </a:lnTo>
                    <a:lnTo>
                      <a:pt x="44789" y="22698"/>
                    </a:lnTo>
                    <a:lnTo>
                      <a:pt x="44789" y="33181"/>
                    </a:lnTo>
                    <a:lnTo>
                      <a:pt x="25459" y="33181"/>
                    </a:lnTo>
                    <a:lnTo>
                      <a:pt x="25459" y="76386"/>
                    </a:lnTo>
                    <a:cubicBezTo>
                      <a:pt x="25130" y="80220"/>
                      <a:pt x="26051" y="84065"/>
                      <a:pt x="28080" y="87340"/>
                    </a:cubicBezTo>
                    <a:cubicBezTo>
                      <a:pt x="30305" y="89728"/>
                      <a:pt x="33518" y="90944"/>
                      <a:pt x="36775" y="90626"/>
                    </a:cubicBezTo>
                    <a:cubicBezTo>
                      <a:pt x="39658" y="90692"/>
                      <a:pt x="42476" y="89794"/>
                      <a:pt x="44789" y="880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6" name="Freeform: Shape 235">
                <a:extLst>
                  <a:ext uri="{FF2B5EF4-FFF2-40B4-BE49-F238E27FC236}">
                    <a16:creationId xmlns:a16="http://schemas.microsoft.com/office/drawing/2014/main" id="{143949CF-FDD1-50E1-B8E5-9E6847ED6C5A}"/>
                  </a:ext>
                </a:extLst>
              </p:cNvPr>
              <p:cNvSpPr/>
              <p:nvPr/>
            </p:nvSpPr>
            <p:spPr>
              <a:xfrm>
                <a:off x="4634682" y="3228624"/>
                <a:ext cx="16043" cy="112054"/>
              </a:xfrm>
              <a:custGeom>
                <a:avLst/>
                <a:gdLst>
                  <a:gd name="connsiteX0" fmla="*/ 7942 w 16043"/>
                  <a:gd name="connsiteY0" fmla="*/ 15897 h 112054"/>
                  <a:gd name="connsiteX1" fmla="*/ 2328 w 16043"/>
                  <a:gd name="connsiteY1" fmla="*/ 13706 h 112054"/>
                  <a:gd name="connsiteX2" fmla="*/ 4 w 16043"/>
                  <a:gd name="connsiteY2" fmla="*/ 8020 h 112054"/>
                  <a:gd name="connsiteX3" fmla="*/ 7744 w 16043"/>
                  <a:gd name="connsiteY3" fmla="*/ 2 h 112054"/>
                  <a:gd name="connsiteX4" fmla="*/ 7942 w 16043"/>
                  <a:gd name="connsiteY4" fmla="*/ 2 h 112054"/>
                  <a:gd name="connsiteX5" fmla="*/ 13676 w 16043"/>
                  <a:gd name="connsiteY5" fmla="*/ 2291 h 112054"/>
                  <a:gd name="connsiteX6" fmla="*/ 13731 w 16043"/>
                  <a:gd name="connsiteY6" fmla="*/ 13574 h 112054"/>
                  <a:gd name="connsiteX7" fmla="*/ 13676 w 16043"/>
                  <a:gd name="connsiteY7" fmla="*/ 13629 h 112054"/>
                  <a:gd name="connsiteX8" fmla="*/ 7942 w 16043"/>
                  <a:gd name="connsiteY8" fmla="*/ 15897 h 112054"/>
                  <a:gd name="connsiteX9" fmla="*/ 13939 w 16043"/>
                  <a:gd name="connsiteY9" fmla="*/ 112055 h 112054"/>
                  <a:gd name="connsiteX10" fmla="*/ 1648 w 16043"/>
                  <a:gd name="connsiteY10" fmla="*/ 112055 h 112054"/>
                  <a:gd name="connsiteX11" fmla="*/ 1648 w 16043"/>
                  <a:gd name="connsiteY11" fmla="*/ 35374 h 112054"/>
                  <a:gd name="connsiteX12" fmla="*/ 13939 w 16043"/>
                  <a:gd name="connsiteY12" fmla="*/ 35374 h 11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3" h="112054">
                    <a:moveTo>
                      <a:pt x="7942" y="15897"/>
                    </a:moveTo>
                    <a:cubicBezTo>
                      <a:pt x="5847" y="15962"/>
                      <a:pt x="3819" y="15174"/>
                      <a:pt x="2328" y="13706"/>
                    </a:cubicBezTo>
                    <a:cubicBezTo>
                      <a:pt x="782" y="12227"/>
                      <a:pt x="-62" y="10156"/>
                      <a:pt x="4" y="8020"/>
                    </a:cubicBezTo>
                    <a:cubicBezTo>
                      <a:pt x="-73" y="3671"/>
                      <a:pt x="3391" y="78"/>
                      <a:pt x="7744" y="2"/>
                    </a:cubicBezTo>
                    <a:cubicBezTo>
                      <a:pt x="7810" y="2"/>
                      <a:pt x="7876" y="2"/>
                      <a:pt x="7942" y="2"/>
                    </a:cubicBezTo>
                    <a:cubicBezTo>
                      <a:pt x="10080" y="-42"/>
                      <a:pt x="12152" y="779"/>
                      <a:pt x="13676" y="2291"/>
                    </a:cubicBezTo>
                    <a:cubicBezTo>
                      <a:pt x="16812" y="5391"/>
                      <a:pt x="16834" y="10441"/>
                      <a:pt x="13731" y="13574"/>
                    </a:cubicBezTo>
                    <a:cubicBezTo>
                      <a:pt x="13720" y="13585"/>
                      <a:pt x="13698" y="13607"/>
                      <a:pt x="13676" y="13629"/>
                    </a:cubicBezTo>
                    <a:cubicBezTo>
                      <a:pt x="12152" y="15130"/>
                      <a:pt x="10080" y="15951"/>
                      <a:pt x="7942" y="15897"/>
                    </a:cubicBezTo>
                    <a:close/>
                    <a:moveTo>
                      <a:pt x="13939" y="112055"/>
                    </a:moveTo>
                    <a:lnTo>
                      <a:pt x="1648" y="112055"/>
                    </a:lnTo>
                    <a:lnTo>
                      <a:pt x="1648" y="35374"/>
                    </a:lnTo>
                    <a:lnTo>
                      <a:pt x="13939" y="35374"/>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7" name="Freeform: Shape 236">
                <a:extLst>
                  <a:ext uri="{FF2B5EF4-FFF2-40B4-BE49-F238E27FC236}">
                    <a16:creationId xmlns:a16="http://schemas.microsoft.com/office/drawing/2014/main" id="{941A5567-161E-1938-C6EA-57F86DC3BFCD}"/>
                  </a:ext>
                </a:extLst>
              </p:cNvPr>
              <p:cNvSpPr/>
              <p:nvPr/>
            </p:nvSpPr>
            <p:spPr>
              <a:xfrm>
                <a:off x="4667068" y="3262100"/>
                <a:ext cx="67084" cy="80384"/>
              </a:xfrm>
              <a:custGeom>
                <a:avLst/>
                <a:gdLst>
                  <a:gd name="connsiteX0" fmla="*/ 67009 w 67084"/>
                  <a:gd name="connsiteY0" fmla="*/ 43306 h 80384"/>
                  <a:gd name="connsiteX1" fmla="*/ 12823 w 67084"/>
                  <a:gd name="connsiteY1" fmla="*/ 43306 h 80384"/>
                  <a:gd name="connsiteX2" fmla="*/ 19720 w 67084"/>
                  <a:gd name="connsiteY2" fmla="*/ 63024 h 80384"/>
                  <a:gd name="connsiteX3" fmla="*/ 37855 w 67084"/>
                  <a:gd name="connsiteY3" fmla="*/ 69991 h 80384"/>
                  <a:gd name="connsiteX4" fmla="*/ 61691 w 67084"/>
                  <a:gd name="connsiteY4" fmla="*/ 61457 h 80384"/>
                  <a:gd name="connsiteX5" fmla="*/ 61691 w 67084"/>
                  <a:gd name="connsiteY5" fmla="*/ 72993 h 80384"/>
                  <a:gd name="connsiteX6" fmla="*/ 34927 w 67084"/>
                  <a:gd name="connsiteY6" fmla="*/ 80332 h 80384"/>
                  <a:gd name="connsiteX7" fmla="*/ 9369 w 67084"/>
                  <a:gd name="connsiteY7" fmla="*/ 69881 h 80384"/>
                  <a:gd name="connsiteX8" fmla="*/ 82 w 67084"/>
                  <a:gd name="connsiteY8" fmla="*/ 40491 h 80384"/>
                  <a:gd name="connsiteX9" fmla="*/ 10235 w 67084"/>
                  <a:gd name="connsiteY9" fmla="*/ 11319 h 80384"/>
                  <a:gd name="connsiteX10" fmla="*/ 35454 w 67084"/>
                  <a:gd name="connsiteY10" fmla="*/ 47 h 80384"/>
                  <a:gd name="connsiteX11" fmla="*/ 58764 w 67084"/>
                  <a:gd name="connsiteY11" fmla="*/ 9785 h 80384"/>
                  <a:gd name="connsiteX12" fmla="*/ 67009 w 67084"/>
                  <a:gd name="connsiteY12" fmla="*/ 36821 h 80384"/>
                  <a:gd name="connsiteX13" fmla="*/ 54422 w 67084"/>
                  <a:gd name="connsiteY13" fmla="*/ 32899 h 80384"/>
                  <a:gd name="connsiteX14" fmla="*/ 49291 w 67084"/>
                  <a:gd name="connsiteY14" fmla="*/ 16347 h 80384"/>
                  <a:gd name="connsiteX15" fmla="*/ 35234 w 67084"/>
                  <a:gd name="connsiteY15" fmla="*/ 10432 h 80384"/>
                  <a:gd name="connsiteX16" fmla="*/ 20465 w 67084"/>
                  <a:gd name="connsiteY16" fmla="*/ 16643 h 80384"/>
                  <a:gd name="connsiteX17" fmla="*/ 12966 w 67084"/>
                  <a:gd name="connsiteY17" fmla="*/ 32899 h 8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4" h="80384">
                    <a:moveTo>
                      <a:pt x="67009" y="43306"/>
                    </a:moveTo>
                    <a:lnTo>
                      <a:pt x="12823" y="43306"/>
                    </a:lnTo>
                    <a:cubicBezTo>
                      <a:pt x="12560" y="50514"/>
                      <a:pt x="15016" y="57558"/>
                      <a:pt x="19720" y="63024"/>
                    </a:cubicBezTo>
                    <a:cubicBezTo>
                      <a:pt x="24500" y="67822"/>
                      <a:pt x="31090" y="70353"/>
                      <a:pt x="37855" y="69991"/>
                    </a:cubicBezTo>
                    <a:cubicBezTo>
                      <a:pt x="46550" y="69980"/>
                      <a:pt x="54970" y="66957"/>
                      <a:pt x="61691" y="61457"/>
                    </a:cubicBezTo>
                    <a:lnTo>
                      <a:pt x="61691" y="72993"/>
                    </a:lnTo>
                    <a:cubicBezTo>
                      <a:pt x="53775" y="78218"/>
                      <a:pt x="44400" y="80792"/>
                      <a:pt x="34927" y="80332"/>
                    </a:cubicBezTo>
                    <a:cubicBezTo>
                      <a:pt x="25279" y="80825"/>
                      <a:pt x="15904" y="76991"/>
                      <a:pt x="9369" y="69881"/>
                    </a:cubicBezTo>
                    <a:cubicBezTo>
                      <a:pt x="2725" y="61578"/>
                      <a:pt x="-575" y="51095"/>
                      <a:pt x="82" y="40491"/>
                    </a:cubicBezTo>
                    <a:cubicBezTo>
                      <a:pt x="-367" y="29832"/>
                      <a:pt x="3262" y="19392"/>
                      <a:pt x="10235" y="11319"/>
                    </a:cubicBezTo>
                    <a:cubicBezTo>
                      <a:pt x="16551" y="4012"/>
                      <a:pt x="25794" y="-118"/>
                      <a:pt x="35454" y="47"/>
                    </a:cubicBezTo>
                    <a:cubicBezTo>
                      <a:pt x="44313" y="-457"/>
                      <a:pt x="52909" y="3136"/>
                      <a:pt x="58764" y="9785"/>
                    </a:cubicBezTo>
                    <a:cubicBezTo>
                      <a:pt x="64673" y="17519"/>
                      <a:pt x="67601" y="27115"/>
                      <a:pt x="67009" y="36821"/>
                    </a:cubicBezTo>
                    <a:close/>
                    <a:moveTo>
                      <a:pt x="54422" y="32899"/>
                    </a:moveTo>
                    <a:cubicBezTo>
                      <a:pt x="54740" y="26951"/>
                      <a:pt x="52920" y="21079"/>
                      <a:pt x="49291" y="16347"/>
                    </a:cubicBezTo>
                    <a:cubicBezTo>
                      <a:pt x="45749" y="12338"/>
                      <a:pt x="40574" y="10158"/>
                      <a:pt x="35234" y="10432"/>
                    </a:cubicBezTo>
                    <a:cubicBezTo>
                      <a:pt x="29653" y="10333"/>
                      <a:pt x="24292" y="12590"/>
                      <a:pt x="20465" y="16643"/>
                    </a:cubicBezTo>
                    <a:cubicBezTo>
                      <a:pt x="16266" y="21112"/>
                      <a:pt x="13634" y="26809"/>
                      <a:pt x="12966" y="3289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8" name="Freeform: Shape 237">
                <a:extLst>
                  <a:ext uri="{FF2B5EF4-FFF2-40B4-BE49-F238E27FC236}">
                    <a16:creationId xmlns:a16="http://schemas.microsoft.com/office/drawing/2014/main" id="{676372D6-C208-DB98-24FA-45C3589B3F40}"/>
                  </a:ext>
                </a:extLst>
              </p:cNvPr>
              <p:cNvSpPr/>
              <p:nvPr/>
            </p:nvSpPr>
            <p:spPr>
              <a:xfrm>
                <a:off x="4747695" y="3262272"/>
                <a:ext cx="50946" cy="80185"/>
              </a:xfrm>
              <a:custGeom>
                <a:avLst/>
                <a:gdLst>
                  <a:gd name="connsiteX0" fmla="*/ 0 w 50946"/>
                  <a:gd name="connsiteY0" fmla="*/ 75635 h 80185"/>
                  <a:gd name="connsiteX1" fmla="*/ 0 w 50946"/>
                  <a:gd name="connsiteY1" fmla="*/ 62490 h 80185"/>
                  <a:gd name="connsiteX2" fmla="*/ 22115 w 50946"/>
                  <a:gd name="connsiteY2" fmla="*/ 69906 h 80185"/>
                  <a:gd name="connsiteX3" fmla="*/ 38299 w 50946"/>
                  <a:gd name="connsiteY3" fmla="*/ 59127 h 80185"/>
                  <a:gd name="connsiteX4" fmla="*/ 36917 w 50946"/>
                  <a:gd name="connsiteY4" fmla="*/ 53924 h 80185"/>
                  <a:gd name="connsiteX5" fmla="*/ 33178 w 50946"/>
                  <a:gd name="connsiteY5" fmla="*/ 50144 h 80185"/>
                  <a:gd name="connsiteX6" fmla="*/ 27630 w 50946"/>
                  <a:gd name="connsiteY6" fmla="*/ 47187 h 80185"/>
                  <a:gd name="connsiteX7" fmla="*/ 20766 w 50946"/>
                  <a:gd name="connsiteY7" fmla="*/ 44448 h 80185"/>
                  <a:gd name="connsiteX8" fmla="*/ 11809 w 50946"/>
                  <a:gd name="connsiteY8" fmla="*/ 40362 h 80185"/>
                  <a:gd name="connsiteX9" fmla="*/ 5372 w 50946"/>
                  <a:gd name="connsiteY9" fmla="*/ 35728 h 80185"/>
                  <a:gd name="connsiteX10" fmla="*/ 1469 w 50946"/>
                  <a:gd name="connsiteY10" fmla="*/ 29846 h 80185"/>
                  <a:gd name="connsiteX11" fmla="*/ 154 w 50946"/>
                  <a:gd name="connsiteY11" fmla="*/ 22178 h 80185"/>
                  <a:gd name="connsiteX12" fmla="*/ 2631 w 50946"/>
                  <a:gd name="connsiteY12" fmla="*/ 12625 h 80185"/>
                  <a:gd name="connsiteX13" fmla="*/ 9210 w 50946"/>
                  <a:gd name="connsiteY13" fmla="*/ 5669 h 80185"/>
                  <a:gd name="connsiteX14" fmla="*/ 18618 w 50946"/>
                  <a:gd name="connsiteY14" fmla="*/ 1430 h 80185"/>
                  <a:gd name="connsiteX15" fmla="*/ 29582 w 50946"/>
                  <a:gd name="connsiteY15" fmla="*/ 6 h 80185"/>
                  <a:gd name="connsiteX16" fmla="*/ 47421 w 50946"/>
                  <a:gd name="connsiteY16" fmla="*/ 3456 h 80185"/>
                  <a:gd name="connsiteX17" fmla="*/ 47421 w 50946"/>
                  <a:gd name="connsiteY17" fmla="*/ 15813 h 80185"/>
                  <a:gd name="connsiteX18" fmla="*/ 27926 w 50946"/>
                  <a:gd name="connsiteY18" fmla="*/ 10270 h 80185"/>
                  <a:gd name="connsiteX19" fmla="*/ 21710 w 50946"/>
                  <a:gd name="connsiteY19" fmla="*/ 11059 h 80185"/>
                  <a:gd name="connsiteX20" fmla="*/ 16951 w 50946"/>
                  <a:gd name="connsiteY20" fmla="*/ 13250 h 80185"/>
                  <a:gd name="connsiteX21" fmla="*/ 13881 w 50946"/>
                  <a:gd name="connsiteY21" fmla="*/ 16657 h 80185"/>
                  <a:gd name="connsiteX22" fmla="*/ 12784 w 50946"/>
                  <a:gd name="connsiteY22" fmla="*/ 21038 h 80185"/>
                  <a:gd name="connsiteX23" fmla="*/ 13881 w 50946"/>
                  <a:gd name="connsiteY23" fmla="*/ 26055 h 80185"/>
                  <a:gd name="connsiteX24" fmla="*/ 17061 w 50946"/>
                  <a:gd name="connsiteY24" fmla="*/ 29648 h 80185"/>
                  <a:gd name="connsiteX25" fmla="*/ 22159 w 50946"/>
                  <a:gd name="connsiteY25" fmla="*/ 32497 h 80185"/>
                  <a:gd name="connsiteX26" fmla="*/ 28979 w 50946"/>
                  <a:gd name="connsiteY26" fmla="*/ 35268 h 80185"/>
                  <a:gd name="connsiteX27" fmla="*/ 38123 w 50946"/>
                  <a:gd name="connsiteY27" fmla="*/ 39278 h 80185"/>
                  <a:gd name="connsiteX28" fmla="*/ 45020 w 50946"/>
                  <a:gd name="connsiteY28" fmla="*/ 43922 h 80185"/>
                  <a:gd name="connsiteX29" fmla="*/ 49406 w 50946"/>
                  <a:gd name="connsiteY29" fmla="*/ 49870 h 80185"/>
                  <a:gd name="connsiteX30" fmla="*/ 50941 w 50946"/>
                  <a:gd name="connsiteY30" fmla="*/ 57878 h 80185"/>
                  <a:gd name="connsiteX31" fmla="*/ 48430 w 50946"/>
                  <a:gd name="connsiteY31" fmla="*/ 67737 h 80185"/>
                  <a:gd name="connsiteX32" fmla="*/ 41719 w 50946"/>
                  <a:gd name="connsiteY32" fmla="*/ 74704 h 80185"/>
                  <a:gd name="connsiteX33" fmla="*/ 32049 w 50946"/>
                  <a:gd name="connsiteY33" fmla="*/ 78823 h 80185"/>
                  <a:gd name="connsiteX34" fmla="*/ 20580 w 50946"/>
                  <a:gd name="connsiteY34" fmla="*/ 80170 h 80185"/>
                  <a:gd name="connsiteX35" fmla="*/ 0 w 50946"/>
                  <a:gd name="connsiteY35" fmla="*/ 75635 h 8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46" h="80185">
                    <a:moveTo>
                      <a:pt x="0" y="75635"/>
                    </a:moveTo>
                    <a:lnTo>
                      <a:pt x="0" y="62490"/>
                    </a:lnTo>
                    <a:cubicBezTo>
                      <a:pt x="6359" y="67321"/>
                      <a:pt x="14133" y="69928"/>
                      <a:pt x="22115" y="69906"/>
                    </a:cubicBezTo>
                    <a:cubicBezTo>
                      <a:pt x="32904" y="69906"/>
                      <a:pt x="38299" y="66313"/>
                      <a:pt x="38299" y="59127"/>
                    </a:cubicBezTo>
                    <a:cubicBezTo>
                      <a:pt x="38353" y="57298"/>
                      <a:pt x="37882" y="55490"/>
                      <a:pt x="36917" y="53924"/>
                    </a:cubicBezTo>
                    <a:cubicBezTo>
                      <a:pt x="35930" y="52434"/>
                      <a:pt x="34659" y="51152"/>
                      <a:pt x="33178" y="50144"/>
                    </a:cubicBezTo>
                    <a:cubicBezTo>
                      <a:pt x="31446" y="48961"/>
                      <a:pt x="29582" y="47964"/>
                      <a:pt x="27630" y="47187"/>
                    </a:cubicBezTo>
                    <a:cubicBezTo>
                      <a:pt x="25492" y="46310"/>
                      <a:pt x="23244" y="45390"/>
                      <a:pt x="20766" y="44448"/>
                    </a:cubicBezTo>
                    <a:cubicBezTo>
                      <a:pt x="17707" y="43254"/>
                      <a:pt x="14714" y="41896"/>
                      <a:pt x="11809" y="40362"/>
                    </a:cubicBezTo>
                    <a:cubicBezTo>
                      <a:pt x="9440" y="39146"/>
                      <a:pt x="7280" y="37580"/>
                      <a:pt x="5372" y="35728"/>
                    </a:cubicBezTo>
                    <a:cubicBezTo>
                      <a:pt x="3673" y="34063"/>
                      <a:pt x="2346" y="32058"/>
                      <a:pt x="1469" y="29846"/>
                    </a:cubicBezTo>
                    <a:cubicBezTo>
                      <a:pt x="548" y="27392"/>
                      <a:pt x="99" y="24796"/>
                      <a:pt x="154" y="22178"/>
                    </a:cubicBezTo>
                    <a:cubicBezTo>
                      <a:pt x="88" y="18825"/>
                      <a:pt x="943" y="15517"/>
                      <a:pt x="2631" y="12625"/>
                    </a:cubicBezTo>
                    <a:cubicBezTo>
                      <a:pt x="4287" y="9843"/>
                      <a:pt x="6524" y="7477"/>
                      <a:pt x="9210" y="5669"/>
                    </a:cubicBezTo>
                    <a:cubicBezTo>
                      <a:pt x="12083" y="3741"/>
                      <a:pt x="15262" y="2306"/>
                      <a:pt x="18618" y="1430"/>
                    </a:cubicBezTo>
                    <a:cubicBezTo>
                      <a:pt x="22192" y="477"/>
                      <a:pt x="25876" y="-5"/>
                      <a:pt x="29582" y="6"/>
                    </a:cubicBezTo>
                    <a:cubicBezTo>
                      <a:pt x="35700" y="-93"/>
                      <a:pt x="41785" y="1079"/>
                      <a:pt x="47421" y="3456"/>
                    </a:cubicBezTo>
                    <a:lnTo>
                      <a:pt x="47421" y="15813"/>
                    </a:lnTo>
                    <a:cubicBezTo>
                      <a:pt x="41621" y="12067"/>
                      <a:pt x="34834" y="10139"/>
                      <a:pt x="27926" y="10270"/>
                    </a:cubicBezTo>
                    <a:cubicBezTo>
                      <a:pt x="25832" y="10248"/>
                      <a:pt x="23738" y="10511"/>
                      <a:pt x="21710" y="11059"/>
                    </a:cubicBezTo>
                    <a:cubicBezTo>
                      <a:pt x="20010" y="11508"/>
                      <a:pt x="18398" y="12253"/>
                      <a:pt x="16951" y="13250"/>
                    </a:cubicBezTo>
                    <a:cubicBezTo>
                      <a:pt x="15679" y="14137"/>
                      <a:pt x="14626" y="15298"/>
                      <a:pt x="13881" y="16657"/>
                    </a:cubicBezTo>
                    <a:cubicBezTo>
                      <a:pt x="13146" y="18004"/>
                      <a:pt x="12774" y="19505"/>
                      <a:pt x="12784" y="21038"/>
                    </a:cubicBezTo>
                    <a:cubicBezTo>
                      <a:pt x="12730" y="22780"/>
                      <a:pt x="13103" y="24500"/>
                      <a:pt x="13881" y="26055"/>
                    </a:cubicBezTo>
                    <a:cubicBezTo>
                      <a:pt x="14659" y="27480"/>
                      <a:pt x="15745" y="28706"/>
                      <a:pt x="17061" y="29648"/>
                    </a:cubicBezTo>
                    <a:cubicBezTo>
                      <a:pt x="18639" y="30799"/>
                      <a:pt x="20350" y="31752"/>
                      <a:pt x="22159" y="32497"/>
                    </a:cubicBezTo>
                    <a:cubicBezTo>
                      <a:pt x="24155" y="33351"/>
                      <a:pt x="26435" y="34271"/>
                      <a:pt x="28979" y="35268"/>
                    </a:cubicBezTo>
                    <a:cubicBezTo>
                      <a:pt x="32093" y="36440"/>
                      <a:pt x="35152" y="37777"/>
                      <a:pt x="38123" y="39278"/>
                    </a:cubicBezTo>
                    <a:cubicBezTo>
                      <a:pt x="40623" y="40504"/>
                      <a:pt x="42936" y="42071"/>
                      <a:pt x="45020" y="43922"/>
                    </a:cubicBezTo>
                    <a:cubicBezTo>
                      <a:pt x="46873" y="45587"/>
                      <a:pt x="48375" y="47603"/>
                      <a:pt x="49406" y="49870"/>
                    </a:cubicBezTo>
                    <a:cubicBezTo>
                      <a:pt x="50480" y="52401"/>
                      <a:pt x="51006" y="55129"/>
                      <a:pt x="50941" y="57878"/>
                    </a:cubicBezTo>
                    <a:cubicBezTo>
                      <a:pt x="51017" y="61329"/>
                      <a:pt x="50151" y="64747"/>
                      <a:pt x="48430" y="67737"/>
                    </a:cubicBezTo>
                    <a:cubicBezTo>
                      <a:pt x="46752" y="70542"/>
                      <a:pt x="44461" y="72919"/>
                      <a:pt x="41719" y="74704"/>
                    </a:cubicBezTo>
                    <a:cubicBezTo>
                      <a:pt x="38759" y="76621"/>
                      <a:pt x="35481" y="78012"/>
                      <a:pt x="32049" y="78823"/>
                    </a:cubicBezTo>
                    <a:cubicBezTo>
                      <a:pt x="28299" y="79732"/>
                      <a:pt x="24440" y="80192"/>
                      <a:pt x="20580" y="80170"/>
                    </a:cubicBezTo>
                    <a:cubicBezTo>
                      <a:pt x="13453" y="80357"/>
                      <a:pt x="6392" y="78801"/>
                      <a:pt x="0" y="756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9" name="Freeform: Shape 238">
                <a:extLst>
                  <a:ext uri="{FF2B5EF4-FFF2-40B4-BE49-F238E27FC236}">
                    <a16:creationId xmlns:a16="http://schemas.microsoft.com/office/drawing/2014/main" id="{4828B869-D067-0573-174C-030299DAE920}"/>
                  </a:ext>
                </a:extLst>
              </p:cNvPr>
              <p:cNvSpPr/>
              <p:nvPr/>
            </p:nvSpPr>
            <p:spPr>
              <a:xfrm>
                <a:off x="3256955" y="3564150"/>
                <a:ext cx="12598" cy="107353"/>
              </a:xfrm>
              <a:custGeom>
                <a:avLst/>
                <a:gdLst>
                  <a:gd name="connsiteX0" fmla="*/ 12598 w 12598"/>
                  <a:gd name="connsiteY0" fmla="*/ 107354 h 107353"/>
                  <a:gd name="connsiteX1" fmla="*/ 0 w 12598"/>
                  <a:gd name="connsiteY1" fmla="*/ 107354 h 107353"/>
                  <a:gd name="connsiteX2" fmla="*/ 0 w 12598"/>
                  <a:gd name="connsiteY2" fmla="*/ 0 h 107353"/>
                  <a:gd name="connsiteX3" fmla="*/ 12598 w 12598"/>
                  <a:gd name="connsiteY3" fmla="*/ 0 h 107353"/>
                </a:gdLst>
                <a:ahLst/>
                <a:cxnLst>
                  <a:cxn ang="0">
                    <a:pos x="connsiteX0" y="connsiteY0"/>
                  </a:cxn>
                  <a:cxn ang="0">
                    <a:pos x="connsiteX1" y="connsiteY1"/>
                  </a:cxn>
                  <a:cxn ang="0">
                    <a:pos x="connsiteX2" y="connsiteY2"/>
                  </a:cxn>
                  <a:cxn ang="0">
                    <a:pos x="connsiteX3" y="connsiteY3"/>
                  </a:cxn>
                </a:cxnLst>
                <a:rect l="l" t="t" r="r" b="b"/>
                <a:pathLst>
                  <a:path w="12598" h="107353">
                    <a:moveTo>
                      <a:pt x="12598" y="107354"/>
                    </a:moveTo>
                    <a:lnTo>
                      <a:pt x="0" y="107354"/>
                    </a:lnTo>
                    <a:lnTo>
                      <a:pt x="0" y="0"/>
                    </a:lnTo>
                    <a:lnTo>
                      <a:pt x="12598"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0" name="Freeform: Shape 239">
                <a:extLst>
                  <a:ext uri="{FF2B5EF4-FFF2-40B4-BE49-F238E27FC236}">
                    <a16:creationId xmlns:a16="http://schemas.microsoft.com/office/drawing/2014/main" id="{8C41164E-CA2B-089D-590D-A3285EB58485}"/>
                  </a:ext>
                </a:extLst>
              </p:cNvPr>
              <p:cNvSpPr/>
              <p:nvPr/>
            </p:nvSpPr>
            <p:spPr>
              <a:xfrm>
                <a:off x="3290178" y="3557972"/>
                <a:ext cx="70840" cy="115364"/>
              </a:xfrm>
              <a:custGeom>
                <a:avLst/>
                <a:gdLst>
                  <a:gd name="connsiteX0" fmla="*/ 70818 w 70840"/>
                  <a:gd name="connsiteY0" fmla="*/ 113532 h 115364"/>
                  <a:gd name="connsiteX1" fmla="*/ 58527 w 70840"/>
                  <a:gd name="connsiteY1" fmla="*/ 113532 h 115364"/>
                  <a:gd name="connsiteX2" fmla="*/ 58527 w 70840"/>
                  <a:gd name="connsiteY2" fmla="*/ 100496 h 115364"/>
                  <a:gd name="connsiteX3" fmla="*/ 58220 w 70840"/>
                  <a:gd name="connsiteY3" fmla="*/ 100496 h 115364"/>
                  <a:gd name="connsiteX4" fmla="*/ 31840 w 70840"/>
                  <a:gd name="connsiteY4" fmla="*/ 115329 h 115364"/>
                  <a:gd name="connsiteX5" fmla="*/ 8716 w 70840"/>
                  <a:gd name="connsiteY5" fmla="*/ 105031 h 115364"/>
                  <a:gd name="connsiteX6" fmla="*/ 65 w 70840"/>
                  <a:gd name="connsiteY6" fmla="*/ 76988 h 115364"/>
                  <a:gd name="connsiteX7" fmla="*/ 9659 w 70840"/>
                  <a:gd name="connsiteY7" fmla="*/ 46513 h 115364"/>
                  <a:gd name="connsiteX8" fmla="*/ 35217 w 70840"/>
                  <a:gd name="connsiteY8" fmla="*/ 35054 h 115364"/>
                  <a:gd name="connsiteX9" fmla="*/ 58242 w 70840"/>
                  <a:gd name="connsiteY9" fmla="*/ 47477 h 115364"/>
                  <a:gd name="connsiteX10" fmla="*/ 58549 w 70840"/>
                  <a:gd name="connsiteY10" fmla="*/ 47477 h 115364"/>
                  <a:gd name="connsiteX11" fmla="*/ 58549 w 70840"/>
                  <a:gd name="connsiteY11" fmla="*/ 0 h 115364"/>
                  <a:gd name="connsiteX12" fmla="*/ 70840 w 70840"/>
                  <a:gd name="connsiteY12" fmla="*/ 0 h 115364"/>
                  <a:gd name="connsiteX13" fmla="*/ 58527 w 70840"/>
                  <a:gd name="connsiteY13" fmla="*/ 78861 h 115364"/>
                  <a:gd name="connsiteX14" fmla="*/ 58527 w 70840"/>
                  <a:gd name="connsiteY14" fmla="*/ 67545 h 115364"/>
                  <a:gd name="connsiteX15" fmla="*/ 52376 w 70840"/>
                  <a:gd name="connsiteY15" fmla="*/ 51826 h 115364"/>
                  <a:gd name="connsiteX16" fmla="*/ 36785 w 70840"/>
                  <a:gd name="connsiteY16" fmla="*/ 45384 h 115364"/>
                  <a:gd name="connsiteX17" fmla="*/ 19099 w 70840"/>
                  <a:gd name="connsiteY17" fmla="*/ 53622 h 115364"/>
                  <a:gd name="connsiteX18" fmla="*/ 12652 w 70840"/>
                  <a:gd name="connsiteY18" fmla="*/ 76386 h 115364"/>
                  <a:gd name="connsiteX19" fmla="*/ 18836 w 70840"/>
                  <a:gd name="connsiteY19" fmla="*/ 97320 h 115364"/>
                  <a:gd name="connsiteX20" fmla="*/ 35436 w 70840"/>
                  <a:gd name="connsiteY20" fmla="*/ 104988 h 115364"/>
                  <a:gd name="connsiteX21" fmla="*/ 52113 w 70840"/>
                  <a:gd name="connsiteY21" fmla="*/ 97582 h 115364"/>
                  <a:gd name="connsiteX22" fmla="*/ 58527 w 70840"/>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40" h="115364">
                    <a:moveTo>
                      <a:pt x="70818" y="113532"/>
                    </a:moveTo>
                    <a:lnTo>
                      <a:pt x="58527" y="113532"/>
                    </a:lnTo>
                    <a:lnTo>
                      <a:pt x="58527" y="100496"/>
                    </a:lnTo>
                    <a:lnTo>
                      <a:pt x="58220" y="100496"/>
                    </a:lnTo>
                    <a:cubicBezTo>
                      <a:pt x="53023" y="110103"/>
                      <a:pt x="42760" y="115876"/>
                      <a:pt x="31840" y="115329"/>
                    </a:cubicBezTo>
                    <a:cubicBezTo>
                      <a:pt x="22948" y="115668"/>
                      <a:pt x="14406" y="111856"/>
                      <a:pt x="8716" y="105031"/>
                    </a:cubicBezTo>
                    <a:cubicBezTo>
                      <a:pt x="2576" y="97013"/>
                      <a:pt x="-494" y="87066"/>
                      <a:pt x="65" y="76988"/>
                    </a:cubicBezTo>
                    <a:cubicBezTo>
                      <a:pt x="-494" y="66012"/>
                      <a:pt x="2916" y="55200"/>
                      <a:pt x="9659" y="46513"/>
                    </a:cubicBezTo>
                    <a:cubicBezTo>
                      <a:pt x="15930" y="38921"/>
                      <a:pt x="25371" y="34693"/>
                      <a:pt x="35217" y="35054"/>
                    </a:cubicBezTo>
                    <a:cubicBezTo>
                      <a:pt x="44646" y="34430"/>
                      <a:pt x="53593" y="39261"/>
                      <a:pt x="58242" y="47477"/>
                    </a:cubicBezTo>
                    <a:lnTo>
                      <a:pt x="58549" y="47477"/>
                    </a:lnTo>
                    <a:lnTo>
                      <a:pt x="58549" y="0"/>
                    </a:lnTo>
                    <a:lnTo>
                      <a:pt x="70840" y="0"/>
                    </a:lnTo>
                    <a:close/>
                    <a:moveTo>
                      <a:pt x="58527" y="78861"/>
                    </a:moveTo>
                    <a:lnTo>
                      <a:pt x="58527" y="67545"/>
                    </a:lnTo>
                    <a:cubicBezTo>
                      <a:pt x="58659" y="61696"/>
                      <a:pt x="56444" y="56032"/>
                      <a:pt x="52376" y="51826"/>
                    </a:cubicBezTo>
                    <a:cubicBezTo>
                      <a:pt x="48341" y="47553"/>
                      <a:pt x="42662" y="45209"/>
                      <a:pt x="36785" y="45384"/>
                    </a:cubicBezTo>
                    <a:cubicBezTo>
                      <a:pt x="29899" y="45100"/>
                      <a:pt x="23309" y="48178"/>
                      <a:pt x="19099" y="53622"/>
                    </a:cubicBezTo>
                    <a:cubicBezTo>
                      <a:pt x="14450" y="60271"/>
                      <a:pt x="12181" y="68290"/>
                      <a:pt x="12652" y="76386"/>
                    </a:cubicBezTo>
                    <a:cubicBezTo>
                      <a:pt x="12235" y="83867"/>
                      <a:pt x="14417" y="91262"/>
                      <a:pt x="18836" y="97320"/>
                    </a:cubicBezTo>
                    <a:cubicBezTo>
                      <a:pt x="22827" y="102370"/>
                      <a:pt x="29000" y="105218"/>
                      <a:pt x="35436" y="104988"/>
                    </a:cubicBezTo>
                    <a:cubicBezTo>
                      <a:pt x="41839" y="105185"/>
                      <a:pt x="47979" y="102468"/>
                      <a:pt x="52113" y="97582"/>
                    </a:cubicBezTo>
                    <a:cubicBezTo>
                      <a:pt x="56488" y="92346"/>
                      <a:pt x="58779" y="85675"/>
                      <a:pt x="58527" y="788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1" name="Freeform: Shape 240">
                <a:extLst>
                  <a:ext uri="{FF2B5EF4-FFF2-40B4-BE49-F238E27FC236}">
                    <a16:creationId xmlns:a16="http://schemas.microsoft.com/office/drawing/2014/main" id="{79EAC625-6776-8A77-1A40-D946A7C92ED2}"/>
                  </a:ext>
                </a:extLst>
              </p:cNvPr>
              <p:cNvSpPr/>
              <p:nvPr/>
            </p:nvSpPr>
            <p:spPr>
              <a:xfrm>
                <a:off x="3379781" y="3592979"/>
                <a:ext cx="67094" cy="80373"/>
              </a:xfrm>
              <a:custGeom>
                <a:avLst/>
                <a:gdLst>
                  <a:gd name="connsiteX0" fmla="*/ 67022 w 67094"/>
                  <a:gd name="connsiteY0" fmla="*/ 43251 h 80373"/>
                  <a:gd name="connsiteX1" fmla="*/ 12836 w 67094"/>
                  <a:gd name="connsiteY1" fmla="*/ 43251 h 80373"/>
                  <a:gd name="connsiteX2" fmla="*/ 19722 w 67094"/>
                  <a:gd name="connsiteY2" fmla="*/ 63024 h 80373"/>
                  <a:gd name="connsiteX3" fmla="*/ 37868 w 67094"/>
                  <a:gd name="connsiteY3" fmla="*/ 69980 h 80373"/>
                  <a:gd name="connsiteX4" fmla="*/ 61705 w 67094"/>
                  <a:gd name="connsiteY4" fmla="*/ 61447 h 80373"/>
                  <a:gd name="connsiteX5" fmla="*/ 61705 w 67094"/>
                  <a:gd name="connsiteY5" fmla="*/ 72982 h 80373"/>
                  <a:gd name="connsiteX6" fmla="*/ 34940 w 67094"/>
                  <a:gd name="connsiteY6" fmla="*/ 80321 h 80373"/>
                  <a:gd name="connsiteX7" fmla="*/ 9382 w 67094"/>
                  <a:gd name="connsiteY7" fmla="*/ 69871 h 80373"/>
                  <a:gd name="connsiteX8" fmla="*/ 85 w 67094"/>
                  <a:gd name="connsiteY8" fmla="*/ 40480 h 80373"/>
                  <a:gd name="connsiteX9" fmla="*/ 10249 w 67094"/>
                  <a:gd name="connsiteY9" fmla="*/ 11308 h 80373"/>
                  <a:gd name="connsiteX10" fmla="*/ 35467 w 67094"/>
                  <a:gd name="connsiteY10" fmla="*/ 47 h 80373"/>
                  <a:gd name="connsiteX11" fmla="*/ 58777 w 67094"/>
                  <a:gd name="connsiteY11" fmla="*/ 9774 h 80373"/>
                  <a:gd name="connsiteX12" fmla="*/ 67022 w 67094"/>
                  <a:gd name="connsiteY12" fmla="*/ 36810 h 80373"/>
                  <a:gd name="connsiteX13" fmla="*/ 54424 w 67094"/>
                  <a:gd name="connsiteY13" fmla="*/ 32845 h 80373"/>
                  <a:gd name="connsiteX14" fmla="*/ 49293 w 67094"/>
                  <a:gd name="connsiteY14" fmla="*/ 16292 h 80373"/>
                  <a:gd name="connsiteX15" fmla="*/ 35236 w 67094"/>
                  <a:gd name="connsiteY15" fmla="*/ 10377 h 80373"/>
                  <a:gd name="connsiteX16" fmla="*/ 20478 w 67094"/>
                  <a:gd name="connsiteY16" fmla="*/ 16588 h 80373"/>
                  <a:gd name="connsiteX17" fmla="*/ 12979 w 67094"/>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4" h="80373">
                    <a:moveTo>
                      <a:pt x="67022" y="43251"/>
                    </a:moveTo>
                    <a:lnTo>
                      <a:pt x="12836" y="43251"/>
                    </a:lnTo>
                    <a:cubicBezTo>
                      <a:pt x="12562" y="50470"/>
                      <a:pt x="15018" y="57536"/>
                      <a:pt x="19722" y="63024"/>
                    </a:cubicBezTo>
                    <a:cubicBezTo>
                      <a:pt x="24502" y="67822"/>
                      <a:pt x="31103" y="70353"/>
                      <a:pt x="37868" y="69980"/>
                    </a:cubicBezTo>
                    <a:cubicBezTo>
                      <a:pt x="46563" y="69969"/>
                      <a:pt x="54983" y="66957"/>
                      <a:pt x="61705" y="61447"/>
                    </a:cubicBezTo>
                    <a:lnTo>
                      <a:pt x="61705" y="72982"/>
                    </a:lnTo>
                    <a:cubicBezTo>
                      <a:pt x="53788" y="78218"/>
                      <a:pt x="44414" y="80781"/>
                      <a:pt x="34940" y="80321"/>
                    </a:cubicBezTo>
                    <a:cubicBezTo>
                      <a:pt x="25292" y="80814"/>
                      <a:pt x="15917" y="76980"/>
                      <a:pt x="9382" y="69871"/>
                    </a:cubicBezTo>
                    <a:cubicBezTo>
                      <a:pt x="2727" y="61567"/>
                      <a:pt x="-584" y="51095"/>
                      <a:pt x="85" y="40480"/>
                    </a:cubicBezTo>
                    <a:cubicBezTo>
                      <a:pt x="-365" y="29821"/>
                      <a:pt x="3275" y="19381"/>
                      <a:pt x="10249" y="11308"/>
                    </a:cubicBezTo>
                    <a:cubicBezTo>
                      <a:pt x="16564" y="4001"/>
                      <a:pt x="25807" y="-128"/>
                      <a:pt x="35467" y="47"/>
                    </a:cubicBezTo>
                    <a:cubicBezTo>
                      <a:pt x="44315" y="-457"/>
                      <a:pt x="52911" y="3125"/>
                      <a:pt x="58777" y="9774"/>
                    </a:cubicBezTo>
                    <a:cubicBezTo>
                      <a:pt x="64676" y="17508"/>
                      <a:pt x="67603" y="27104"/>
                      <a:pt x="67022" y="36810"/>
                    </a:cubicBezTo>
                    <a:close/>
                    <a:moveTo>
                      <a:pt x="54424" y="32845"/>
                    </a:moveTo>
                    <a:cubicBezTo>
                      <a:pt x="54753" y="26896"/>
                      <a:pt x="52933" y="21025"/>
                      <a:pt x="49293" y="16292"/>
                    </a:cubicBezTo>
                    <a:cubicBezTo>
                      <a:pt x="45751" y="12283"/>
                      <a:pt x="40576" y="10103"/>
                      <a:pt x="35236" y="10377"/>
                    </a:cubicBezTo>
                    <a:cubicBezTo>
                      <a:pt x="29667" y="10289"/>
                      <a:pt x="24305" y="12535"/>
                      <a:pt x="20478" y="16588"/>
                    </a:cubicBezTo>
                    <a:cubicBezTo>
                      <a:pt x="16279" y="21057"/>
                      <a:pt x="13648" y="26754"/>
                      <a:pt x="12979" y="3284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2" name="Freeform: Shape 241">
                <a:extLst>
                  <a:ext uri="{FF2B5EF4-FFF2-40B4-BE49-F238E27FC236}">
                    <a16:creationId xmlns:a16="http://schemas.microsoft.com/office/drawing/2014/main" id="{1C962349-DF8D-286E-D252-58953A1C3AEA}"/>
                  </a:ext>
                </a:extLst>
              </p:cNvPr>
              <p:cNvSpPr/>
              <p:nvPr/>
            </p:nvSpPr>
            <p:spPr>
              <a:xfrm>
                <a:off x="3465201" y="3593015"/>
                <a:ext cx="63827" cy="78521"/>
              </a:xfrm>
              <a:custGeom>
                <a:avLst/>
                <a:gdLst>
                  <a:gd name="connsiteX0" fmla="*/ 63703 w 63827"/>
                  <a:gd name="connsiteY0" fmla="*/ 78489 h 78521"/>
                  <a:gd name="connsiteX1" fmla="*/ 51412 w 63827"/>
                  <a:gd name="connsiteY1" fmla="*/ 78489 h 78521"/>
                  <a:gd name="connsiteX2" fmla="*/ 51412 w 63827"/>
                  <a:gd name="connsiteY2" fmla="*/ 34759 h 78521"/>
                  <a:gd name="connsiteX3" fmla="*/ 33573 w 63827"/>
                  <a:gd name="connsiteY3" fmla="*/ 10341 h 78521"/>
                  <a:gd name="connsiteX4" fmla="*/ 18322 w 63827"/>
                  <a:gd name="connsiteY4" fmla="*/ 17264 h 78521"/>
                  <a:gd name="connsiteX5" fmla="*/ 12291 w 63827"/>
                  <a:gd name="connsiteY5" fmla="*/ 34792 h 78521"/>
                  <a:gd name="connsiteX6" fmla="*/ 12291 w 63827"/>
                  <a:gd name="connsiteY6" fmla="*/ 78522 h 78521"/>
                  <a:gd name="connsiteX7" fmla="*/ 0 w 63827"/>
                  <a:gd name="connsiteY7" fmla="*/ 78522 h 78521"/>
                  <a:gd name="connsiteX8" fmla="*/ 0 w 63827"/>
                  <a:gd name="connsiteY8" fmla="*/ 1841 h 78521"/>
                  <a:gd name="connsiteX9" fmla="*/ 12302 w 63827"/>
                  <a:gd name="connsiteY9" fmla="*/ 1841 h 78521"/>
                  <a:gd name="connsiteX10" fmla="*/ 12302 w 63827"/>
                  <a:gd name="connsiteY10" fmla="*/ 14570 h 78521"/>
                  <a:gd name="connsiteX11" fmla="*/ 12598 w 63827"/>
                  <a:gd name="connsiteY11" fmla="*/ 14570 h 78521"/>
                  <a:gd name="connsiteX12" fmla="*/ 37816 w 63827"/>
                  <a:gd name="connsiteY12" fmla="*/ 44 h 78521"/>
                  <a:gd name="connsiteX13" fmla="*/ 57081 w 63827"/>
                  <a:gd name="connsiteY13" fmla="*/ 8161 h 78521"/>
                  <a:gd name="connsiteX14" fmla="*/ 63747 w 63827"/>
                  <a:gd name="connsiteY14" fmla="*/ 31637 h 7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27" h="78521">
                    <a:moveTo>
                      <a:pt x="63703" y="78489"/>
                    </a:moveTo>
                    <a:lnTo>
                      <a:pt x="51412" y="78489"/>
                    </a:lnTo>
                    <a:lnTo>
                      <a:pt x="51412" y="34759"/>
                    </a:lnTo>
                    <a:cubicBezTo>
                      <a:pt x="51412" y="18480"/>
                      <a:pt x="45469" y="10341"/>
                      <a:pt x="33573" y="10341"/>
                    </a:cubicBezTo>
                    <a:cubicBezTo>
                      <a:pt x="27696" y="10221"/>
                      <a:pt x="22093" y="12762"/>
                      <a:pt x="18322" y="17264"/>
                    </a:cubicBezTo>
                    <a:cubicBezTo>
                      <a:pt x="14199" y="22150"/>
                      <a:pt x="12050" y="28405"/>
                      <a:pt x="12291" y="34792"/>
                    </a:cubicBezTo>
                    <a:lnTo>
                      <a:pt x="12291" y="78522"/>
                    </a:lnTo>
                    <a:lnTo>
                      <a:pt x="0" y="78522"/>
                    </a:lnTo>
                    <a:lnTo>
                      <a:pt x="0" y="1841"/>
                    </a:lnTo>
                    <a:lnTo>
                      <a:pt x="12302" y="1841"/>
                    </a:lnTo>
                    <a:lnTo>
                      <a:pt x="12302" y="14570"/>
                    </a:lnTo>
                    <a:lnTo>
                      <a:pt x="12598" y="14570"/>
                    </a:lnTo>
                    <a:cubicBezTo>
                      <a:pt x="17576" y="5346"/>
                      <a:pt x="27334" y="-274"/>
                      <a:pt x="37816" y="44"/>
                    </a:cubicBezTo>
                    <a:cubicBezTo>
                      <a:pt x="45151" y="-405"/>
                      <a:pt x="52278" y="2597"/>
                      <a:pt x="57081" y="8161"/>
                    </a:cubicBezTo>
                    <a:cubicBezTo>
                      <a:pt x="61949" y="14986"/>
                      <a:pt x="64306" y="23279"/>
                      <a:pt x="63747" y="31637"/>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3" name="Freeform: Shape 242">
                <a:extLst>
                  <a:ext uri="{FF2B5EF4-FFF2-40B4-BE49-F238E27FC236}">
                    <a16:creationId xmlns:a16="http://schemas.microsoft.com/office/drawing/2014/main" id="{FC6065FB-D39B-DF15-8E36-A337E5501493}"/>
                  </a:ext>
                </a:extLst>
              </p:cNvPr>
              <p:cNvSpPr/>
              <p:nvPr/>
            </p:nvSpPr>
            <p:spPr>
              <a:xfrm>
                <a:off x="3541448" y="3572125"/>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8 w 44789"/>
                  <a:gd name="connsiteY8" fmla="*/ 0 h 101045"/>
                  <a:gd name="connsiteX9" fmla="*/ 25448 w 44789"/>
                  <a:gd name="connsiteY9" fmla="*/ 22698 h 101045"/>
                  <a:gd name="connsiteX10" fmla="*/ 44789 w 44789"/>
                  <a:gd name="connsiteY10" fmla="*/ 22698 h 101045"/>
                  <a:gd name="connsiteX11" fmla="*/ 44789 w 44789"/>
                  <a:gd name="connsiteY11" fmla="*/ 33181 h 101045"/>
                  <a:gd name="connsiteX12" fmla="*/ 25448 w 44789"/>
                  <a:gd name="connsiteY12" fmla="*/ 33181 h 101045"/>
                  <a:gd name="connsiteX13" fmla="*/ 25448 w 44789"/>
                  <a:gd name="connsiteY13" fmla="*/ 76385 h 101045"/>
                  <a:gd name="connsiteX14" fmla="*/ 28069 w 44789"/>
                  <a:gd name="connsiteY14" fmla="*/ 87395 h 101045"/>
                  <a:gd name="connsiteX15" fmla="*/ 36764 w 44789"/>
                  <a:gd name="connsiteY15" fmla="*/ 90681 h 101045"/>
                  <a:gd name="connsiteX16" fmla="*/ 44789 w 44789"/>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65"/>
                      <a:pt x="37290" y="101197"/>
                      <a:pt x="33321" y="101022"/>
                    </a:cubicBezTo>
                    <a:cubicBezTo>
                      <a:pt x="19878" y="101022"/>
                      <a:pt x="13157" y="93529"/>
                      <a:pt x="13157" y="78554"/>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448" y="33181"/>
                    </a:lnTo>
                    <a:lnTo>
                      <a:pt x="25448" y="76385"/>
                    </a:lnTo>
                    <a:cubicBezTo>
                      <a:pt x="25108" y="80241"/>
                      <a:pt x="26029" y="84097"/>
                      <a:pt x="28069" y="87395"/>
                    </a:cubicBezTo>
                    <a:cubicBezTo>
                      <a:pt x="30295" y="89783"/>
                      <a:pt x="33507" y="90999"/>
                      <a:pt x="36764" y="90681"/>
                    </a:cubicBezTo>
                    <a:cubicBezTo>
                      <a:pt x="39647" y="90747"/>
                      <a:pt x="42476" y="89849"/>
                      <a:pt x="44789" y="8812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4" name="Freeform: Shape 243">
                <a:extLst>
                  <a:ext uri="{FF2B5EF4-FFF2-40B4-BE49-F238E27FC236}">
                    <a16:creationId xmlns:a16="http://schemas.microsoft.com/office/drawing/2014/main" id="{CF0C72A7-897B-3370-4743-0AFD680CC503}"/>
                  </a:ext>
                </a:extLst>
              </p:cNvPr>
              <p:cNvSpPr/>
              <p:nvPr/>
            </p:nvSpPr>
            <p:spPr>
              <a:xfrm>
                <a:off x="3599720" y="3559394"/>
                <a:ext cx="16047" cy="112109"/>
              </a:xfrm>
              <a:custGeom>
                <a:avLst/>
                <a:gdLst>
                  <a:gd name="connsiteX0" fmla="*/ 7953 w 16047"/>
                  <a:gd name="connsiteY0" fmla="*/ 15951 h 112109"/>
                  <a:gd name="connsiteX1" fmla="*/ 2328 w 16047"/>
                  <a:gd name="connsiteY1" fmla="*/ 13706 h 112109"/>
                  <a:gd name="connsiteX2" fmla="*/ 4 w 16047"/>
                  <a:gd name="connsiteY2" fmla="*/ 8020 h 112109"/>
                  <a:gd name="connsiteX3" fmla="*/ 7744 w 16047"/>
                  <a:gd name="connsiteY3" fmla="*/ 2 h 112109"/>
                  <a:gd name="connsiteX4" fmla="*/ 7953 w 16047"/>
                  <a:gd name="connsiteY4" fmla="*/ 2 h 112109"/>
                  <a:gd name="connsiteX5" fmla="*/ 13687 w 16047"/>
                  <a:gd name="connsiteY5" fmla="*/ 2291 h 112109"/>
                  <a:gd name="connsiteX6" fmla="*/ 13720 w 16047"/>
                  <a:gd name="connsiteY6" fmla="*/ 13596 h 112109"/>
                  <a:gd name="connsiteX7" fmla="*/ 13687 w 16047"/>
                  <a:gd name="connsiteY7" fmla="*/ 13629 h 112109"/>
                  <a:gd name="connsiteX8" fmla="*/ 7953 w 16047"/>
                  <a:gd name="connsiteY8" fmla="*/ 15951 h 112109"/>
                  <a:gd name="connsiteX9" fmla="*/ 13950 w 16047"/>
                  <a:gd name="connsiteY9" fmla="*/ 112110 h 112109"/>
                  <a:gd name="connsiteX10" fmla="*/ 1681 w 16047"/>
                  <a:gd name="connsiteY10" fmla="*/ 112110 h 112109"/>
                  <a:gd name="connsiteX11" fmla="*/ 1681 w 16047"/>
                  <a:gd name="connsiteY11" fmla="*/ 35428 h 112109"/>
                  <a:gd name="connsiteX12" fmla="*/ 13983 w 16047"/>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7" h="112109">
                    <a:moveTo>
                      <a:pt x="7953" y="15951"/>
                    </a:moveTo>
                    <a:cubicBezTo>
                      <a:pt x="5847" y="15995"/>
                      <a:pt x="3819" y="15185"/>
                      <a:pt x="2328" y="13706"/>
                    </a:cubicBezTo>
                    <a:cubicBezTo>
                      <a:pt x="782" y="12227"/>
                      <a:pt x="-62" y="10156"/>
                      <a:pt x="4" y="8020"/>
                    </a:cubicBezTo>
                    <a:cubicBezTo>
                      <a:pt x="-73" y="3671"/>
                      <a:pt x="3391" y="78"/>
                      <a:pt x="7744" y="2"/>
                    </a:cubicBezTo>
                    <a:cubicBezTo>
                      <a:pt x="7810" y="2"/>
                      <a:pt x="7887" y="2"/>
                      <a:pt x="7953" y="2"/>
                    </a:cubicBezTo>
                    <a:cubicBezTo>
                      <a:pt x="10091" y="-42"/>
                      <a:pt x="12163" y="790"/>
                      <a:pt x="13687" y="2291"/>
                    </a:cubicBezTo>
                    <a:cubicBezTo>
                      <a:pt x="16823" y="5402"/>
                      <a:pt x="16834" y="10474"/>
                      <a:pt x="13720" y="13596"/>
                    </a:cubicBezTo>
                    <a:cubicBezTo>
                      <a:pt x="13709" y="13607"/>
                      <a:pt x="13698" y="13618"/>
                      <a:pt x="13687" y="13629"/>
                    </a:cubicBezTo>
                    <a:cubicBezTo>
                      <a:pt x="12174" y="15152"/>
                      <a:pt x="10102" y="15995"/>
                      <a:pt x="7953" y="15951"/>
                    </a:cubicBezTo>
                    <a:close/>
                    <a:moveTo>
                      <a:pt x="13950" y="112110"/>
                    </a:moveTo>
                    <a:lnTo>
                      <a:pt x="1681" y="112110"/>
                    </a:lnTo>
                    <a:lnTo>
                      <a:pt x="1681" y="35428"/>
                    </a:lnTo>
                    <a:lnTo>
                      <a:pt x="13983" y="35428"/>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5" name="Freeform: Shape 244">
                <a:extLst>
                  <a:ext uri="{FF2B5EF4-FFF2-40B4-BE49-F238E27FC236}">
                    <a16:creationId xmlns:a16="http://schemas.microsoft.com/office/drawing/2014/main" id="{C1A9A98F-E5C9-1C9C-0F7F-05A303DF4EB5}"/>
                  </a:ext>
                </a:extLst>
              </p:cNvPr>
              <p:cNvSpPr/>
              <p:nvPr/>
            </p:nvSpPr>
            <p:spPr>
              <a:xfrm>
                <a:off x="3628615" y="3572125"/>
                <a:ext cx="44789" cy="101045"/>
              </a:xfrm>
              <a:custGeom>
                <a:avLst/>
                <a:gdLst>
                  <a:gd name="connsiteX0" fmla="*/ 44790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8 w 44789"/>
                  <a:gd name="connsiteY8" fmla="*/ 0 h 101045"/>
                  <a:gd name="connsiteX9" fmla="*/ 25448 w 44789"/>
                  <a:gd name="connsiteY9" fmla="*/ 22698 h 101045"/>
                  <a:gd name="connsiteX10" fmla="*/ 44790 w 44789"/>
                  <a:gd name="connsiteY10" fmla="*/ 22698 h 101045"/>
                  <a:gd name="connsiteX11" fmla="*/ 44790 w 44789"/>
                  <a:gd name="connsiteY11" fmla="*/ 33181 h 101045"/>
                  <a:gd name="connsiteX12" fmla="*/ 25415 w 44789"/>
                  <a:gd name="connsiteY12" fmla="*/ 33181 h 101045"/>
                  <a:gd name="connsiteX13" fmla="*/ 25415 w 44789"/>
                  <a:gd name="connsiteY13" fmla="*/ 76385 h 101045"/>
                  <a:gd name="connsiteX14" fmla="*/ 28036 w 44789"/>
                  <a:gd name="connsiteY14" fmla="*/ 87395 h 101045"/>
                  <a:gd name="connsiteX15" fmla="*/ 36731 w 44789"/>
                  <a:gd name="connsiteY15" fmla="*/ 90681 h 101045"/>
                  <a:gd name="connsiteX16" fmla="*/ 44757 w 44789"/>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90" y="98623"/>
                    </a:moveTo>
                    <a:cubicBezTo>
                      <a:pt x="41226" y="100365"/>
                      <a:pt x="37290" y="101197"/>
                      <a:pt x="33321" y="101022"/>
                    </a:cubicBezTo>
                    <a:cubicBezTo>
                      <a:pt x="19878" y="101022"/>
                      <a:pt x="13157" y="93529"/>
                      <a:pt x="13157" y="78554"/>
                    </a:cubicBezTo>
                    <a:lnTo>
                      <a:pt x="13157" y="33181"/>
                    </a:lnTo>
                    <a:lnTo>
                      <a:pt x="0" y="33181"/>
                    </a:lnTo>
                    <a:lnTo>
                      <a:pt x="0" y="22698"/>
                    </a:lnTo>
                    <a:lnTo>
                      <a:pt x="13157" y="22698"/>
                    </a:lnTo>
                    <a:lnTo>
                      <a:pt x="13157" y="3976"/>
                    </a:lnTo>
                    <a:lnTo>
                      <a:pt x="25448" y="0"/>
                    </a:lnTo>
                    <a:lnTo>
                      <a:pt x="25448" y="22698"/>
                    </a:lnTo>
                    <a:lnTo>
                      <a:pt x="44790" y="22698"/>
                    </a:lnTo>
                    <a:lnTo>
                      <a:pt x="44790" y="33181"/>
                    </a:lnTo>
                    <a:lnTo>
                      <a:pt x="25415" y="33181"/>
                    </a:lnTo>
                    <a:lnTo>
                      <a:pt x="25415" y="76385"/>
                    </a:lnTo>
                    <a:cubicBezTo>
                      <a:pt x="25076" y="80241"/>
                      <a:pt x="25997" y="84097"/>
                      <a:pt x="28036" y="87395"/>
                    </a:cubicBezTo>
                    <a:cubicBezTo>
                      <a:pt x="30262" y="89783"/>
                      <a:pt x="33474" y="90999"/>
                      <a:pt x="36731" y="90681"/>
                    </a:cubicBezTo>
                    <a:cubicBezTo>
                      <a:pt x="39614" y="90747"/>
                      <a:pt x="42443" y="89849"/>
                      <a:pt x="44757" y="8812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6" name="Freeform: Shape 245">
                <a:extLst>
                  <a:ext uri="{FF2B5EF4-FFF2-40B4-BE49-F238E27FC236}">
                    <a16:creationId xmlns:a16="http://schemas.microsoft.com/office/drawing/2014/main" id="{B049226B-74E8-BDD0-9382-25CEA5090282}"/>
                  </a:ext>
                </a:extLst>
              </p:cNvPr>
              <p:cNvSpPr/>
              <p:nvPr/>
            </p:nvSpPr>
            <p:spPr>
              <a:xfrm>
                <a:off x="3682921" y="3594823"/>
                <a:ext cx="72474" cy="112782"/>
              </a:xfrm>
              <a:custGeom>
                <a:avLst/>
                <a:gdLst>
                  <a:gd name="connsiteX0" fmla="*/ 72474 w 72474"/>
                  <a:gd name="connsiteY0" fmla="*/ 0 h 112782"/>
                  <a:gd name="connsiteX1" fmla="*/ 37180 w 72474"/>
                  <a:gd name="connsiteY1" fmla="*/ 88961 h 112782"/>
                  <a:gd name="connsiteX2" fmla="*/ 10647 w 72474"/>
                  <a:gd name="connsiteY2" fmla="*/ 112776 h 112782"/>
                  <a:gd name="connsiteX3" fmla="*/ 2620 w 72474"/>
                  <a:gd name="connsiteY3" fmla="*/ 111801 h 112782"/>
                  <a:gd name="connsiteX4" fmla="*/ 2620 w 72474"/>
                  <a:gd name="connsiteY4" fmla="*/ 100847 h 112782"/>
                  <a:gd name="connsiteX5" fmla="*/ 9890 w 72474"/>
                  <a:gd name="connsiteY5" fmla="*/ 102194 h 112782"/>
                  <a:gd name="connsiteX6" fmla="*/ 23837 w 72474"/>
                  <a:gd name="connsiteY6" fmla="*/ 91108 h 112782"/>
                  <a:gd name="connsiteX7" fmla="*/ 29977 w 72474"/>
                  <a:gd name="connsiteY7" fmla="*/ 76583 h 112782"/>
                  <a:gd name="connsiteX8" fmla="*/ 0 w 72474"/>
                  <a:gd name="connsiteY8" fmla="*/ 55 h 112782"/>
                  <a:gd name="connsiteX9" fmla="*/ 13640 w 72474"/>
                  <a:gd name="connsiteY9" fmla="*/ 55 h 112782"/>
                  <a:gd name="connsiteX10" fmla="*/ 34406 w 72474"/>
                  <a:gd name="connsiteY10" fmla="*/ 59001 h 112782"/>
                  <a:gd name="connsiteX11" fmla="*/ 35974 w 72474"/>
                  <a:gd name="connsiteY11" fmla="*/ 64850 h 112782"/>
                  <a:gd name="connsiteX12" fmla="*/ 36424 w 72474"/>
                  <a:gd name="connsiteY12" fmla="*/ 64850 h 112782"/>
                  <a:gd name="connsiteX13" fmla="*/ 37926 w 72474"/>
                  <a:gd name="connsiteY13" fmla="*/ 59154 h 112782"/>
                  <a:gd name="connsiteX14" fmla="*/ 59734 w 72474"/>
                  <a:gd name="connsiteY14" fmla="*/ 0 h 11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74" h="112782">
                    <a:moveTo>
                      <a:pt x="72474" y="0"/>
                    </a:moveTo>
                    <a:lnTo>
                      <a:pt x="37180" y="88961"/>
                    </a:lnTo>
                    <a:cubicBezTo>
                      <a:pt x="30876" y="104834"/>
                      <a:pt x="22027" y="112765"/>
                      <a:pt x="10647" y="112776"/>
                    </a:cubicBezTo>
                    <a:cubicBezTo>
                      <a:pt x="7938" y="112831"/>
                      <a:pt x="5241" y="112502"/>
                      <a:pt x="2620" y="111801"/>
                    </a:cubicBezTo>
                    <a:lnTo>
                      <a:pt x="2620" y="100847"/>
                    </a:lnTo>
                    <a:cubicBezTo>
                      <a:pt x="4956" y="101690"/>
                      <a:pt x="7412" y="102140"/>
                      <a:pt x="9890" y="102194"/>
                    </a:cubicBezTo>
                    <a:cubicBezTo>
                      <a:pt x="16468" y="101942"/>
                      <a:pt x="22115" y="97451"/>
                      <a:pt x="23837" y="91108"/>
                    </a:cubicBezTo>
                    <a:lnTo>
                      <a:pt x="29977" y="76583"/>
                    </a:lnTo>
                    <a:lnTo>
                      <a:pt x="0" y="55"/>
                    </a:lnTo>
                    <a:lnTo>
                      <a:pt x="13640" y="55"/>
                    </a:lnTo>
                    <a:lnTo>
                      <a:pt x="34406" y="59001"/>
                    </a:lnTo>
                    <a:cubicBezTo>
                      <a:pt x="34659" y="59735"/>
                      <a:pt x="35185" y="61685"/>
                      <a:pt x="35974" y="64850"/>
                    </a:cubicBezTo>
                    <a:lnTo>
                      <a:pt x="36424" y="64850"/>
                    </a:lnTo>
                    <a:cubicBezTo>
                      <a:pt x="36687" y="63645"/>
                      <a:pt x="37180" y="61750"/>
                      <a:pt x="37926" y="59154"/>
                    </a:cubicBezTo>
                    <a:lnTo>
                      <a:pt x="59734"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7" name="Freeform: Shape 246">
                <a:extLst>
                  <a:ext uri="{FF2B5EF4-FFF2-40B4-BE49-F238E27FC236}">
                    <a16:creationId xmlns:a16="http://schemas.microsoft.com/office/drawing/2014/main" id="{22D80BC5-0CEB-44C0-284D-388F8ADCE131}"/>
                  </a:ext>
                </a:extLst>
              </p:cNvPr>
              <p:cNvSpPr/>
              <p:nvPr/>
            </p:nvSpPr>
            <p:spPr>
              <a:xfrm>
                <a:off x="3804924" y="3593018"/>
                <a:ext cx="60663" cy="80326"/>
              </a:xfrm>
              <a:custGeom>
                <a:avLst/>
                <a:gdLst>
                  <a:gd name="connsiteX0" fmla="*/ 60653 w 60663"/>
                  <a:gd name="connsiteY0" fmla="*/ 78486 h 80326"/>
                  <a:gd name="connsiteX1" fmla="*/ 48362 w 60663"/>
                  <a:gd name="connsiteY1" fmla="*/ 78486 h 80326"/>
                  <a:gd name="connsiteX2" fmla="*/ 48362 w 60663"/>
                  <a:gd name="connsiteY2" fmla="*/ 66502 h 80326"/>
                  <a:gd name="connsiteX3" fmla="*/ 48066 w 60663"/>
                  <a:gd name="connsiteY3" fmla="*/ 66502 h 80326"/>
                  <a:gd name="connsiteX4" fmla="*/ 24448 w 60663"/>
                  <a:gd name="connsiteY4" fmla="*/ 80283 h 80326"/>
                  <a:gd name="connsiteX5" fmla="*/ 6511 w 60663"/>
                  <a:gd name="connsiteY5" fmla="*/ 74214 h 80326"/>
                  <a:gd name="connsiteX6" fmla="*/ 20 w 60663"/>
                  <a:gd name="connsiteY6" fmla="*/ 58111 h 80326"/>
                  <a:gd name="connsiteX7" fmla="*/ 25348 w 60663"/>
                  <a:gd name="connsiteY7" fmla="*/ 33102 h 80326"/>
                  <a:gd name="connsiteX8" fmla="*/ 48373 w 60663"/>
                  <a:gd name="connsiteY8" fmla="*/ 29882 h 80326"/>
                  <a:gd name="connsiteX9" fmla="*/ 32562 w 60663"/>
                  <a:gd name="connsiteY9" fmla="*/ 10339 h 80326"/>
                  <a:gd name="connsiteX10" fmla="*/ 7519 w 60663"/>
                  <a:gd name="connsiteY10" fmla="*/ 19770 h 80326"/>
                  <a:gd name="connsiteX11" fmla="*/ 7519 w 60663"/>
                  <a:gd name="connsiteY11" fmla="*/ 7195 h 80326"/>
                  <a:gd name="connsiteX12" fmla="*/ 33604 w 60663"/>
                  <a:gd name="connsiteY12" fmla="*/ 9 h 80326"/>
                  <a:gd name="connsiteX13" fmla="*/ 60664 w 60663"/>
                  <a:gd name="connsiteY13" fmla="*/ 28611 h 80326"/>
                  <a:gd name="connsiteX14" fmla="*/ 48362 w 60663"/>
                  <a:gd name="connsiteY14" fmla="*/ 39697 h 80326"/>
                  <a:gd name="connsiteX15" fmla="*/ 29854 w 60663"/>
                  <a:gd name="connsiteY15" fmla="*/ 42238 h 80326"/>
                  <a:gd name="connsiteX16" fmla="*/ 16960 w 60663"/>
                  <a:gd name="connsiteY16" fmla="*/ 46467 h 80326"/>
                  <a:gd name="connsiteX17" fmla="*/ 12574 w 60663"/>
                  <a:gd name="connsiteY17" fmla="*/ 57213 h 80326"/>
                  <a:gd name="connsiteX18" fmla="*/ 16598 w 60663"/>
                  <a:gd name="connsiteY18" fmla="*/ 66393 h 80326"/>
                  <a:gd name="connsiteX19" fmla="*/ 27266 w 60663"/>
                  <a:gd name="connsiteY19" fmla="*/ 69942 h 80326"/>
                  <a:gd name="connsiteX20" fmla="*/ 42375 w 60663"/>
                  <a:gd name="connsiteY20" fmla="*/ 63545 h 80326"/>
                  <a:gd name="connsiteX21" fmla="*/ 48329 w 60663"/>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6"/>
                    </a:moveTo>
                    <a:lnTo>
                      <a:pt x="48362" y="78486"/>
                    </a:lnTo>
                    <a:lnTo>
                      <a:pt x="48362" y="66502"/>
                    </a:lnTo>
                    <a:lnTo>
                      <a:pt x="48066" y="66502"/>
                    </a:lnTo>
                    <a:cubicBezTo>
                      <a:pt x="43494" y="75244"/>
                      <a:pt x="34316" y="80590"/>
                      <a:pt x="24448" y="80283"/>
                    </a:cubicBezTo>
                    <a:cubicBezTo>
                      <a:pt x="17903" y="80666"/>
                      <a:pt x="11478" y="78486"/>
                      <a:pt x="6511" y="74214"/>
                    </a:cubicBezTo>
                    <a:cubicBezTo>
                      <a:pt x="2125" y="70030"/>
                      <a:pt x="-243" y="64158"/>
                      <a:pt x="20" y="58111"/>
                    </a:cubicBezTo>
                    <a:cubicBezTo>
                      <a:pt x="20" y="43783"/>
                      <a:pt x="8462" y="35446"/>
                      <a:pt x="25348" y="33102"/>
                    </a:cubicBezTo>
                    <a:lnTo>
                      <a:pt x="48373" y="29882"/>
                    </a:lnTo>
                    <a:cubicBezTo>
                      <a:pt x="48373" y="16857"/>
                      <a:pt x="43099" y="10350"/>
                      <a:pt x="32562" y="10339"/>
                    </a:cubicBezTo>
                    <a:cubicBezTo>
                      <a:pt x="23341" y="10328"/>
                      <a:pt x="14438" y="13680"/>
                      <a:pt x="7519" y="19770"/>
                    </a:cubicBezTo>
                    <a:lnTo>
                      <a:pt x="7519" y="7195"/>
                    </a:lnTo>
                    <a:cubicBezTo>
                      <a:pt x="15337" y="2331"/>
                      <a:pt x="24394" y="-167"/>
                      <a:pt x="33604" y="9"/>
                    </a:cubicBezTo>
                    <a:cubicBezTo>
                      <a:pt x="51651" y="9"/>
                      <a:pt x="60675" y="9539"/>
                      <a:pt x="60664" y="28611"/>
                    </a:cubicBezTo>
                    <a:close/>
                    <a:moveTo>
                      <a:pt x="48362" y="39697"/>
                    </a:moveTo>
                    <a:lnTo>
                      <a:pt x="29854" y="42238"/>
                    </a:lnTo>
                    <a:cubicBezTo>
                      <a:pt x="25293" y="42654"/>
                      <a:pt x="20885" y="44100"/>
                      <a:pt x="16960" y="46467"/>
                    </a:cubicBezTo>
                    <a:cubicBezTo>
                      <a:pt x="13780" y="49085"/>
                      <a:pt x="12136" y="53127"/>
                      <a:pt x="12574" y="57213"/>
                    </a:cubicBezTo>
                    <a:cubicBezTo>
                      <a:pt x="12464" y="60718"/>
                      <a:pt x="13944" y="64092"/>
                      <a:pt x="16598" y="66393"/>
                    </a:cubicBezTo>
                    <a:cubicBezTo>
                      <a:pt x="19580" y="68868"/>
                      <a:pt x="23396" y="70139"/>
                      <a:pt x="27266" y="69942"/>
                    </a:cubicBezTo>
                    <a:cubicBezTo>
                      <a:pt x="32990" y="70106"/>
                      <a:pt x="38505" y="67762"/>
                      <a:pt x="42375" y="63545"/>
                    </a:cubicBezTo>
                    <a:cubicBezTo>
                      <a:pt x="46399" y="59119"/>
                      <a:pt x="48537" y="53302"/>
                      <a:pt x="48329" y="473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8" name="Freeform: Shape 247">
                <a:extLst>
                  <a:ext uri="{FF2B5EF4-FFF2-40B4-BE49-F238E27FC236}">
                    <a16:creationId xmlns:a16="http://schemas.microsoft.com/office/drawing/2014/main" id="{B7F232C2-FB13-C45F-B764-F57A79AD3AFD}"/>
                  </a:ext>
                </a:extLst>
              </p:cNvPr>
              <p:cNvSpPr/>
              <p:nvPr/>
            </p:nvSpPr>
            <p:spPr>
              <a:xfrm>
                <a:off x="3887692" y="3593013"/>
                <a:ext cx="63819" cy="78523"/>
              </a:xfrm>
              <a:custGeom>
                <a:avLst/>
                <a:gdLst>
                  <a:gd name="connsiteX0" fmla="*/ 63758 w 63819"/>
                  <a:gd name="connsiteY0" fmla="*/ 78491 h 78523"/>
                  <a:gd name="connsiteX1" fmla="*/ 51412 w 63819"/>
                  <a:gd name="connsiteY1" fmla="*/ 78491 h 78523"/>
                  <a:gd name="connsiteX2" fmla="*/ 51412 w 63819"/>
                  <a:gd name="connsiteY2" fmla="*/ 34761 h 78523"/>
                  <a:gd name="connsiteX3" fmla="*/ 33573 w 63819"/>
                  <a:gd name="connsiteY3" fmla="*/ 10343 h 78523"/>
                  <a:gd name="connsiteX4" fmla="*/ 18321 w 63819"/>
                  <a:gd name="connsiteY4" fmla="*/ 17266 h 78523"/>
                  <a:gd name="connsiteX5" fmla="*/ 12291 w 63819"/>
                  <a:gd name="connsiteY5" fmla="*/ 34794 h 78523"/>
                  <a:gd name="connsiteX6" fmla="*/ 12291 w 63819"/>
                  <a:gd name="connsiteY6" fmla="*/ 78524 h 78523"/>
                  <a:gd name="connsiteX7" fmla="*/ 0 w 63819"/>
                  <a:gd name="connsiteY7" fmla="*/ 78524 h 78523"/>
                  <a:gd name="connsiteX8" fmla="*/ 0 w 63819"/>
                  <a:gd name="connsiteY8" fmla="*/ 1843 h 78523"/>
                  <a:gd name="connsiteX9" fmla="*/ 12291 w 63819"/>
                  <a:gd name="connsiteY9" fmla="*/ 1843 h 78523"/>
                  <a:gd name="connsiteX10" fmla="*/ 12291 w 63819"/>
                  <a:gd name="connsiteY10" fmla="*/ 14572 h 78523"/>
                  <a:gd name="connsiteX11" fmla="*/ 12587 w 63819"/>
                  <a:gd name="connsiteY11" fmla="*/ 14572 h 78523"/>
                  <a:gd name="connsiteX12" fmla="*/ 37805 w 63819"/>
                  <a:gd name="connsiteY12" fmla="*/ 46 h 78523"/>
                  <a:gd name="connsiteX13" fmla="*/ 57070 w 63819"/>
                  <a:gd name="connsiteY13" fmla="*/ 8163 h 78523"/>
                  <a:gd name="connsiteX14" fmla="*/ 63736 w 63819"/>
                  <a:gd name="connsiteY14" fmla="*/ 31639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23">
                    <a:moveTo>
                      <a:pt x="63758" y="78491"/>
                    </a:moveTo>
                    <a:lnTo>
                      <a:pt x="51412" y="78491"/>
                    </a:lnTo>
                    <a:lnTo>
                      <a:pt x="51412" y="34761"/>
                    </a:lnTo>
                    <a:cubicBezTo>
                      <a:pt x="51412" y="18482"/>
                      <a:pt x="45469" y="10343"/>
                      <a:pt x="33573" y="10343"/>
                    </a:cubicBezTo>
                    <a:cubicBezTo>
                      <a:pt x="27707" y="10223"/>
                      <a:pt x="22093" y="12764"/>
                      <a:pt x="18321" y="17266"/>
                    </a:cubicBezTo>
                    <a:cubicBezTo>
                      <a:pt x="14199" y="22152"/>
                      <a:pt x="12050" y="28407"/>
                      <a:pt x="12291" y="34794"/>
                    </a:cubicBezTo>
                    <a:lnTo>
                      <a:pt x="12291" y="78524"/>
                    </a:lnTo>
                    <a:lnTo>
                      <a:pt x="0" y="78524"/>
                    </a:lnTo>
                    <a:lnTo>
                      <a:pt x="0" y="1843"/>
                    </a:lnTo>
                    <a:lnTo>
                      <a:pt x="12291" y="1843"/>
                    </a:lnTo>
                    <a:lnTo>
                      <a:pt x="12291" y="14572"/>
                    </a:lnTo>
                    <a:lnTo>
                      <a:pt x="12587" y="14572"/>
                    </a:lnTo>
                    <a:cubicBezTo>
                      <a:pt x="17565" y="5359"/>
                      <a:pt x="27323" y="-272"/>
                      <a:pt x="37805" y="46"/>
                    </a:cubicBezTo>
                    <a:cubicBezTo>
                      <a:pt x="45140" y="-414"/>
                      <a:pt x="52278" y="2598"/>
                      <a:pt x="57070" y="8163"/>
                    </a:cubicBezTo>
                    <a:cubicBezTo>
                      <a:pt x="61949" y="14977"/>
                      <a:pt x="64306" y="23280"/>
                      <a:pt x="63736" y="3163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9" name="Freeform: Shape 248">
                <a:extLst>
                  <a:ext uri="{FF2B5EF4-FFF2-40B4-BE49-F238E27FC236}">
                    <a16:creationId xmlns:a16="http://schemas.microsoft.com/office/drawing/2014/main" id="{6CE5AF76-8B53-C8A8-DC40-F303AEB7DC5D}"/>
                  </a:ext>
                </a:extLst>
              </p:cNvPr>
              <p:cNvSpPr/>
              <p:nvPr/>
            </p:nvSpPr>
            <p:spPr>
              <a:xfrm>
                <a:off x="3969159" y="3557972"/>
                <a:ext cx="70818" cy="115364"/>
              </a:xfrm>
              <a:custGeom>
                <a:avLst/>
                <a:gdLst>
                  <a:gd name="connsiteX0" fmla="*/ 70818 w 70818"/>
                  <a:gd name="connsiteY0" fmla="*/ 113532 h 115364"/>
                  <a:gd name="connsiteX1" fmla="*/ 58527 w 70818"/>
                  <a:gd name="connsiteY1" fmla="*/ 113532 h 115364"/>
                  <a:gd name="connsiteX2" fmla="*/ 58527 w 70818"/>
                  <a:gd name="connsiteY2" fmla="*/ 100496 h 115364"/>
                  <a:gd name="connsiteX3" fmla="*/ 58231 w 70818"/>
                  <a:gd name="connsiteY3" fmla="*/ 100496 h 115364"/>
                  <a:gd name="connsiteX4" fmla="*/ 31850 w 70818"/>
                  <a:gd name="connsiteY4" fmla="*/ 115329 h 115364"/>
                  <a:gd name="connsiteX5" fmla="*/ 8727 w 70818"/>
                  <a:gd name="connsiteY5" fmla="*/ 105031 h 115364"/>
                  <a:gd name="connsiteX6" fmla="*/ 65 w 70818"/>
                  <a:gd name="connsiteY6" fmla="*/ 76988 h 115364"/>
                  <a:gd name="connsiteX7" fmla="*/ 9659 w 70818"/>
                  <a:gd name="connsiteY7" fmla="*/ 46513 h 115364"/>
                  <a:gd name="connsiteX8" fmla="*/ 35217 w 70818"/>
                  <a:gd name="connsiteY8" fmla="*/ 35054 h 115364"/>
                  <a:gd name="connsiteX9" fmla="*/ 58242 w 70818"/>
                  <a:gd name="connsiteY9" fmla="*/ 47477 h 115364"/>
                  <a:gd name="connsiteX10" fmla="*/ 58538 w 70818"/>
                  <a:gd name="connsiteY10" fmla="*/ 47477 h 115364"/>
                  <a:gd name="connsiteX11" fmla="*/ 58538 w 70818"/>
                  <a:gd name="connsiteY11" fmla="*/ 0 h 115364"/>
                  <a:gd name="connsiteX12" fmla="*/ 70818 w 70818"/>
                  <a:gd name="connsiteY12" fmla="*/ 0 h 115364"/>
                  <a:gd name="connsiteX13" fmla="*/ 58527 w 70818"/>
                  <a:gd name="connsiteY13" fmla="*/ 78861 h 115364"/>
                  <a:gd name="connsiteX14" fmla="*/ 58527 w 70818"/>
                  <a:gd name="connsiteY14" fmla="*/ 67545 h 115364"/>
                  <a:gd name="connsiteX15" fmla="*/ 52387 w 70818"/>
                  <a:gd name="connsiteY15" fmla="*/ 51826 h 115364"/>
                  <a:gd name="connsiteX16" fmla="*/ 36796 w 70818"/>
                  <a:gd name="connsiteY16" fmla="*/ 45384 h 115364"/>
                  <a:gd name="connsiteX17" fmla="*/ 19110 w 70818"/>
                  <a:gd name="connsiteY17" fmla="*/ 53622 h 115364"/>
                  <a:gd name="connsiteX18" fmla="*/ 12663 w 70818"/>
                  <a:gd name="connsiteY18" fmla="*/ 76386 h 115364"/>
                  <a:gd name="connsiteX19" fmla="*/ 18847 w 70818"/>
                  <a:gd name="connsiteY19" fmla="*/ 97320 h 115364"/>
                  <a:gd name="connsiteX20" fmla="*/ 35447 w 70818"/>
                  <a:gd name="connsiteY20" fmla="*/ 104988 h 115364"/>
                  <a:gd name="connsiteX21" fmla="*/ 52124 w 70818"/>
                  <a:gd name="connsiteY21" fmla="*/ 97582 h 115364"/>
                  <a:gd name="connsiteX22" fmla="*/ 58527 w 70818"/>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18" h="115364">
                    <a:moveTo>
                      <a:pt x="70818" y="113532"/>
                    </a:moveTo>
                    <a:lnTo>
                      <a:pt x="58527" y="113532"/>
                    </a:lnTo>
                    <a:lnTo>
                      <a:pt x="58527" y="100496"/>
                    </a:lnTo>
                    <a:lnTo>
                      <a:pt x="58231" y="100496"/>
                    </a:lnTo>
                    <a:cubicBezTo>
                      <a:pt x="53034" y="110103"/>
                      <a:pt x="42771" y="115876"/>
                      <a:pt x="31850" y="115329"/>
                    </a:cubicBezTo>
                    <a:cubicBezTo>
                      <a:pt x="22958" y="115657"/>
                      <a:pt x="14417" y="111856"/>
                      <a:pt x="8727" y="105031"/>
                    </a:cubicBezTo>
                    <a:cubicBezTo>
                      <a:pt x="2576" y="97013"/>
                      <a:pt x="-494" y="87066"/>
                      <a:pt x="65" y="76988"/>
                    </a:cubicBezTo>
                    <a:cubicBezTo>
                      <a:pt x="-484" y="66012"/>
                      <a:pt x="2916" y="55200"/>
                      <a:pt x="9659" y="46513"/>
                    </a:cubicBezTo>
                    <a:cubicBezTo>
                      <a:pt x="15930" y="38932"/>
                      <a:pt x="25382" y="34693"/>
                      <a:pt x="35217" y="35054"/>
                    </a:cubicBezTo>
                    <a:cubicBezTo>
                      <a:pt x="44646" y="34441"/>
                      <a:pt x="53593" y="39261"/>
                      <a:pt x="58242" y="47477"/>
                    </a:cubicBezTo>
                    <a:lnTo>
                      <a:pt x="58538" y="47477"/>
                    </a:lnTo>
                    <a:lnTo>
                      <a:pt x="58538" y="0"/>
                    </a:lnTo>
                    <a:lnTo>
                      <a:pt x="70818" y="0"/>
                    </a:lnTo>
                    <a:close/>
                    <a:moveTo>
                      <a:pt x="58527" y="78861"/>
                    </a:moveTo>
                    <a:lnTo>
                      <a:pt x="58527" y="67545"/>
                    </a:lnTo>
                    <a:cubicBezTo>
                      <a:pt x="58658" y="61696"/>
                      <a:pt x="56455" y="56032"/>
                      <a:pt x="52387" y="51826"/>
                    </a:cubicBezTo>
                    <a:cubicBezTo>
                      <a:pt x="48352" y="47553"/>
                      <a:pt x="42672" y="45209"/>
                      <a:pt x="36796" y="45384"/>
                    </a:cubicBezTo>
                    <a:cubicBezTo>
                      <a:pt x="29910" y="45100"/>
                      <a:pt x="23320" y="48167"/>
                      <a:pt x="19110" y="53622"/>
                    </a:cubicBezTo>
                    <a:cubicBezTo>
                      <a:pt x="14461" y="60271"/>
                      <a:pt x="12191" y="68290"/>
                      <a:pt x="12663" y="76386"/>
                    </a:cubicBezTo>
                    <a:cubicBezTo>
                      <a:pt x="12246" y="83867"/>
                      <a:pt x="14428" y="91262"/>
                      <a:pt x="18847" y="97320"/>
                    </a:cubicBezTo>
                    <a:cubicBezTo>
                      <a:pt x="22838" y="102370"/>
                      <a:pt x="29011" y="105218"/>
                      <a:pt x="35447" y="104988"/>
                    </a:cubicBezTo>
                    <a:cubicBezTo>
                      <a:pt x="41850" y="105196"/>
                      <a:pt x="47990" y="102468"/>
                      <a:pt x="52124" y="97582"/>
                    </a:cubicBezTo>
                    <a:cubicBezTo>
                      <a:pt x="56499" y="92346"/>
                      <a:pt x="58779" y="85675"/>
                      <a:pt x="58527" y="788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0" name="Freeform: Shape 249">
                <a:extLst>
                  <a:ext uri="{FF2B5EF4-FFF2-40B4-BE49-F238E27FC236}">
                    <a16:creationId xmlns:a16="http://schemas.microsoft.com/office/drawing/2014/main" id="{878F097E-F435-E274-0B3F-8ABF65B85496}"/>
                  </a:ext>
                </a:extLst>
              </p:cNvPr>
              <p:cNvSpPr/>
              <p:nvPr/>
            </p:nvSpPr>
            <p:spPr>
              <a:xfrm>
                <a:off x="4101597" y="3557972"/>
                <a:ext cx="70828" cy="115364"/>
              </a:xfrm>
              <a:custGeom>
                <a:avLst/>
                <a:gdLst>
                  <a:gd name="connsiteX0" fmla="*/ 70818 w 70828"/>
                  <a:gd name="connsiteY0" fmla="*/ 113532 h 115364"/>
                  <a:gd name="connsiteX1" fmla="*/ 58527 w 70828"/>
                  <a:gd name="connsiteY1" fmla="*/ 113532 h 115364"/>
                  <a:gd name="connsiteX2" fmla="*/ 58527 w 70828"/>
                  <a:gd name="connsiteY2" fmla="*/ 100496 h 115364"/>
                  <a:gd name="connsiteX3" fmla="*/ 58231 w 70828"/>
                  <a:gd name="connsiteY3" fmla="*/ 100496 h 115364"/>
                  <a:gd name="connsiteX4" fmla="*/ 31851 w 70828"/>
                  <a:gd name="connsiteY4" fmla="*/ 115329 h 115364"/>
                  <a:gd name="connsiteX5" fmla="*/ 8727 w 70828"/>
                  <a:gd name="connsiteY5" fmla="*/ 105031 h 115364"/>
                  <a:gd name="connsiteX6" fmla="*/ 65 w 70828"/>
                  <a:gd name="connsiteY6" fmla="*/ 76988 h 115364"/>
                  <a:gd name="connsiteX7" fmla="*/ 9659 w 70828"/>
                  <a:gd name="connsiteY7" fmla="*/ 46513 h 115364"/>
                  <a:gd name="connsiteX8" fmla="*/ 35217 w 70828"/>
                  <a:gd name="connsiteY8" fmla="*/ 35054 h 115364"/>
                  <a:gd name="connsiteX9" fmla="*/ 58242 w 70828"/>
                  <a:gd name="connsiteY9" fmla="*/ 47477 h 115364"/>
                  <a:gd name="connsiteX10" fmla="*/ 58538 w 70828"/>
                  <a:gd name="connsiteY10" fmla="*/ 47477 h 115364"/>
                  <a:gd name="connsiteX11" fmla="*/ 58538 w 70828"/>
                  <a:gd name="connsiteY11" fmla="*/ 0 h 115364"/>
                  <a:gd name="connsiteX12" fmla="*/ 70829 w 70828"/>
                  <a:gd name="connsiteY12" fmla="*/ 0 h 115364"/>
                  <a:gd name="connsiteX13" fmla="*/ 58527 w 70828"/>
                  <a:gd name="connsiteY13" fmla="*/ 78861 h 115364"/>
                  <a:gd name="connsiteX14" fmla="*/ 58527 w 70828"/>
                  <a:gd name="connsiteY14" fmla="*/ 67545 h 115364"/>
                  <a:gd name="connsiteX15" fmla="*/ 52387 w 70828"/>
                  <a:gd name="connsiteY15" fmla="*/ 51826 h 115364"/>
                  <a:gd name="connsiteX16" fmla="*/ 36795 w 70828"/>
                  <a:gd name="connsiteY16" fmla="*/ 45384 h 115364"/>
                  <a:gd name="connsiteX17" fmla="*/ 19110 w 70828"/>
                  <a:gd name="connsiteY17" fmla="*/ 53622 h 115364"/>
                  <a:gd name="connsiteX18" fmla="*/ 12663 w 70828"/>
                  <a:gd name="connsiteY18" fmla="*/ 76386 h 115364"/>
                  <a:gd name="connsiteX19" fmla="*/ 18847 w 70828"/>
                  <a:gd name="connsiteY19" fmla="*/ 97320 h 115364"/>
                  <a:gd name="connsiteX20" fmla="*/ 35447 w 70828"/>
                  <a:gd name="connsiteY20" fmla="*/ 104988 h 115364"/>
                  <a:gd name="connsiteX21" fmla="*/ 52124 w 70828"/>
                  <a:gd name="connsiteY21" fmla="*/ 97582 h 115364"/>
                  <a:gd name="connsiteX22" fmla="*/ 58527 w 70828"/>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28" h="115364">
                    <a:moveTo>
                      <a:pt x="70818" y="113532"/>
                    </a:moveTo>
                    <a:lnTo>
                      <a:pt x="58527" y="113532"/>
                    </a:lnTo>
                    <a:lnTo>
                      <a:pt x="58527" y="100496"/>
                    </a:lnTo>
                    <a:lnTo>
                      <a:pt x="58231" y="100496"/>
                    </a:lnTo>
                    <a:cubicBezTo>
                      <a:pt x="53034" y="110103"/>
                      <a:pt x="42771" y="115876"/>
                      <a:pt x="31851" y="115329"/>
                    </a:cubicBezTo>
                    <a:cubicBezTo>
                      <a:pt x="22958" y="115657"/>
                      <a:pt x="14417" y="111856"/>
                      <a:pt x="8727" y="105031"/>
                    </a:cubicBezTo>
                    <a:cubicBezTo>
                      <a:pt x="2575" y="97013"/>
                      <a:pt x="-495" y="87066"/>
                      <a:pt x="65" y="76988"/>
                    </a:cubicBezTo>
                    <a:cubicBezTo>
                      <a:pt x="-483" y="66012"/>
                      <a:pt x="2915" y="55200"/>
                      <a:pt x="9659" y="46513"/>
                    </a:cubicBezTo>
                    <a:cubicBezTo>
                      <a:pt x="15930" y="38932"/>
                      <a:pt x="25382" y="34693"/>
                      <a:pt x="35217" y="35054"/>
                    </a:cubicBezTo>
                    <a:cubicBezTo>
                      <a:pt x="44646" y="34441"/>
                      <a:pt x="53593" y="39261"/>
                      <a:pt x="58242" y="47477"/>
                    </a:cubicBezTo>
                    <a:lnTo>
                      <a:pt x="58538" y="47477"/>
                    </a:lnTo>
                    <a:lnTo>
                      <a:pt x="58538" y="0"/>
                    </a:lnTo>
                    <a:lnTo>
                      <a:pt x="70829" y="0"/>
                    </a:lnTo>
                    <a:close/>
                    <a:moveTo>
                      <a:pt x="58527" y="78861"/>
                    </a:moveTo>
                    <a:lnTo>
                      <a:pt x="58527" y="67545"/>
                    </a:lnTo>
                    <a:cubicBezTo>
                      <a:pt x="58659" y="61696"/>
                      <a:pt x="56455" y="56032"/>
                      <a:pt x="52387" y="51826"/>
                    </a:cubicBezTo>
                    <a:cubicBezTo>
                      <a:pt x="48352" y="47553"/>
                      <a:pt x="42672" y="45209"/>
                      <a:pt x="36795" y="45384"/>
                    </a:cubicBezTo>
                    <a:cubicBezTo>
                      <a:pt x="29910" y="45100"/>
                      <a:pt x="23320" y="48167"/>
                      <a:pt x="19110" y="53622"/>
                    </a:cubicBezTo>
                    <a:cubicBezTo>
                      <a:pt x="14461" y="60271"/>
                      <a:pt x="12191" y="68290"/>
                      <a:pt x="12663" y="76386"/>
                    </a:cubicBezTo>
                    <a:cubicBezTo>
                      <a:pt x="12246" y="83867"/>
                      <a:pt x="14428" y="91262"/>
                      <a:pt x="18847" y="97320"/>
                    </a:cubicBezTo>
                    <a:cubicBezTo>
                      <a:pt x="22838" y="102370"/>
                      <a:pt x="29011" y="105218"/>
                      <a:pt x="35447" y="104988"/>
                    </a:cubicBezTo>
                    <a:cubicBezTo>
                      <a:pt x="41850" y="105196"/>
                      <a:pt x="47990" y="102468"/>
                      <a:pt x="52124" y="97582"/>
                    </a:cubicBezTo>
                    <a:cubicBezTo>
                      <a:pt x="56498" y="92346"/>
                      <a:pt x="58779" y="85675"/>
                      <a:pt x="58527" y="788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1" name="Freeform: Shape 250">
                <a:extLst>
                  <a:ext uri="{FF2B5EF4-FFF2-40B4-BE49-F238E27FC236}">
                    <a16:creationId xmlns:a16="http://schemas.microsoft.com/office/drawing/2014/main" id="{7009420C-C806-C7A1-5D3F-FD81F13BBD6B}"/>
                  </a:ext>
                </a:extLst>
              </p:cNvPr>
              <p:cNvSpPr/>
              <p:nvPr/>
            </p:nvSpPr>
            <p:spPr>
              <a:xfrm>
                <a:off x="4193958" y="3559394"/>
                <a:ext cx="16046" cy="112109"/>
              </a:xfrm>
              <a:custGeom>
                <a:avLst/>
                <a:gdLst>
                  <a:gd name="connsiteX0" fmla="*/ 7951 w 16046"/>
                  <a:gd name="connsiteY0" fmla="*/ 15951 h 112109"/>
                  <a:gd name="connsiteX1" fmla="*/ 2327 w 16046"/>
                  <a:gd name="connsiteY1" fmla="*/ 13706 h 112109"/>
                  <a:gd name="connsiteX2" fmla="*/ 3 w 16046"/>
                  <a:gd name="connsiteY2" fmla="*/ 8020 h 112109"/>
                  <a:gd name="connsiteX3" fmla="*/ 7743 w 16046"/>
                  <a:gd name="connsiteY3" fmla="*/ 2 h 112109"/>
                  <a:gd name="connsiteX4" fmla="*/ 7951 w 16046"/>
                  <a:gd name="connsiteY4" fmla="*/ 2 h 112109"/>
                  <a:gd name="connsiteX5" fmla="*/ 13686 w 16046"/>
                  <a:gd name="connsiteY5" fmla="*/ 2291 h 112109"/>
                  <a:gd name="connsiteX6" fmla="*/ 13719 w 16046"/>
                  <a:gd name="connsiteY6" fmla="*/ 13596 h 112109"/>
                  <a:gd name="connsiteX7" fmla="*/ 13686 w 16046"/>
                  <a:gd name="connsiteY7" fmla="*/ 13629 h 112109"/>
                  <a:gd name="connsiteX8" fmla="*/ 7951 w 16046"/>
                  <a:gd name="connsiteY8" fmla="*/ 15951 h 112109"/>
                  <a:gd name="connsiteX9" fmla="*/ 13949 w 16046"/>
                  <a:gd name="connsiteY9" fmla="*/ 112110 h 112109"/>
                  <a:gd name="connsiteX10" fmla="*/ 1713 w 16046"/>
                  <a:gd name="connsiteY10" fmla="*/ 112110 h 112109"/>
                  <a:gd name="connsiteX11" fmla="*/ 1713 w 16046"/>
                  <a:gd name="connsiteY11" fmla="*/ 35428 h 112109"/>
                  <a:gd name="connsiteX12" fmla="*/ 14004 w 16046"/>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6" h="112109">
                    <a:moveTo>
                      <a:pt x="7951" y="15951"/>
                    </a:moveTo>
                    <a:cubicBezTo>
                      <a:pt x="5846" y="15984"/>
                      <a:pt x="3818" y="15185"/>
                      <a:pt x="2327" y="13706"/>
                    </a:cubicBezTo>
                    <a:cubicBezTo>
                      <a:pt x="792" y="12216"/>
                      <a:pt x="-52" y="10156"/>
                      <a:pt x="3" y="8020"/>
                    </a:cubicBezTo>
                    <a:cubicBezTo>
                      <a:pt x="-74" y="3671"/>
                      <a:pt x="3390" y="78"/>
                      <a:pt x="7743" y="2"/>
                    </a:cubicBezTo>
                    <a:cubicBezTo>
                      <a:pt x="7809" y="2"/>
                      <a:pt x="7886" y="2"/>
                      <a:pt x="7951" y="2"/>
                    </a:cubicBezTo>
                    <a:cubicBezTo>
                      <a:pt x="10090" y="-42"/>
                      <a:pt x="12162" y="790"/>
                      <a:pt x="13686" y="2291"/>
                    </a:cubicBezTo>
                    <a:cubicBezTo>
                      <a:pt x="16822" y="5402"/>
                      <a:pt x="16833" y="10474"/>
                      <a:pt x="13719" y="13596"/>
                    </a:cubicBezTo>
                    <a:cubicBezTo>
                      <a:pt x="13708" y="13607"/>
                      <a:pt x="13697" y="13618"/>
                      <a:pt x="13686" y="13629"/>
                    </a:cubicBezTo>
                    <a:cubicBezTo>
                      <a:pt x="12173" y="15152"/>
                      <a:pt x="10101" y="15995"/>
                      <a:pt x="7951" y="15951"/>
                    </a:cubicBezTo>
                    <a:close/>
                    <a:moveTo>
                      <a:pt x="13949" y="112110"/>
                    </a:moveTo>
                    <a:lnTo>
                      <a:pt x="1713" y="112110"/>
                    </a:lnTo>
                    <a:lnTo>
                      <a:pt x="1713" y="35428"/>
                    </a:lnTo>
                    <a:lnTo>
                      <a:pt x="14004" y="35428"/>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2" name="Freeform: Shape 251">
                <a:extLst>
                  <a:ext uri="{FF2B5EF4-FFF2-40B4-BE49-F238E27FC236}">
                    <a16:creationId xmlns:a16="http://schemas.microsoft.com/office/drawing/2014/main" id="{D08B26D9-AC15-4245-8CE2-323E6C425E8B}"/>
                  </a:ext>
                </a:extLst>
              </p:cNvPr>
              <p:cNvSpPr/>
              <p:nvPr/>
            </p:nvSpPr>
            <p:spPr>
              <a:xfrm>
                <a:off x="4231108" y="3593456"/>
                <a:ext cx="40019" cy="78048"/>
              </a:xfrm>
              <a:custGeom>
                <a:avLst/>
                <a:gdLst>
                  <a:gd name="connsiteX0" fmla="*/ 40020 w 40019"/>
                  <a:gd name="connsiteY0" fmla="*/ 13789 h 78048"/>
                  <a:gd name="connsiteX1" fmla="*/ 30733 w 40019"/>
                  <a:gd name="connsiteY1" fmla="*/ 11325 h 78048"/>
                  <a:gd name="connsiteX2" fmla="*/ 17576 w 40019"/>
                  <a:gd name="connsiteY2" fmla="*/ 18741 h 78048"/>
                  <a:gd name="connsiteX3" fmla="*/ 12291 w 40019"/>
                  <a:gd name="connsiteY3" fmla="*/ 38952 h 78048"/>
                  <a:gd name="connsiteX4" fmla="*/ 12291 w 40019"/>
                  <a:gd name="connsiteY4" fmla="*/ 78048 h 78048"/>
                  <a:gd name="connsiteX5" fmla="*/ 0 w 40019"/>
                  <a:gd name="connsiteY5" fmla="*/ 78048 h 78048"/>
                  <a:gd name="connsiteX6" fmla="*/ 0 w 40019"/>
                  <a:gd name="connsiteY6" fmla="*/ 1367 h 78048"/>
                  <a:gd name="connsiteX7" fmla="*/ 12291 w 40019"/>
                  <a:gd name="connsiteY7" fmla="*/ 1367 h 78048"/>
                  <a:gd name="connsiteX8" fmla="*/ 12291 w 40019"/>
                  <a:gd name="connsiteY8" fmla="*/ 17163 h 78048"/>
                  <a:gd name="connsiteX9" fmla="*/ 12587 w 40019"/>
                  <a:gd name="connsiteY9" fmla="*/ 17163 h 78048"/>
                  <a:gd name="connsiteX10" fmla="*/ 20613 w 40019"/>
                  <a:gd name="connsiteY10" fmla="*/ 4544 h 78048"/>
                  <a:gd name="connsiteX11" fmla="*/ 32674 w 40019"/>
                  <a:gd name="connsiteY11" fmla="*/ 20 h 78048"/>
                  <a:gd name="connsiteX12" fmla="*/ 40020 w 40019"/>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19" h="78048">
                    <a:moveTo>
                      <a:pt x="40020" y="13789"/>
                    </a:moveTo>
                    <a:cubicBezTo>
                      <a:pt x="37279" y="11971"/>
                      <a:pt x="34011" y="11106"/>
                      <a:pt x="30733" y="11325"/>
                    </a:cubicBezTo>
                    <a:cubicBezTo>
                      <a:pt x="25361" y="11379"/>
                      <a:pt x="20405" y="14184"/>
                      <a:pt x="17576" y="18741"/>
                    </a:cubicBezTo>
                    <a:cubicBezTo>
                      <a:pt x="13749" y="24766"/>
                      <a:pt x="11896" y="31831"/>
                      <a:pt x="12291" y="38952"/>
                    </a:cubicBezTo>
                    <a:lnTo>
                      <a:pt x="12291" y="78048"/>
                    </a:lnTo>
                    <a:lnTo>
                      <a:pt x="0" y="78048"/>
                    </a:lnTo>
                    <a:lnTo>
                      <a:pt x="0" y="1367"/>
                    </a:lnTo>
                    <a:lnTo>
                      <a:pt x="12291" y="1367"/>
                    </a:lnTo>
                    <a:lnTo>
                      <a:pt x="12291" y="17163"/>
                    </a:lnTo>
                    <a:lnTo>
                      <a:pt x="12587" y="17163"/>
                    </a:lnTo>
                    <a:cubicBezTo>
                      <a:pt x="14012" y="12278"/>
                      <a:pt x="16797" y="7907"/>
                      <a:pt x="20613" y="4544"/>
                    </a:cubicBezTo>
                    <a:cubicBezTo>
                      <a:pt x="23946" y="1619"/>
                      <a:pt x="28233" y="9"/>
                      <a:pt x="32674" y="20"/>
                    </a:cubicBezTo>
                    <a:cubicBezTo>
                      <a:pt x="35163" y="-90"/>
                      <a:pt x="37663" y="261"/>
                      <a:pt x="40020" y="10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3" name="Freeform: Shape 252">
                <a:extLst>
                  <a:ext uri="{FF2B5EF4-FFF2-40B4-BE49-F238E27FC236}">
                    <a16:creationId xmlns:a16="http://schemas.microsoft.com/office/drawing/2014/main" id="{DAD9EF86-787F-99F0-593C-28135F83B213}"/>
                  </a:ext>
                </a:extLst>
              </p:cNvPr>
              <p:cNvSpPr/>
              <p:nvPr/>
            </p:nvSpPr>
            <p:spPr>
              <a:xfrm>
                <a:off x="4279146" y="3592979"/>
                <a:ext cx="67072" cy="80373"/>
              </a:xfrm>
              <a:custGeom>
                <a:avLst/>
                <a:gdLst>
                  <a:gd name="connsiteX0" fmla="*/ 67011 w 67072"/>
                  <a:gd name="connsiteY0" fmla="*/ 43251 h 80373"/>
                  <a:gd name="connsiteX1" fmla="*/ 12826 w 67072"/>
                  <a:gd name="connsiteY1" fmla="*/ 43251 h 80373"/>
                  <a:gd name="connsiteX2" fmla="*/ 19722 w 67072"/>
                  <a:gd name="connsiteY2" fmla="*/ 63024 h 80373"/>
                  <a:gd name="connsiteX3" fmla="*/ 37857 w 67072"/>
                  <a:gd name="connsiteY3" fmla="*/ 69980 h 80373"/>
                  <a:gd name="connsiteX4" fmla="*/ 61694 w 67072"/>
                  <a:gd name="connsiteY4" fmla="*/ 61447 h 80373"/>
                  <a:gd name="connsiteX5" fmla="*/ 61694 w 67072"/>
                  <a:gd name="connsiteY5" fmla="*/ 72982 h 80373"/>
                  <a:gd name="connsiteX6" fmla="*/ 34930 w 67072"/>
                  <a:gd name="connsiteY6" fmla="*/ 80321 h 80373"/>
                  <a:gd name="connsiteX7" fmla="*/ 9372 w 67072"/>
                  <a:gd name="connsiteY7" fmla="*/ 69871 h 80373"/>
                  <a:gd name="connsiteX8" fmla="*/ 85 w 67072"/>
                  <a:gd name="connsiteY8" fmla="*/ 40480 h 80373"/>
                  <a:gd name="connsiteX9" fmla="*/ 10227 w 67072"/>
                  <a:gd name="connsiteY9" fmla="*/ 11308 h 80373"/>
                  <a:gd name="connsiteX10" fmla="*/ 35445 w 67072"/>
                  <a:gd name="connsiteY10" fmla="*/ 47 h 80373"/>
                  <a:gd name="connsiteX11" fmla="*/ 58755 w 67072"/>
                  <a:gd name="connsiteY11" fmla="*/ 9774 h 80373"/>
                  <a:gd name="connsiteX12" fmla="*/ 67000 w 67072"/>
                  <a:gd name="connsiteY12" fmla="*/ 36810 h 80373"/>
                  <a:gd name="connsiteX13" fmla="*/ 54424 w 67072"/>
                  <a:gd name="connsiteY13" fmla="*/ 32845 h 80373"/>
                  <a:gd name="connsiteX14" fmla="*/ 49282 w 67072"/>
                  <a:gd name="connsiteY14" fmla="*/ 16292 h 80373"/>
                  <a:gd name="connsiteX15" fmla="*/ 35237 w 67072"/>
                  <a:gd name="connsiteY15" fmla="*/ 10377 h 80373"/>
                  <a:gd name="connsiteX16" fmla="*/ 20468 w 67072"/>
                  <a:gd name="connsiteY16" fmla="*/ 16588 h 80373"/>
                  <a:gd name="connsiteX17" fmla="*/ 12968 w 67072"/>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72" h="80373">
                    <a:moveTo>
                      <a:pt x="67011" y="43251"/>
                    </a:moveTo>
                    <a:lnTo>
                      <a:pt x="12826" y="43251"/>
                    </a:lnTo>
                    <a:cubicBezTo>
                      <a:pt x="12540" y="50481"/>
                      <a:pt x="15007" y="57547"/>
                      <a:pt x="19722" y="63024"/>
                    </a:cubicBezTo>
                    <a:cubicBezTo>
                      <a:pt x="24503" y="67822"/>
                      <a:pt x="31092" y="70353"/>
                      <a:pt x="37857" y="69980"/>
                    </a:cubicBezTo>
                    <a:cubicBezTo>
                      <a:pt x="46552" y="69969"/>
                      <a:pt x="54973" y="66957"/>
                      <a:pt x="61694" y="61447"/>
                    </a:cubicBezTo>
                    <a:lnTo>
                      <a:pt x="61694" y="72982"/>
                    </a:lnTo>
                    <a:cubicBezTo>
                      <a:pt x="53788" y="78218"/>
                      <a:pt x="44403" y="80781"/>
                      <a:pt x="34930" y="80321"/>
                    </a:cubicBezTo>
                    <a:cubicBezTo>
                      <a:pt x="25281" y="80814"/>
                      <a:pt x="15907" y="76980"/>
                      <a:pt x="9372" y="69871"/>
                    </a:cubicBezTo>
                    <a:cubicBezTo>
                      <a:pt x="2727" y="61567"/>
                      <a:pt x="-584" y="51095"/>
                      <a:pt x="85" y="40480"/>
                    </a:cubicBezTo>
                    <a:cubicBezTo>
                      <a:pt x="-365" y="29821"/>
                      <a:pt x="3264" y="19392"/>
                      <a:pt x="10227" y="11308"/>
                    </a:cubicBezTo>
                    <a:cubicBezTo>
                      <a:pt x="16542" y="4001"/>
                      <a:pt x="25785" y="-117"/>
                      <a:pt x="35445" y="47"/>
                    </a:cubicBezTo>
                    <a:cubicBezTo>
                      <a:pt x="44293" y="-457"/>
                      <a:pt x="52889" y="3125"/>
                      <a:pt x="58755" y="9774"/>
                    </a:cubicBezTo>
                    <a:cubicBezTo>
                      <a:pt x="64654" y="17508"/>
                      <a:pt x="67582" y="27104"/>
                      <a:pt x="67000" y="36810"/>
                    </a:cubicBezTo>
                    <a:close/>
                    <a:moveTo>
                      <a:pt x="54424" y="32845"/>
                    </a:moveTo>
                    <a:cubicBezTo>
                      <a:pt x="54742" y="26896"/>
                      <a:pt x="52922" y="21025"/>
                      <a:pt x="49282" y="16292"/>
                    </a:cubicBezTo>
                    <a:cubicBezTo>
                      <a:pt x="45751" y="12272"/>
                      <a:pt x="40576" y="10103"/>
                      <a:pt x="35237" y="10377"/>
                    </a:cubicBezTo>
                    <a:cubicBezTo>
                      <a:pt x="29656" y="10278"/>
                      <a:pt x="24294" y="12535"/>
                      <a:pt x="20468" y="16588"/>
                    </a:cubicBezTo>
                    <a:cubicBezTo>
                      <a:pt x="16268" y="21047"/>
                      <a:pt x="13637" y="26754"/>
                      <a:pt x="12968" y="3284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4" name="Freeform: Shape 253">
                <a:extLst>
                  <a:ext uri="{FF2B5EF4-FFF2-40B4-BE49-F238E27FC236}">
                    <a16:creationId xmlns:a16="http://schemas.microsoft.com/office/drawing/2014/main" id="{738985B1-8828-75E4-8060-595C512204E9}"/>
                  </a:ext>
                </a:extLst>
              </p:cNvPr>
              <p:cNvSpPr/>
              <p:nvPr/>
            </p:nvSpPr>
            <p:spPr>
              <a:xfrm>
                <a:off x="4359783" y="3592987"/>
                <a:ext cx="57763" cy="80342"/>
              </a:xfrm>
              <a:custGeom>
                <a:avLst/>
                <a:gdLst>
                  <a:gd name="connsiteX0" fmla="*/ 57610 w 57763"/>
                  <a:gd name="connsiteY0" fmla="*/ 74990 h 80342"/>
                  <a:gd name="connsiteX1" fmla="*/ 36624 w 57763"/>
                  <a:gd name="connsiteY1" fmla="*/ 80314 h 80342"/>
                  <a:gd name="connsiteX2" fmla="*/ 10134 w 57763"/>
                  <a:gd name="connsiteY2" fmla="*/ 69644 h 80342"/>
                  <a:gd name="connsiteX3" fmla="*/ 47 w 57763"/>
                  <a:gd name="connsiteY3" fmla="*/ 41973 h 80342"/>
                  <a:gd name="connsiteX4" fmla="*/ 10913 w 57763"/>
                  <a:gd name="connsiteY4" fmla="*/ 11530 h 80342"/>
                  <a:gd name="connsiteX5" fmla="*/ 39925 w 57763"/>
                  <a:gd name="connsiteY5" fmla="*/ 39 h 80342"/>
                  <a:gd name="connsiteX6" fmla="*/ 57764 w 57763"/>
                  <a:gd name="connsiteY6" fmla="*/ 3775 h 80342"/>
                  <a:gd name="connsiteX7" fmla="*/ 57764 w 57763"/>
                  <a:gd name="connsiteY7" fmla="*/ 16361 h 80342"/>
                  <a:gd name="connsiteX8" fmla="*/ 39475 w 57763"/>
                  <a:gd name="connsiteY8" fmla="*/ 10369 h 80342"/>
                  <a:gd name="connsiteX9" fmla="*/ 20178 w 57763"/>
                  <a:gd name="connsiteY9" fmla="*/ 18793 h 80342"/>
                  <a:gd name="connsiteX10" fmla="*/ 12645 w 57763"/>
                  <a:gd name="connsiteY10" fmla="*/ 40921 h 80342"/>
                  <a:gd name="connsiteX11" fmla="*/ 19728 w 57763"/>
                  <a:gd name="connsiteY11" fmla="*/ 62184 h 80342"/>
                  <a:gd name="connsiteX12" fmla="*/ 38729 w 57763"/>
                  <a:gd name="connsiteY12" fmla="*/ 69972 h 80342"/>
                  <a:gd name="connsiteX13" fmla="*/ 57610 w 57763"/>
                  <a:gd name="connsiteY13" fmla="*/ 63312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42">
                    <a:moveTo>
                      <a:pt x="57610" y="74990"/>
                    </a:moveTo>
                    <a:cubicBezTo>
                      <a:pt x="51240" y="78659"/>
                      <a:pt x="43981" y="80511"/>
                      <a:pt x="36624" y="80314"/>
                    </a:cubicBezTo>
                    <a:cubicBezTo>
                      <a:pt x="26669" y="80719"/>
                      <a:pt x="17020" y="76830"/>
                      <a:pt x="10134" y="69644"/>
                    </a:cubicBezTo>
                    <a:cubicBezTo>
                      <a:pt x="3249" y="62107"/>
                      <a:pt x="-370" y="52160"/>
                      <a:pt x="47" y="41973"/>
                    </a:cubicBezTo>
                    <a:cubicBezTo>
                      <a:pt x="-479" y="30788"/>
                      <a:pt x="3424" y="19856"/>
                      <a:pt x="10913" y="11530"/>
                    </a:cubicBezTo>
                    <a:cubicBezTo>
                      <a:pt x="18489" y="3731"/>
                      <a:pt x="29059" y="-454"/>
                      <a:pt x="39925" y="39"/>
                    </a:cubicBezTo>
                    <a:cubicBezTo>
                      <a:pt x="46076" y="-92"/>
                      <a:pt x="52183" y="1189"/>
                      <a:pt x="57764" y="3775"/>
                    </a:cubicBezTo>
                    <a:lnTo>
                      <a:pt x="57764" y="16361"/>
                    </a:lnTo>
                    <a:cubicBezTo>
                      <a:pt x="52446" y="12494"/>
                      <a:pt x="46053" y="10391"/>
                      <a:pt x="39475" y="10369"/>
                    </a:cubicBezTo>
                    <a:cubicBezTo>
                      <a:pt x="32107" y="10161"/>
                      <a:pt x="25035" y="13250"/>
                      <a:pt x="20178" y="18793"/>
                    </a:cubicBezTo>
                    <a:cubicBezTo>
                      <a:pt x="14958" y="24961"/>
                      <a:pt x="12272" y="32859"/>
                      <a:pt x="12645" y="40921"/>
                    </a:cubicBezTo>
                    <a:cubicBezTo>
                      <a:pt x="12217" y="48655"/>
                      <a:pt x="14750" y="56258"/>
                      <a:pt x="19728" y="62184"/>
                    </a:cubicBezTo>
                    <a:cubicBezTo>
                      <a:pt x="24607" y="67453"/>
                      <a:pt x="31559" y="70301"/>
                      <a:pt x="38729" y="69972"/>
                    </a:cubicBezTo>
                    <a:cubicBezTo>
                      <a:pt x="45593" y="69918"/>
                      <a:pt x="52238" y="67574"/>
                      <a:pt x="57610" y="6331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5" name="Freeform: Shape 254">
                <a:extLst>
                  <a:ext uri="{FF2B5EF4-FFF2-40B4-BE49-F238E27FC236}">
                    <a16:creationId xmlns:a16="http://schemas.microsoft.com/office/drawing/2014/main" id="{36275C82-40F4-5919-6729-1BC041273CCC}"/>
                  </a:ext>
                </a:extLst>
              </p:cNvPr>
              <p:cNvSpPr/>
              <p:nvPr/>
            </p:nvSpPr>
            <p:spPr>
              <a:xfrm>
                <a:off x="4429234" y="3572125"/>
                <a:ext cx="44778" cy="101045"/>
              </a:xfrm>
              <a:custGeom>
                <a:avLst/>
                <a:gdLst>
                  <a:gd name="connsiteX0" fmla="*/ 44779 w 44778"/>
                  <a:gd name="connsiteY0" fmla="*/ 98623 h 101045"/>
                  <a:gd name="connsiteX1" fmla="*/ 33310 w 44778"/>
                  <a:gd name="connsiteY1" fmla="*/ 101022 h 101045"/>
                  <a:gd name="connsiteX2" fmla="*/ 13157 w 44778"/>
                  <a:gd name="connsiteY2" fmla="*/ 78554 h 101045"/>
                  <a:gd name="connsiteX3" fmla="*/ 13157 w 44778"/>
                  <a:gd name="connsiteY3" fmla="*/ 33181 h 101045"/>
                  <a:gd name="connsiteX4" fmla="*/ 0 w 44778"/>
                  <a:gd name="connsiteY4" fmla="*/ 33181 h 101045"/>
                  <a:gd name="connsiteX5" fmla="*/ 0 w 44778"/>
                  <a:gd name="connsiteY5" fmla="*/ 22698 h 101045"/>
                  <a:gd name="connsiteX6" fmla="*/ 13157 w 44778"/>
                  <a:gd name="connsiteY6" fmla="*/ 22698 h 101045"/>
                  <a:gd name="connsiteX7" fmla="*/ 13157 w 44778"/>
                  <a:gd name="connsiteY7" fmla="*/ 3976 h 101045"/>
                  <a:gd name="connsiteX8" fmla="*/ 25449 w 44778"/>
                  <a:gd name="connsiteY8" fmla="*/ 0 h 101045"/>
                  <a:gd name="connsiteX9" fmla="*/ 25449 w 44778"/>
                  <a:gd name="connsiteY9" fmla="*/ 22698 h 101045"/>
                  <a:gd name="connsiteX10" fmla="*/ 44779 w 44778"/>
                  <a:gd name="connsiteY10" fmla="*/ 22698 h 101045"/>
                  <a:gd name="connsiteX11" fmla="*/ 44779 w 44778"/>
                  <a:gd name="connsiteY11" fmla="*/ 33181 h 101045"/>
                  <a:gd name="connsiteX12" fmla="*/ 25449 w 44778"/>
                  <a:gd name="connsiteY12" fmla="*/ 33181 h 101045"/>
                  <a:gd name="connsiteX13" fmla="*/ 25449 w 44778"/>
                  <a:gd name="connsiteY13" fmla="*/ 76385 h 101045"/>
                  <a:gd name="connsiteX14" fmla="*/ 28069 w 44778"/>
                  <a:gd name="connsiteY14" fmla="*/ 87395 h 101045"/>
                  <a:gd name="connsiteX15" fmla="*/ 36764 w 44778"/>
                  <a:gd name="connsiteY15" fmla="*/ 90681 h 101045"/>
                  <a:gd name="connsiteX16" fmla="*/ 44779 w 44778"/>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45">
                    <a:moveTo>
                      <a:pt x="44779" y="98623"/>
                    </a:moveTo>
                    <a:cubicBezTo>
                      <a:pt x="41215" y="100365"/>
                      <a:pt x="37279" y="101197"/>
                      <a:pt x="33310" y="101022"/>
                    </a:cubicBezTo>
                    <a:cubicBezTo>
                      <a:pt x="19868" y="101022"/>
                      <a:pt x="13146" y="93529"/>
                      <a:pt x="13157" y="78554"/>
                    </a:cubicBezTo>
                    <a:lnTo>
                      <a:pt x="13157" y="33181"/>
                    </a:lnTo>
                    <a:lnTo>
                      <a:pt x="0" y="33181"/>
                    </a:lnTo>
                    <a:lnTo>
                      <a:pt x="0" y="22698"/>
                    </a:lnTo>
                    <a:lnTo>
                      <a:pt x="13157" y="22698"/>
                    </a:lnTo>
                    <a:lnTo>
                      <a:pt x="13157" y="3976"/>
                    </a:lnTo>
                    <a:lnTo>
                      <a:pt x="25449" y="0"/>
                    </a:lnTo>
                    <a:lnTo>
                      <a:pt x="25449" y="22698"/>
                    </a:lnTo>
                    <a:lnTo>
                      <a:pt x="44779" y="22698"/>
                    </a:lnTo>
                    <a:lnTo>
                      <a:pt x="44779" y="33181"/>
                    </a:lnTo>
                    <a:lnTo>
                      <a:pt x="25449" y="33181"/>
                    </a:lnTo>
                    <a:lnTo>
                      <a:pt x="25449" y="76385"/>
                    </a:lnTo>
                    <a:cubicBezTo>
                      <a:pt x="25109" y="80241"/>
                      <a:pt x="26030" y="84108"/>
                      <a:pt x="28069" y="87395"/>
                    </a:cubicBezTo>
                    <a:cubicBezTo>
                      <a:pt x="30295" y="89794"/>
                      <a:pt x="33507" y="91010"/>
                      <a:pt x="36764" y="90681"/>
                    </a:cubicBezTo>
                    <a:cubicBezTo>
                      <a:pt x="39647" y="90747"/>
                      <a:pt x="42465" y="89849"/>
                      <a:pt x="44779" y="8812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6" name="Freeform: Shape 255">
                <a:extLst>
                  <a:ext uri="{FF2B5EF4-FFF2-40B4-BE49-F238E27FC236}">
                    <a16:creationId xmlns:a16="http://schemas.microsoft.com/office/drawing/2014/main" id="{5DFB8307-9BF8-1E5A-B966-17E9787CFEA9}"/>
                  </a:ext>
                </a:extLst>
              </p:cNvPr>
              <p:cNvSpPr/>
              <p:nvPr/>
            </p:nvSpPr>
            <p:spPr>
              <a:xfrm>
                <a:off x="4483304" y="3592984"/>
                <a:ext cx="75648" cy="80355"/>
              </a:xfrm>
              <a:custGeom>
                <a:avLst/>
                <a:gdLst>
                  <a:gd name="connsiteX0" fmla="*/ 37396 w 75648"/>
                  <a:gd name="connsiteY0" fmla="*/ 80317 h 80355"/>
                  <a:gd name="connsiteX1" fmla="*/ 10226 w 75648"/>
                  <a:gd name="connsiteY1" fmla="*/ 69570 h 80355"/>
                  <a:gd name="connsiteX2" fmla="*/ 73 w 75648"/>
                  <a:gd name="connsiteY2" fmla="*/ 41089 h 80355"/>
                  <a:gd name="connsiteX3" fmla="*/ 10643 w 75648"/>
                  <a:gd name="connsiteY3" fmla="*/ 10909 h 80355"/>
                  <a:gd name="connsiteX4" fmla="*/ 39150 w 75648"/>
                  <a:gd name="connsiteY4" fmla="*/ 53 h 80355"/>
                  <a:gd name="connsiteX5" fmla="*/ 65947 w 75648"/>
                  <a:gd name="connsiteY5" fmla="*/ 10613 h 80355"/>
                  <a:gd name="connsiteX6" fmla="*/ 75574 w 75648"/>
                  <a:gd name="connsiteY6" fmla="*/ 39884 h 80355"/>
                  <a:gd name="connsiteX7" fmla="*/ 65191 w 75648"/>
                  <a:gd name="connsiteY7" fmla="*/ 69275 h 80355"/>
                  <a:gd name="connsiteX8" fmla="*/ 37396 w 75648"/>
                  <a:gd name="connsiteY8" fmla="*/ 80317 h 80355"/>
                  <a:gd name="connsiteX9" fmla="*/ 38295 w 75648"/>
                  <a:gd name="connsiteY9" fmla="*/ 10372 h 80355"/>
                  <a:gd name="connsiteX10" fmla="*/ 19557 w 75648"/>
                  <a:gd name="connsiteY10" fmla="*/ 18424 h 80355"/>
                  <a:gd name="connsiteX11" fmla="*/ 12660 w 75648"/>
                  <a:gd name="connsiteY11" fmla="*/ 40629 h 80355"/>
                  <a:gd name="connsiteX12" fmla="*/ 19634 w 75648"/>
                  <a:gd name="connsiteY12" fmla="*/ 62121 h 80355"/>
                  <a:gd name="connsiteX13" fmla="*/ 38273 w 75648"/>
                  <a:gd name="connsiteY13" fmla="*/ 69976 h 80355"/>
                  <a:gd name="connsiteX14" fmla="*/ 56594 w 75648"/>
                  <a:gd name="connsiteY14" fmla="*/ 62308 h 80355"/>
                  <a:gd name="connsiteX15" fmla="*/ 63009 w 75648"/>
                  <a:gd name="connsiteY15" fmla="*/ 40399 h 80355"/>
                  <a:gd name="connsiteX16" fmla="*/ 56594 w 75648"/>
                  <a:gd name="connsiteY16" fmla="*/ 18238 h 80355"/>
                  <a:gd name="connsiteX17" fmla="*/ 38295 w 75648"/>
                  <a:gd name="connsiteY17" fmla="*/ 10372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48" h="80355">
                    <a:moveTo>
                      <a:pt x="37396" y="80317"/>
                    </a:moveTo>
                    <a:cubicBezTo>
                      <a:pt x="27221" y="80788"/>
                      <a:pt x="17331" y="76877"/>
                      <a:pt x="10226" y="69570"/>
                    </a:cubicBezTo>
                    <a:cubicBezTo>
                      <a:pt x="3220" y="61782"/>
                      <a:pt x="-432" y="51550"/>
                      <a:pt x="73" y="41089"/>
                    </a:cubicBezTo>
                    <a:cubicBezTo>
                      <a:pt x="-585" y="30025"/>
                      <a:pt x="3220" y="19147"/>
                      <a:pt x="10643" y="10909"/>
                    </a:cubicBezTo>
                    <a:cubicBezTo>
                      <a:pt x="18208" y="3471"/>
                      <a:pt x="28547" y="-473"/>
                      <a:pt x="39150" y="53"/>
                    </a:cubicBezTo>
                    <a:cubicBezTo>
                      <a:pt x="49193" y="-505"/>
                      <a:pt x="58985" y="3351"/>
                      <a:pt x="65947" y="10613"/>
                    </a:cubicBezTo>
                    <a:cubicBezTo>
                      <a:pt x="72767" y="18796"/>
                      <a:pt x="76210" y="29258"/>
                      <a:pt x="75574" y="39884"/>
                    </a:cubicBezTo>
                    <a:cubicBezTo>
                      <a:pt x="76100" y="50663"/>
                      <a:pt x="72372" y="61212"/>
                      <a:pt x="65191" y="69275"/>
                    </a:cubicBezTo>
                    <a:cubicBezTo>
                      <a:pt x="57943" y="76767"/>
                      <a:pt x="47823" y="80799"/>
                      <a:pt x="37396" y="80317"/>
                    </a:cubicBezTo>
                    <a:close/>
                    <a:moveTo>
                      <a:pt x="38295" y="10372"/>
                    </a:moveTo>
                    <a:cubicBezTo>
                      <a:pt x="31146" y="10044"/>
                      <a:pt x="24238" y="13012"/>
                      <a:pt x="19557" y="18424"/>
                    </a:cubicBezTo>
                    <a:cubicBezTo>
                      <a:pt x="14634" y="24745"/>
                      <a:pt x="12189" y="32632"/>
                      <a:pt x="12660" y="40629"/>
                    </a:cubicBezTo>
                    <a:cubicBezTo>
                      <a:pt x="12222" y="48406"/>
                      <a:pt x="14710" y="56074"/>
                      <a:pt x="19634" y="62121"/>
                    </a:cubicBezTo>
                    <a:cubicBezTo>
                      <a:pt x="24359" y="67390"/>
                      <a:pt x="31201" y="70271"/>
                      <a:pt x="38273" y="69976"/>
                    </a:cubicBezTo>
                    <a:cubicBezTo>
                      <a:pt x="45246" y="70403"/>
                      <a:pt x="52011" y="67577"/>
                      <a:pt x="56594" y="62308"/>
                    </a:cubicBezTo>
                    <a:cubicBezTo>
                      <a:pt x="61232" y="55987"/>
                      <a:pt x="63513" y="48231"/>
                      <a:pt x="63009" y="40399"/>
                    </a:cubicBezTo>
                    <a:cubicBezTo>
                      <a:pt x="63524" y="32489"/>
                      <a:pt x="61254" y="24646"/>
                      <a:pt x="56594" y="18238"/>
                    </a:cubicBezTo>
                    <a:cubicBezTo>
                      <a:pt x="52066" y="12892"/>
                      <a:pt x="45290" y="9989"/>
                      <a:pt x="38295" y="1037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7" name="Freeform: Shape 256">
                <a:extLst>
                  <a:ext uri="{FF2B5EF4-FFF2-40B4-BE49-F238E27FC236}">
                    <a16:creationId xmlns:a16="http://schemas.microsoft.com/office/drawing/2014/main" id="{90EA9427-3647-0246-0E1A-162F5CC56EC2}"/>
                  </a:ext>
                </a:extLst>
              </p:cNvPr>
              <p:cNvSpPr/>
              <p:nvPr/>
            </p:nvSpPr>
            <p:spPr>
              <a:xfrm>
                <a:off x="4577758" y="3593456"/>
                <a:ext cx="40041" cy="78048"/>
              </a:xfrm>
              <a:custGeom>
                <a:avLst/>
                <a:gdLst>
                  <a:gd name="connsiteX0" fmla="*/ 40042 w 40041"/>
                  <a:gd name="connsiteY0" fmla="*/ 13789 h 78048"/>
                  <a:gd name="connsiteX1" fmla="*/ 30744 w 40041"/>
                  <a:gd name="connsiteY1" fmla="*/ 11325 h 78048"/>
                  <a:gd name="connsiteX2" fmla="*/ 17587 w 40041"/>
                  <a:gd name="connsiteY2" fmla="*/ 18741 h 78048"/>
                  <a:gd name="connsiteX3" fmla="*/ 12291 w 40041"/>
                  <a:gd name="connsiteY3" fmla="*/ 38952 h 78048"/>
                  <a:gd name="connsiteX4" fmla="*/ 12291 w 40041"/>
                  <a:gd name="connsiteY4" fmla="*/ 78048 h 78048"/>
                  <a:gd name="connsiteX5" fmla="*/ 0 w 40041"/>
                  <a:gd name="connsiteY5" fmla="*/ 78048 h 78048"/>
                  <a:gd name="connsiteX6" fmla="*/ 0 w 40041"/>
                  <a:gd name="connsiteY6" fmla="*/ 1367 h 78048"/>
                  <a:gd name="connsiteX7" fmla="*/ 12291 w 40041"/>
                  <a:gd name="connsiteY7" fmla="*/ 1367 h 78048"/>
                  <a:gd name="connsiteX8" fmla="*/ 12291 w 40041"/>
                  <a:gd name="connsiteY8" fmla="*/ 17163 h 78048"/>
                  <a:gd name="connsiteX9" fmla="*/ 12598 w 40041"/>
                  <a:gd name="connsiteY9" fmla="*/ 17163 h 78048"/>
                  <a:gd name="connsiteX10" fmla="*/ 20613 w 40041"/>
                  <a:gd name="connsiteY10" fmla="*/ 4544 h 78048"/>
                  <a:gd name="connsiteX11" fmla="*/ 32674 w 40041"/>
                  <a:gd name="connsiteY11" fmla="*/ 20 h 78048"/>
                  <a:gd name="connsiteX12" fmla="*/ 40020 w 40041"/>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41" h="78048">
                    <a:moveTo>
                      <a:pt x="40042" y="13789"/>
                    </a:moveTo>
                    <a:cubicBezTo>
                      <a:pt x="37290" y="11971"/>
                      <a:pt x="34034" y="11106"/>
                      <a:pt x="30744" y="11325"/>
                    </a:cubicBezTo>
                    <a:cubicBezTo>
                      <a:pt x="25372" y="11379"/>
                      <a:pt x="20405" y="14184"/>
                      <a:pt x="17587" y="18741"/>
                    </a:cubicBezTo>
                    <a:cubicBezTo>
                      <a:pt x="13760" y="24766"/>
                      <a:pt x="11907" y="31831"/>
                      <a:pt x="12291" y="38952"/>
                    </a:cubicBezTo>
                    <a:lnTo>
                      <a:pt x="12291" y="78048"/>
                    </a:lnTo>
                    <a:lnTo>
                      <a:pt x="0" y="78048"/>
                    </a:lnTo>
                    <a:lnTo>
                      <a:pt x="0" y="1367"/>
                    </a:lnTo>
                    <a:lnTo>
                      <a:pt x="12291" y="1367"/>
                    </a:lnTo>
                    <a:lnTo>
                      <a:pt x="12291" y="17163"/>
                    </a:lnTo>
                    <a:lnTo>
                      <a:pt x="12598" y="17163"/>
                    </a:lnTo>
                    <a:cubicBezTo>
                      <a:pt x="14023" y="12289"/>
                      <a:pt x="16797" y="7907"/>
                      <a:pt x="20613" y="4544"/>
                    </a:cubicBezTo>
                    <a:cubicBezTo>
                      <a:pt x="23946" y="1619"/>
                      <a:pt x="28233" y="20"/>
                      <a:pt x="32674" y="20"/>
                    </a:cubicBezTo>
                    <a:cubicBezTo>
                      <a:pt x="35163" y="-90"/>
                      <a:pt x="37663" y="261"/>
                      <a:pt x="40020" y="10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8" name="Freeform: Shape 257">
                <a:extLst>
                  <a:ext uri="{FF2B5EF4-FFF2-40B4-BE49-F238E27FC236}">
                    <a16:creationId xmlns:a16="http://schemas.microsoft.com/office/drawing/2014/main" id="{029E4C01-5F4C-FA91-451B-94EA6CC9AFD8}"/>
                  </a:ext>
                </a:extLst>
              </p:cNvPr>
              <p:cNvSpPr/>
              <p:nvPr/>
            </p:nvSpPr>
            <p:spPr>
              <a:xfrm>
                <a:off x="4625771" y="3594823"/>
                <a:ext cx="72474" cy="112784"/>
              </a:xfrm>
              <a:custGeom>
                <a:avLst/>
                <a:gdLst>
                  <a:gd name="connsiteX0" fmla="*/ 72474 w 72474"/>
                  <a:gd name="connsiteY0" fmla="*/ 0 h 112784"/>
                  <a:gd name="connsiteX1" fmla="*/ 37180 w 72474"/>
                  <a:gd name="connsiteY1" fmla="*/ 88961 h 112784"/>
                  <a:gd name="connsiteX2" fmla="*/ 10646 w 72474"/>
                  <a:gd name="connsiteY2" fmla="*/ 112776 h 112784"/>
                  <a:gd name="connsiteX3" fmla="*/ 2620 w 72474"/>
                  <a:gd name="connsiteY3" fmla="*/ 111801 h 112784"/>
                  <a:gd name="connsiteX4" fmla="*/ 2620 w 72474"/>
                  <a:gd name="connsiteY4" fmla="*/ 100847 h 112784"/>
                  <a:gd name="connsiteX5" fmla="*/ 9890 w 72474"/>
                  <a:gd name="connsiteY5" fmla="*/ 102194 h 112784"/>
                  <a:gd name="connsiteX6" fmla="*/ 23836 w 72474"/>
                  <a:gd name="connsiteY6" fmla="*/ 91108 h 112784"/>
                  <a:gd name="connsiteX7" fmla="*/ 29987 w 72474"/>
                  <a:gd name="connsiteY7" fmla="*/ 76583 h 112784"/>
                  <a:gd name="connsiteX8" fmla="*/ 0 w 72474"/>
                  <a:gd name="connsiteY8" fmla="*/ 55 h 112784"/>
                  <a:gd name="connsiteX9" fmla="*/ 13640 w 72474"/>
                  <a:gd name="connsiteY9" fmla="*/ 55 h 112784"/>
                  <a:gd name="connsiteX10" fmla="*/ 34406 w 72474"/>
                  <a:gd name="connsiteY10" fmla="*/ 59001 h 112784"/>
                  <a:gd name="connsiteX11" fmla="*/ 35974 w 72474"/>
                  <a:gd name="connsiteY11" fmla="*/ 64850 h 112784"/>
                  <a:gd name="connsiteX12" fmla="*/ 36424 w 72474"/>
                  <a:gd name="connsiteY12" fmla="*/ 64850 h 112784"/>
                  <a:gd name="connsiteX13" fmla="*/ 37926 w 72474"/>
                  <a:gd name="connsiteY13" fmla="*/ 59154 h 112784"/>
                  <a:gd name="connsiteX14" fmla="*/ 59734 w 72474"/>
                  <a:gd name="connsiteY14" fmla="*/ 0 h 11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74" h="112784">
                    <a:moveTo>
                      <a:pt x="72474" y="0"/>
                    </a:moveTo>
                    <a:lnTo>
                      <a:pt x="37180" y="88961"/>
                    </a:lnTo>
                    <a:cubicBezTo>
                      <a:pt x="30887" y="104834"/>
                      <a:pt x="22038" y="112765"/>
                      <a:pt x="10646" y="112776"/>
                    </a:cubicBezTo>
                    <a:cubicBezTo>
                      <a:pt x="7938" y="112842"/>
                      <a:pt x="5230" y="112513"/>
                      <a:pt x="2620" y="111801"/>
                    </a:cubicBezTo>
                    <a:lnTo>
                      <a:pt x="2620" y="100847"/>
                    </a:lnTo>
                    <a:cubicBezTo>
                      <a:pt x="4956" y="101690"/>
                      <a:pt x="7412" y="102140"/>
                      <a:pt x="9890" y="102194"/>
                    </a:cubicBezTo>
                    <a:cubicBezTo>
                      <a:pt x="16458" y="101931"/>
                      <a:pt x="22104" y="97451"/>
                      <a:pt x="23836" y="91108"/>
                    </a:cubicBezTo>
                    <a:lnTo>
                      <a:pt x="29987" y="76583"/>
                    </a:lnTo>
                    <a:lnTo>
                      <a:pt x="0" y="55"/>
                    </a:lnTo>
                    <a:lnTo>
                      <a:pt x="13640" y="55"/>
                    </a:lnTo>
                    <a:lnTo>
                      <a:pt x="34406" y="59001"/>
                    </a:lnTo>
                    <a:cubicBezTo>
                      <a:pt x="34648" y="59735"/>
                      <a:pt x="35174" y="61685"/>
                      <a:pt x="35974" y="64850"/>
                    </a:cubicBezTo>
                    <a:lnTo>
                      <a:pt x="36424" y="64850"/>
                    </a:lnTo>
                    <a:cubicBezTo>
                      <a:pt x="36676" y="63645"/>
                      <a:pt x="37180" y="61750"/>
                      <a:pt x="37926" y="59154"/>
                    </a:cubicBezTo>
                    <a:lnTo>
                      <a:pt x="59734"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9" name="Freeform: Shape 258">
                <a:extLst>
                  <a:ext uri="{FF2B5EF4-FFF2-40B4-BE49-F238E27FC236}">
                    <a16:creationId xmlns:a16="http://schemas.microsoft.com/office/drawing/2014/main" id="{22B1597C-E61C-5EDF-F34E-6D0467335E5F}"/>
                  </a:ext>
                </a:extLst>
              </p:cNvPr>
              <p:cNvSpPr/>
              <p:nvPr/>
            </p:nvSpPr>
            <p:spPr>
              <a:xfrm>
                <a:off x="4751836" y="3559394"/>
                <a:ext cx="16043" cy="112109"/>
              </a:xfrm>
              <a:custGeom>
                <a:avLst/>
                <a:gdLst>
                  <a:gd name="connsiteX0" fmla="*/ 7953 w 16043"/>
                  <a:gd name="connsiteY0" fmla="*/ 15951 h 112109"/>
                  <a:gd name="connsiteX1" fmla="*/ 2328 w 16043"/>
                  <a:gd name="connsiteY1" fmla="*/ 13706 h 112109"/>
                  <a:gd name="connsiteX2" fmla="*/ 4 w 16043"/>
                  <a:gd name="connsiteY2" fmla="*/ 8020 h 112109"/>
                  <a:gd name="connsiteX3" fmla="*/ 7744 w 16043"/>
                  <a:gd name="connsiteY3" fmla="*/ 2 h 112109"/>
                  <a:gd name="connsiteX4" fmla="*/ 7953 w 16043"/>
                  <a:gd name="connsiteY4" fmla="*/ 2 h 112109"/>
                  <a:gd name="connsiteX5" fmla="*/ 13676 w 16043"/>
                  <a:gd name="connsiteY5" fmla="*/ 2291 h 112109"/>
                  <a:gd name="connsiteX6" fmla="*/ 13731 w 16043"/>
                  <a:gd name="connsiteY6" fmla="*/ 13574 h 112109"/>
                  <a:gd name="connsiteX7" fmla="*/ 13676 w 16043"/>
                  <a:gd name="connsiteY7" fmla="*/ 13629 h 112109"/>
                  <a:gd name="connsiteX8" fmla="*/ 7953 w 16043"/>
                  <a:gd name="connsiteY8" fmla="*/ 15951 h 112109"/>
                  <a:gd name="connsiteX9" fmla="*/ 13950 w 16043"/>
                  <a:gd name="connsiteY9" fmla="*/ 112110 h 112109"/>
                  <a:gd name="connsiteX10" fmla="*/ 1659 w 16043"/>
                  <a:gd name="connsiteY10" fmla="*/ 112110 h 112109"/>
                  <a:gd name="connsiteX11" fmla="*/ 1659 w 16043"/>
                  <a:gd name="connsiteY11" fmla="*/ 35428 h 112109"/>
                  <a:gd name="connsiteX12" fmla="*/ 13983 w 16043"/>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3" h="112109">
                    <a:moveTo>
                      <a:pt x="7953" y="15951"/>
                    </a:moveTo>
                    <a:cubicBezTo>
                      <a:pt x="5848" y="15995"/>
                      <a:pt x="3819" y="15185"/>
                      <a:pt x="2328" y="13706"/>
                    </a:cubicBezTo>
                    <a:cubicBezTo>
                      <a:pt x="782" y="12227"/>
                      <a:pt x="-62" y="10156"/>
                      <a:pt x="4" y="8020"/>
                    </a:cubicBezTo>
                    <a:cubicBezTo>
                      <a:pt x="-73" y="3671"/>
                      <a:pt x="3392" y="78"/>
                      <a:pt x="7744" y="2"/>
                    </a:cubicBezTo>
                    <a:cubicBezTo>
                      <a:pt x="7810" y="2"/>
                      <a:pt x="7887" y="2"/>
                      <a:pt x="7953" y="2"/>
                    </a:cubicBezTo>
                    <a:cubicBezTo>
                      <a:pt x="10091" y="-42"/>
                      <a:pt x="12152" y="790"/>
                      <a:pt x="13676" y="2291"/>
                    </a:cubicBezTo>
                    <a:cubicBezTo>
                      <a:pt x="16812" y="5391"/>
                      <a:pt x="16834" y="10441"/>
                      <a:pt x="13731" y="13574"/>
                    </a:cubicBezTo>
                    <a:cubicBezTo>
                      <a:pt x="13720" y="13585"/>
                      <a:pt x="13698" y="13607"/>
                      <a:pt x="13676" y="13629"/>
                    </a:cubicBezTo>
                    <a:cubicBezTo>
                      <a:pt x="12174" y="15152"/>
                      <a:pt x="10102" y="15995"/>
                      <a:pt x="7953" y="15951"/>
                    </a:cubicBezTo>
                    <a:close/>
                    <a:moveTo>
                      <a:pt x="13950" y="112110"/>
                    </a:moveTo>
                    <a:lnTo>
                      <a:pt x="1659" y="112110"/>
                    </a:lnTo>
                    <a:lnTo>
                      <a:pt x="1659" y="35428"/>
                    </a:lnTo>
                    <a:lnTo>
                      <a:pt x="13983" y="35428"/>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0" name="Freeform: Shape 259">
                <a:extLst>
                  <a:ext uri="{FF2B5EF4-FFF2-40B4-BE49-F238E27FC236}">
                    <a16:creationId xmlns:a16="http://schemas.microsoft.com/office/drawing/2014/main" id="{6FF58F54-4352-492D-CF55-B411443D9C31}"/>
                  </a:ext>
                </a:extLst>
              </p:cNvPr>
              <p:cNvSpPr/>
              <p:nvPr/>
            </p:nvSpPr>
            <p:spPr>
              <a:xfrm>
                <a:off x="4788965" y="3593013"/>
                <a:ext cx="63816" cy="78523"/>
              </a:xfrm>
              <a:custGeom>
                <a:avLst/>
                <a:gdLst>
                  <a:gd name="connsiteX0" fmla="*/ 63747 w 63816"/>
                  <a:gd name="connsiteY0" fmla="*/ 78491 h 78523"/>
                  <a:gd name="connsiteX1" fmla="*/ 51412 w 63816"/>
                  <a:gd name="connsiteY1" fmla="*/ 78491 h 78523"/>
                  <a:gd name="connsiteX2" fmla="*/ 51412 w 63816"/>
                  <a:gd name="connsiteY2" fmla="*/ 34761 h 78523"/>
                  <a:gd name="connsiteX3" fmla="*/ 33573 w 63816"/>
                  <a:gd name="connsiteY3" fmla="*/ 10343 h 78523"/>
                  <a:gd name="connsiteX4" fmla="*/ 18321 w 63816"/>
                  <a:gd name="connsiteY4" fmla="*/ 17266 h 78523"/>
                  <a:gd name="connsiteX5" fmla="*/ 12291 w 63816"/>
                  <a:gd name="connsiteY5" fmla="*/ 34794 h 78523"/>
                  <a:gd name="connsiteX6" fmla="*/ 12291 w 63816"/>
                  <a:gd name="connsiteY6" fmla="*/ 78524 h 78523"/>
                  <a:gd name="connsiteX7" fmla="*/ 0 w 63816"/>
                  <a:gd name="connsiteY7" fmla="*/ 78524 h 78523"/>
                  <a:gd name="connsiteX8" fmla="*/ 0 w 63816"/>
                  <a:gd name="connsiteY8" fmla="*/ 1843 h 78523"/>
                  <a:gd name="connsiteX9" fmla="*/ 12291 w 63816"/>
                  <a:gd name="connsiteY9" fmla="*/ 1843 h 78523"/>
                  <a:gd name="connsiteX10" fmla="*/ 12291 w 63816"/>
                  <a:gd name="connsiteY10" fmla="*/ 14572 h 78523"/>
                  <a:gd name="connsiteX11" fmla="*/ 12587 w 63816"/>
                  <a:gd name="connsiteY11" fmla="*/ 14572 h 78523"/>
                  <a:gd name="connsiteX12" fmla="*/ 37805 w 63816"/>
                  <a:gd name="connsiteY12" fmla="*/ 46 h 78523"/>
                  <a:gd name="connsiteX13" fmla="*/ 57070 w 63816"/>
                  <a:gd name="connsiteY13" fmla="*/ 8163 h 78523"/>
                  <a:gd name="connsiteX14" fmla="*/ 63736 w 63816"/>
                  <a:gd name="connsiteY14" fmla="*/ 31639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6" h="78523">
                    <a:moveTo>
                      <a:pt x="63747" y="78491"/>
                    </a:moveTo>
                    <a:lnTo>
                      <a:pt x="51412" y="78491"/>
                    </a:lnTo>
                    <a:lnTo>
                      <a:pt x="51412" y="34761"/>
                    </a:lnTo>
                    <a:cubicBezTo>
                      <a:pt x="51412" y="18482"/>
                      <a:pt x="45469" y="10343"/>
                      <a:pt x="33573" y="10343"/>
                    </a:cubicBezTo>
                    <a:cubicBezTo>
                      <a:pt x="27707" y="10223"/>
                      <a:pt x="22093" y="12764"/>
                      <a:pt x="18321" y="17266"/>
                    </a:cubicBezTo>
                    <a:cubicBezTo>
                      <a:pt x="14199" y="22163"/>
                      <a:pt x="12050" y="28407"/>
                      <a:pt x="12291" y="34794"/>
                    </a:cubicBezTo>
                    <a:lnTo>
                      <a:pt x="12291" y="78524"/>
                    </a:lnTo>
                    <a:lnTo>
                      <a:pt x="0" y="78524"/>
                    </a:lnTo>
                    <a:lnTo>
                      <a:pt x="0" y="1843"/>
                    </a:lnTo>
                    <a:lnTo>
                      <a:pt x="12291" y="1843"/>
                    </a:lnTo>
                    <a:lnTo>
                      <a:pt x="12291" y="14572"/>
                    </a:lnTo>
                    <a:lnTo>
                      <a:pt x="12587" y="14572"/>
                    </a:lnTo>
                    <a:cubicBezTo>
                      <a:pt x="17565" y="5348"/>
                      <a:pt x="27323" y="-272"/>
                      <a:pt x="37805" y="46"/>
                    </a:cubicBezTo>
                    <a:cubicBezTo>
                      <a:pt x="45140" y="-414"/>
                      <a:pt x="52278" y="2598"/>
                      <a:pt x="57070" y="8163"/>
                    </a:cubicBezTo>
                    <a:cubicBezTo>
                      <a:pt x="61938" y="14988"/>
                      <a:pt x="64295" y="23280"/>
                      <a:pt x="63736" y="3163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1" name="Freeform: Shape 260">
                <a:extLst>
                  <a:ext uri="{FF2B5EF4-FFF2-40B4-BE49-F238E27FC236}">
                    <a16:creationId xmlns:a16="http://schemas.microsoft.com/office/drawing/2014/main" id="{384A1353-DC34-68B4-0C3C-B1A110911D5F}"/>
                  </a:ext>
                </a:extLst>
              </p:cNvPr>
              <p:cNvSpPr/>
              <p:nvPr/>
            </p:nvSpPr>
            <p:spPr>
              <a:xfrm>
                <a:off x="4865595" y="3556313"/>
                <a:ext cx="46445" cy="115191"/>
              </a:xfrm>
              <a:custGeom>
                <a:avLst/>
                <a:gdLst>
                  <a:gd name="connsiteX0" fmla="*/ 46401 w 46445"/>
                  <a:gd name="connsiteY0" fmla="*/ 12449 h 115191"/>
                  <a:gd name="connsiteX1" fmla="*/ 38233 w 46445"/>
                  <a:gd name="connsiteY1" fmla="*/ 10423 h 115191"/>
                  <a:gd name="connsiteX2" fmla="*/ 25339 w 46445"/>
                  <a:gd name="connsiteY2" fmla="*/ 26679 h 115191"/>
                  <a:gd name="connsiteX3" fmla="*/ 25339 w 46445"/>
                  <a:gd name="connsiteY3" fmla="*/ 38510 h 115191"/>
                  <a:gd name="connsiteX4" fmla="*/ 43321 w 46445"/>
                  <a:gd name="connsiteY4" fmla="*/ 38510 h 115191"/>
                  <a:gd name="connsiteX5" fmla="*/ 43321 w 46445"/>
                  <a:gd name="connsiteY5" fmla="*/ 48994 h 115191"/>
                  <a:gd name="connsiteX6" fmla="*/ 25339 w 46445"/>
                  <a:gd name="connsiteY6" fmla="*/ 48994 h 115191"/>
                  <a:gd name="connsiteX7" fmla="*/ 25339 w 46445"/>
                  <a:gd name="connsiteY7" fmla="*/ 115191 h 115191"/>
                  <a:gd name="connsiteX8" fmla="*/ 13157 w 46445"/>
                  <a:gd name="connsiteY8" fmla="*/ 115191 h 115191"/>
                  <a:gd name="connsiteX9" fmla="*/ 13157 w 46445"/>
                  <a:gd name="connsiteY9" fmla="*/ 48994 h 115191"/>
                  <a:gd name="connsiteX10" fmla="*/ 0 w 46445"/>
                  <a:gd name="connsiteY10" fmla="*/ 48994 h 115191"/>
                  <a:gd name="connsiteX11" fmla="*/ 0 w 46445"/>
                  <a:gd name="connsiteY11" fmla="*/ 38510 h 115191"/>
                  <a:gd name="connsiteX12" fmla="*/ 13157 w 46445"/>
                  <a:gd name="connsiteY12" fmla="*/ 38510 h 115191"/>
                  <a:gd name="connsiteX13" fmla="*/ 13157 w 46445"/>
                  <a:gd name="connsiteY13" fmla="*/ 26077 h 115191"/>
                  <a:gd name="connsiteX14" fmla="*/ 20131 w 46445"/>
                  <a:gd name="connsiteY14" fmla="*/ 7016 h 115191"/>
                  <a:gd name="connsiteX15" fmla="*/ 37520 w 46445"/>
                  <a:gd name="connsiteY15" fmla="*/ 16 h 115191"/>
                  <a:gd name="connsiteX16" fmla="*/ 46445 w 46445"/>
                  <a:gd name="connsiteY16" fmla="*/ 1364 h 11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445" h="115191">
                    <a:moveTo>
                      <a:pt x="46401" y="12449"/>
                    </a:moveTo>
                    <a:cubicBezTo>
                      <a:pt x="43901" y="11080"/>
                      <a:pt x="41084" y="10379"/>
                      <a:pt x="38233" y="10423"/>
                    </a:cubicBezTo>
                    <a:cubicBezTo>
                      <a:pt x="29626" y="10423"/>
                      <a:pt x="25328" y="15845"/>
                      <a:pt x="25339" y="26679"/>
                    </a:cubicBezTo>
                    <a:lnTo>
                      <a:pt x="25339" y="38510"/>
                    </a:lnTo>
                    <a:lnTo>
                      <a:pt x="43321" y="38510"/>
                    </a:lnTo>
                    <a:lnTo>
                      <a:pt x="43321" y="48994"/>
                    </a:lnTo>
                    <a:lnTo>
                      <a:pt x="25339" y="48994"/>
                    </a:lnTo>
                    <a:lnTo>
                      <a:pt x="25339" y="115191"/>
                    </a:lnTo>
                    <a:lnTo>
                      <a:pt x="13157" y="115191"/>
                    </a:lnTo>
                    <a:lnTo>
                      <a:pt x="13157" y="48994"/>
                    </a:lnTo>
                    <a:lnTo>
                      <a:pt x="0" y="48994"/>
                    </a:lnTo>
                    <a:lnTo>
                      <a:pt x="0" y="38510"/>
                    </a:lnTo>
                    <a:lnTo>
                      <a:pt x="13157" y="38510"/>
                    </a:lnTo>
                    <a:lnTo>
                      <a:pt x="13157" y="26077"/>
                    </a:lnTo>
                    <a:cubicBezTo>
                      <a:pt x="12785" y="19044"/>
                      <a:pt x="15296" y="12154"/>
                      <a:pt x="20131" y="7016"/>
                    </a:cubicBezTo>
                    <a:cubicBezTo>
                      <a:pt x="24703" y="2371"/>
                      <a:pt x="31007" y="-159"/>
                      <a:pt x="37520" y="16"/>
                    </a:cubicBezTo>
                    <a:cubicBezTo>
                      <a:pt x="40557" y="-94"/>
                      <a:pt x="43584" y="356"/>
                      <a:pt x="46445" y="136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2" name="Freeform: Shape 261">
                <a:extLst>
                  <a:ext uri="{FF2B5EF4-FFF2-40B4-BE49-F238E27FC236}">
                    <a16:creationId xmlns:a16="http://schemas.microsoft.com/office/drawing/2014/main" id="{4B23E791-3332-0488-4122-B483575BFB0A}"/>
                  </a:ext>
                </a:extLst>
              </p:cNvPr>
              <p:cNvSpPr/>
              <p:nvPr/>
            </p:nvSpPr>
            <p:spPr>
              <a:xfrm>
                <a:off x="4922511" y="3593456"/>
                <a:ext cx="40031" cy="78048"/>
              </a:xfrm>
              <a:custGeom>
                <a:avLst/>
                <a:gdLst>
                  <a:gd name="connsiteX0" fmla="*/ 40031 w 40031"/>
                  <a:gd name="connsiteY0" fmla="*/ 13789 h 78048"/>
                  <a:gd name="connsiteX1" fmla="*/ 30733 w 40031"/>
                  <a:gd name="connsiteY1" fmla="*/ 11325 h 78048"/>
                  <a:gd name="connsiteX2" fmla="*/ 17576 w 40031"/>
                  <a:gd name="connsiteY2" fmla="*/ 18741 h 78048"/>
                  <a:gd name="connsiteX3" fmla="*/ 12291 w 40031"/>
                  <a:gd name="connsiteY3" fmla="*/ 38952 h 78048"/>
                  <a:gd name="connsiteX4" fmla="*/ 12291 w 40031"/>
                  <a:gd name="connsiteY4" fmla="*/ 78048 h 78048"/>
                  <a:gd name="connsiteX5" fmla="*/ 0 w 40031"/>
                  <a:gd name="connsiteY5" fmla="*/ 78048 h 78048"/>
                  <a:gd name="connsiteX6" fmla="*/ 0 w 40031"/>
                  <a:gd name="connsiteY6" fmla="*/ 1367 h 78048"/>
                  <a:gd name="connsiteX7" fmla="*/ 12291 w 40031"/>
                  <a:gd name="connsiteY7" fmla="*/ 1367 h 78048"/>
                  <a:gd name="connsiteX8" fmla="*/ 12291 w 40031"/>
                  <a:gd name="connsiteY8" fmla="*/ 17163 h 78048"/>
                  <a:gd name="connsiteX9" fmla="*/ 12587 w 40031"/>
                  <a:gd name="connsiteY9" fmla="*/ 17163 h 78048"/>
                  <a:gd name="connsiteX10" fmla="*/ 20602 w 40031"/>
                  <a:gd name="connsiteY10" fmla="*/ 4544 h 78048"/>
                  <a:gd name="connsiteX11" fmla="*/ 32663 w 40031"/>
                  <a:gd name="connsiteY11" fmla="*/ 20 h 78048"/>
                  <a:gd name="connsiteX12" fmla="*/ 40009 w 40031"/>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31" h="78048">
                    <a:moveTo>
                      <a:pt x="40031" y="13789"/>
                    </a:moveTo>
                    <a:cubicBezTo>
                      <a:pt x="37290" y="11971"/>
                      <a:pt x="34022" y="11106"/>
                      <a:pt x="30733" y="11325"/>
                    </a:cubicBezTo>
                    <a:cubicBezTo>
                      <a:pt x="25361" y="11379"/>
                      <a:pt x="20405" y="14184"/>
                      <a:pt x="17576" y="18741"/>
                    </a:cubicBezTo>
                    <a:cubicBezTo>
                      <a:pt x="13749" y="24766"/>
                      <a:pt x="11907" y="31831"/>
                      <a:pt x="12291" y="38952"/>
                    </a:cubicBezTo>
                    <a:lnTo>
                      <a:pt x="12291" y="78048"/>
                    </a:lnTo>
                    <a:lnTo>
                      <a:pt x="0" y="78048"/>
                    </a:lnTo>
                    <a:lnTo>
                      <a:pt x="0" y="1367"/>
                    </a:lnTo>
                    <a:lnTo>
                      <a:pt x="12291" y="1367"/>
                    </a:lnTo>
                    <a:lnTo>
                      <a:pt x="12291" y="17163"/>
                    </a:lnTo>
                    <a:lnTo>
                      <a:pt x="12587" y="17163"/>
                    </a:lnTo>
                    <a:cubicBezTo>
                      <a:pt x="14012" y="12289"/>
                      <a:pt x="16787" y="7907"/>
                      <a:pt x="20602" y="4544"/>
                    </a:cubicBezTo>
                    <a:cubicBezTo>
                      <a:pt x="23946" y="1630"/>
                      <a:pt x="28222" y="20"/>
                      <a:pt x="32663" y="20"/>
                    </a:cubicBezTo>
                    <a:cubicBezTo>
                      <a:pt x="35152" y="-90"/>
                      <a:pt x="37652" y="261"/>
                      <a:pt x="40009" y="10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3" name="Freeform: Shape 262">
                <a:extLst>
                  <a:ext uri="{FF2B5EF4-FFF2-40B4-BE49-F238E27FC236}">
                    <a16:creationId xmlns:a16="http://schemas.microsoft.com/office/drawing/2014/main" id="{704A1462-D11D-C4A1-DBA8-101CCDD83B95}"/>
                  </a:ext>
                </a:extLst>
              </p:cNvPr>
              <p:cNvSpPr/>
              <p:nvPr/>
            </p:nvSpPr>
            <p:spPr>
              <a:xfrm>
                <a:off x="4969628" y="3593018"/>
                <a:ext cx="60674" cy="80326"/>
              </a:xfrm>
              <a:custGeom>
                <a:avLst/>
                <a:gdLst>
                  <a:gd name="connsiteX0" fmla="*/ 60631 w 60674"/>
                  <a:gd name="connsiteY0" fmla="*/ 78486 h 80326"/>
                  <a:gd name="connsiteX1" fmla="*/ 48373 w 60674"/>
                  <a:gd name="connsiteY1" fmla="*/ 78486 h 80326"/>
                  <a:gd name="connsiteX2" fmla="*/ 48373 w 60674"/>
                  <a:gd name="connsiteY2" fmla="*/ 66502 h 80326"/>
                  <a:gd name="connsiteX3" fmla="*/ 48066 w 60674"/>
                  <a:gd name="connsiteY3" fmla="*/ 66502 h 80326"/>
                  <a:gd name="connsiteX4" fmla="*/ 24459 w 60674"/>
                  <a:gd name="connsiteY4" fmla="*/ 80283 h 80326"/>
                  <a:gd name="connsiteX5" fmla="*/ 6511 w 60674"/>
                  <a:gd name="connsiteY5" fmla="*/ 74214 h 80326"/>
                  <a:gd name="connsiteX6" fmla="*/ 20 w 60674"/>
                  <a:gd name="connsiteY6" fmla="*/ 58111 h 80326"/>
                  <a:gd name="connsiteX7" fmla="*/ 25358 w 60674"/>
                  <a:gd name="connsiteY7" fmla="*/ 33102 h 80326"/>
                  <a:gd name="connsiteX8" fmla="*/ 48384 w 60674"/>
                  <a:gd name="connsiteY8" fmla="*/ 29882 h 80326"/>
                  <a:gd name="connsiteX9" fmla="*/ 32562 w 60674"/>
                  <a:gd name="connsiteY9" fmla="*/ 10339 h 80326"/>
                  <a:gd name="connsiteX10" fmla="*/ 7530 w 60674"/>
                  <a:gd name="connsiteY10" fmla="*/ 19770 h 80326"/>
                  <a:gd name="connsiteX11" fmla="*/ 7530 w 60674"/>
                  <a:gd name="connsiteY11" fmla="*/ 7195 h 80326"/>
                  <a:gd name="connsiteX12" fmla="*/ 33615 w 60674"/>
                  <a:gd name="connsiteY12" fmla="*/ 9 h 80326"/>
                  <a:gd name="connsiteX13" fmla="*/ 60675 w 60674"/>
                  <a:gd name="connsiteY13" fmla="*/ 28611 h 80326"/>
                  <a:gd name="connsiteX14" fmla="*/ 48340 w 60674"/>
                  <a:gd name="connsiteY14" fmla="*/ 39697 h 80326"/>
                  <a:gd name="connsiteX15" fmla="*/ 29821 w 60674"/>
                  <a:gd name="connsiteY15" fmla="*/ 42238 h 80326"/>
                  <a:gd name="connsiteX16" fmla="*/ 16927 w 60674"/>
                  <a:gd name="connsiteY16" fmla="*/ 46467 h 80326"/>
                  <a:gd name="connsiteX17" fmla="*/ 12541 w 60674"/>
                  <a:gd name="connsiteY17" fmla="*/ 57213 h 80326"/>
                  <a:gd name="connsiteX18" fmla="*/ 16554 w 60674"/>
                  <a:gd name="connsiteY18" fmla="*/ 66393 h 80326"/>
                  <a:gd name="connsiteX19" fmla="*/ 27233 w 60674"/>
                  <a:gd name="connsiteY19" fmla="*/ 69942 h 80326"/>
                  <a:gd name="connsiteX20" fmla="*/ 42342 w 60674"/>
                  <a:gd name="connsiteY20" fmla="*/ 63545 h 80326"/>
                  <a:gd name="connsiteX21" fmla="*/ 48296 w 60674"/>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31" y="78486"/>
                    </a:moveTo>
                    <a:lnTo>
                      <a:pt x="48373" y="78486"/>
                    </a:lnTo>
                    <a:lnTo>
                      <a:pt x="48373" y="66502"/>
                    </a:lnTo>
                    <a:lnTo>
                      <a:pt x="48066" y="66502"/>
                    </a:lnTo>
                    <a:cubicBezTo>
                      <a:pt x="43494" y="75233"/>
                      <a:pt x="34316" y="80590"/>
                      <a:pt x="24459" y="80283"/>
                    </a:cubicBezTo>
                    <a:cubicBezTo>
                      <a:pt x="17914" y="80666"/>
                      <a:pt x="11477" y="78486"/>
                      <a:pt x="6511" y="74214"/>
                    </a:cubicBezTo>
                    <a:cubicBezTo>
                      <a:pt x="2125" y="70030"/>
                      <a:pt x="-243" y="64158"/>
                      <a:pt x="20" y="58111"/>
                    </a:cubicBezTo>
                    <a:cubicBezTo>
                      <a:pt x="20" y="43783"/>
                      <a:pt x="8462" y="35446"/>
                      <a:pt x="25358" y="33102"/>
                    </a:cubicBezTo>
                    <a:lnTo>
                      <a:pt x="48384" y="29882"/>
                    </a:lnTo>
                    <a:cubicBezTo>
                      <a:pt x="48384" y="16857"/>
                      <a:pt x="43110" y="10350"/>
                      <a:pt x="32562" y="10339"/>
                    </a:cubicBezTo>
                    <a:cubicBezTo>
                      <a:pt x="23352" y="10328"/>
                      <a:pt x="14449" y="13691"/>
                      <a:pt x="7530" y="19770"/>
                    </a:cubicBezTo>
                    <a:lnTo>
                      <a:pt x="7530" y="7195"/>
                    </a:lnTo>
                    <a:cubicBezTo>
                      <a:pt x="15348" y="2331"/>
                      <a:pt x="24405" y="-167"/>
                      <a:pt x="33615" y="9"/>
                    </a:cubicBezTo>
                    <a:cubicBezTo>
                      <a:pt x="51662" y="9"/>
                      <a:pt x="60686" y="9539"/>
                      <a:pt x="60675" y="28611"/>
                    </a:cubicBezTo>
                    <a:close/>
                    <a:moveTo>
                      <a:pt x="48340" y="39697"/>
                    </a:moveTo>
                    <a:lnTo>
                      <a:pt x="29821" y="42238"/>
                    </a:lnTo>
                    <a:cubicBezTo>
                      <a:pt x="25260" y="42654"/>
                      <a:pt x="20852" y="44100"/>
                      <a:pt x="16927" y="46467"/>
                    </a:cubicBezTo>
                    <a:cubicBezTo>
                      <a:pt x="13747" y="49085"/>
                      <a:pt x="12102" y="53127"/>
                      <a:pt x="12541" y="57213"/>
                    </a:cubicBezTo>
                    <a:cubicBezTo>
                      <a:pt x="12431" y="60718"/>
                      <a:pt x="13912" y="64081"/>
                      <a:pt x="16554" y="66393"/>
                    </a:cubicBezTo>
                    <a:cubicBezTo>
                      <a:pt x="19547" y="68868"/>
                      <a:pt x="23352" y="70139"/>
                      <a:pt x="27233" y="69942"/>
                    </a:cubicBezTo>
                    <a:cubicBezTo>
                      <a:pt x="32957" y="70106"/>
                      <a:pt x="38472" y="67762"/>
                      <a:pt x="42342" y="63545"/>
                    </a:cubicBezTo>
                    <a:cubicBezTo>
                      <a:pt x="46366" y="59119"/>
                      <a:pt x="48504" y="53302"/>
                      <a:pt x="48296" y="473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4" name="Freeform: Shape 263">
                <a:extLst>
                  <a:ext uri="{FF2B5EF4-FFF2-40B4-BE49-F238E27FC236}">
                    <a16:creationId xmlns:a16="http://schemas.microsoft.com/office/drawing/2014/main" id="{9C5F2A47-107B-64A2-F35E-AC1384A4819C}"/>
                  </a:ext>
                </a:extLst>
              </p:cNvPr>
              <p:cNvSpPr/>
              <p:nvPr/>
            </p:nvSpPr>
            <p:spPr>
              <a:xfrm>
                <a:off x="5048262" y="3593097"/>
                <a:ext cx="50957" cy="80198"/>
              </a:xfrm>
              <a:custGeom>
                <a:avLst/>
                <a:gdLst>
                  <a:gd name="connsiteX0" fmla="*/ 0 w 50957"/>
                  <a:gd name="connsiteY0" fmla="*/ 75635 h 80198"/>
                  <a:gd name="connsiteX1" fmla="*/ 0 w 50957"/>
                  <a:gd name="connsiteY1" fmla="*/ 62490 h 80198"/>
                  <a:gd name="connsiteX2" fmla="*/ 22115 w 50957"/>
                  <a:gd name="connsiteY2" fmla="*/ 69895 h 80198"/>
                  <a:gd name="connsiteX3" fmla="*/ 38309 w 50957"/>
                  <a:gd name="connsiteY3" fmla="*/ 59116 h 80198"/>
                  <a:gd name="connsiteX4" fmla="*/ 36917 w 50957"/>
                  <a:gd name="connsiteY4" fmla="*/ 53913 h 80198"/>
                  <a:gd name="connsiteX5" fmla="*/ 33167 w 50957"/>
                  <a:gd name="connsiteY5" fmla="*/ 50133 h 80198"/>
                  <a:gd name="connsiteX6" fmla="*/ 27619 w 50957"/>
                  <a:gd name="connsiteY6" fmla="*/ 47176 h 80198"/>
                  <a:gd name="connsiteX7" fmla="*/ 20767 w 50957"/>
                  <a:gd name="connsiteY7" fmla="*/ 44437 h 80198"/>
                  <a:gd name="connsiteX8" fmla="*/ 11809 w 50957"/>
                  <a:gd name="connsiteY8" fmla="*/ 40362 h 80198"/>
                  <a:gd name="connsiteX9" fmla="*/ 5362 w 50957"/>
                  <a:gd name="connsiteY9" fmla="*/ 35717 h 80198"/>
                  <a:gd name="connsiteX10" fmla="*/ 1458 w 50957"/>
                  <a:gd name="connsiteY10" fmla="*/ 29835 h 80198"/>
                  <a:gd name="connsiteX11" fmla="*/ 154 w 50957"/>
                  <a:gd name="connsiteY11" fmla="*/ 22167 h 80198"/>
                  <a:gd name="connsiteX12" fmla="*/ 2631 w 50957"/>
                  <a:gd name="connsiteY12" fmla="*/ 12625 h 80198"/>
                  <a:gd name="connsiteX13" fmla="*/ 9210 w 50957"/>
                  <a:gd name="connsiteY13" fmla="*/ 5658 h 80198"/>
                  <a:gd name="connsiteX14" fmla="*/ 18618 w 50957"/>
                  <a:gd name="connsiteY14" fmla="*/ 1430 h 80198"/>
                  <a:gd name="connsiteX15" fmla="*/ 29582 w 50957"/>
                  <a:gd name="connsiteY15" fmla="*/ 6 h 80198"/>
                  <a:gd name="connsiteX16" fmla="*/ 47421 w 50957"/>
                  <a:gd name="connsiteY16" fmla="*/ 3445 h 80198"/>
                  <a:gd name="connsiteX17" fmla="*/ 47421 w 50957"/>
                  <a:gd name="connsiteY17" fmla="*/ 15813 h 80198"/>
                  <a:gd name="connsiteX18" fmla="*/ 27926 w 50957"/>
                  <a:gd name="connsiteY18" fmla="*/ 10270 h 80198"/>
                  <a:gd name="connsiteX19" fmla="*/ 21710 w 50957"/>
                  <a:gd name="connsiteY19" fmla="*/ 11059 h 80198"/>
                  <a:gd name="connsiteX20" fmla="*/ 16940 w 50957"/>
                  <a:gd name="connsiteY20" fmla="*/ 13250 h 80198"/>
                  <a:gd name="connsiteX21" fmla="*/ 13870 w 50957"/>
                  <a:gd name="connsiteY21" fmla="*/ 16657 h 80198"/>
                  <a:gd name="connsiteX22" fmla="*/ 12774 w 50957"/>
                  <a:gd name="connsiteY22" fmla="*/ 21038 h 80198"/>
                  <a:gd name="connsiteX23" fmla="*/ 13870 w 50957"/>
                  <a:gd name="connsiteY23" fmla="*/ 26056 h 80198"/>
                  <a:gd name="connsiteX24" fmla="*/ 17061 w 50957"/>
                  <a:gd name="connsiteY24" fmla="*/ 29660 h 80198"/>
                  <a:gd name="connsiteX25" fmla="*/ 22159 w 50957"/>
                  <a:gd name="connsiteY25" fmla="*/ 32497 h 80198"/>
                  <a:gd name="connsiteX26" fmla="*/ 28979 w 50957"/>
                  <a:gd name="connsiteY26" fmla="*/ 35268 h 80198"/>
                  <a:gd name="connsiteX27" fmla="*/ 38123 w 50957"/>
                  <a:gd name="connsiteY27" fmla="*/ 39278 h 80198"/>
                  <a:gd name="connsiteX28" fmla="*/ 45020 w 50957"/>
                  <a:gd name="connsiteY28" fmla="*/ 43922 h 80198"/>
                  <a:gd name="connsiteX29" fmla="*/ 49406 w 50957"/>
                  <a:gd name="connsiteY29" fmla="*/ 49871 h 80198"/>
                  <a:gd name="connsiteX30" fmla="*/ 50952 w 50957"/>
                  <a:gd name="connsiteY30" fmla="*/ 57889 h 80198"/>
                  <a:gd name="connsiteX31" fmla="*/ 48430 w 50957"/>
                  <a:gd name="connsiteY31" fmla="*/ 67748 h 80198"/>
                  <a:gd name="connsiteX32" fmla="*/ 41730 w 50957"/>
                  <a:gd name="connsiteY32" fmla="*/ 74715 h 80198"/>
                  <a:gd name="connsiteX33" fmla="*/ 32060 w 50957"/>
                  <a:gd name="connsiteY33" fmla="*/ 78834 h 80198"/>
                  <a:gd name="connsiteX34" fmla="*/ 20591 w 50957"/>
                  <a:gd name="connsiteY34" fmla="*/ 80182 h 80198"/>
                  <a:gd name="connsiteX35" fmla="*/ 0 w 50957"/>
                  <a:gd name="connsiteY35" fmla="*/ 75635 h 8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57" h="80198">
                    <a:moveTo>
                      <a:pt x="0" y="75635"/>
                    </a:moveTo>
                    <a:lnTo>
                      <a:pt x="0" y="62490"/>
                    </a:lnTo>
                    <a:cubicBezTo>
                      <a:pt x="6360" y="67321"/>
                      <a:pt x="14133" y="69917"/>
                      <a:pt x="22115" y="69895"/>
                    </a:cubicBezTo>
                    <a:cubicBezTo>
                      <a:pt x="32904" y="69895"/>
                      <a:pt x="38299" y="66302"/>
                      <a:pt x="38309" y="59116"/>
                    </a:cubicBezTo>
                    <a:cubicBezTo>
                      <a:pt x="38364" y="57287"/>
                      <a:pt x="37882" y="55468"/>
                      <a:pt x="36917" y="53913"/>
                    </a:cubicBezTo>
                    <a:cubicBezTo>
                      <a:pt x="35919" y="52423"/>
                      <a:pt x="34648" y="51141"/>
                      <a:pt x="33167" y="50133"/>
                    </a:cubicBezTo>
                    <a:cubicBezTo>
                      <a:pt x="31435" y="48950"/>
                      <a:pt x="29571" y="47953"/>
                      <a:pt x="27619" y="47176"/>
                    </a:cubicBezTo>
                    <a:cubicBezTo>
                      <a:pt x="25503" y="46299"/>
                      <a:pt x="23233" y="45390"/>
                      <a:pt x="20767" y="44437"/>
                    </a:cubicBezTo>
                    <a:cubicBezTo>
                      <a:pt x="17707" y="43243"/>
                      <a:pt x="14714" y="41885"/>
                      <a:pt x="11809" y="40362"/>
                    </a:cubicBezTo>
                    <a:cubicBezTo>
                      <a:pt x="9440" y="39135"/>
                      <a:pt x="7269" y="37569"/>
                      <a:pt x="5362" y="35717"/>
                    </a:cubicBezTo>
                    <a:cubicBezTo>
                      <a:pt x="3662" y="34052"/>
                      <a:pt x="2336" y="32048"/>
                      <a:pt x="1458" y="29835"/>
                    </a:cubicBezTo>
                    <a:cubicBezTo>
                      <a:pt x="548" y="27381"/>
                      <a:pt x="110" y="24785"/>
                      <a:pt x="154" y="22167"/>
                    </a:cubicBezTo>
                    <a:cubicBezTo>
                      <a:pt x="88" y="18815"/>
                      <a:pt x="943" y="15517"/>
                      <a:pt x="2631" y="12625"/>
                    </a:cubicBezTo>
                    <a:cubicBezTo>
                      <a:pt x="4276" y="9843"/>
                      <a:pt x="6524" y="7466"/>
                      <a:pt x="9210" y="5658"/>
                    </a:cubicBezTo>
                    <a:cubicBezTo>
                      <a:pt x="12083" y="3719"/>
                      <a:pt x="15262" y="2295"/>
                      <a:pt x="18618" y="1430"/>
                    </a:cubicBezTo>
                    <a:cubicBezTo>
                      <a:pt x="22192" y="466"/>
                      <a:pt x="25876" y="-5"/>
                      <a:pt x="29582" y="6"/>
                    </a:cubicBezTo>
                    <a:cubicBezTo>
                      <a:pt x="35700" y="-93"/>
                      <a:pt x="41774" y="1079"/>
                      <a:pt x="47421" y="3445"/>
                    </a:cubicBezTo>
                    <a:lnTo>
                      <a:pt x="47421" y="15813"/>
                    </a:lnTo>
                    <a:cubicBezTo>
                      <a:pt x="41621" y="12067"/>
                      <a:pt x="34834" y="10139"/>
                      <a:pt x="27926" y="10270"/>
                    </a:cubicBezTo>
                    <a:cubicBezTo>
                      <a:pt x="25832" y="10248"/>
                      <a:pt x="23738" y="10511"/>
                      <a:pt x="21710" y="11059"/>
                    </a:cubicBezTo>
                    <a:cubicBezTo>
                      <a:pt x="20010" y="11508"/>
                      <a:pt x="18398" y="12253"/>
                      <a:pt x="16940" y="13250"/>
                    </a:cubicBezTo>
                    <a:cubicBezTo>
                      <a:pt x="15679" y="14148"/>
                      <a:pt x="14627" y="15309"/>
                      <a:pt x="13870" y="16657"/>
                    </a:cubicBezTo>
                    <a:cubicBezTo>
                      <a:pt x="13146" y="18004"/>
                      <a:pt x="12763" y="19505"/>
                      <a:pt x="12774" y="21038"/>
                    </a:cubicBezTo>
                    <a:cubicBezTo>
                      <a:pt x="12719" y="22780"/>
                      <a:pt x="13103" y="24500"/>
                      <a:pt x="13870" y="26056"/>
                    </a:cubicBezTo>
                    <a:cubicBezTo>
                      <a:pt x="14659" y="27480"/>
                      <a:pt x="15745" y="28706"/>
                      <a:pt x="17061" y="29660"/>
                    </a:cubicBezTo>
                    <a:cubicBezTo>
                      <a:pt x="18640" y="30810"/>
                      <a:pt x="20350" y="31763"/>
                      <a:pt x="22159" y="32497"/>
                    </a:cubicBezTo>
                    <a:cubicBezTo>
                      <a:pt x="24155" y="33351"/>
                      <a:pt x="26435" y="34271"/>
                      <a:pt x="28979" y="35268"/>
                    </a:cubicBezTo>
                    <a:cubicBezTo>
                      <a:pt x="32093" y="36440"/>
                      <a:pt x="35152" y="37777"/>
                      <a:pt x="38123" y="39278"/>
                    </a:cubicBezTo>
                    <a:cubicBezTo>
                      <a:pt x="40612" y="40515"/>
                      <a:pt x="42937" y="42082"/>
                      <a:pt x="45020" y="43922"/>
                    </a:cubicBezTo>
                    <a:cubicBezTo>
                      <a:pt x="46884" y="45576"/>
                      <a:pt x="48375" y="47603"/>
                      <a:pt x="49406" y="49871"/>
                    </a:cubicBezTo>
                    <a:cubicBezTo>
                      <a:pt x="50491" y="52401"/>
                      <a:pt x="51017" y="55140"/>
                      <a:pt x="50952" y="57889"/>
                    </a:cubicBezTo>
                    <a:cubicBezTo>
                      <a:pt x="51039" y="61340"/>
                      <a:pt x="50162" y="64758"/>
                      <a:pt x="48430" y="67748"/>
                    </a:cubicBezTo>
                    <a:cubicBezTo>
                      <a:pt x="46752" y="70553"/>
                      <a:pt x="44461" y="72930"/>
                      <a:pt x="41730" y="74715"/>
                    </a:cubicBezTo>
                    <a:cubicBezTo>
                      <a:pt x="38770" y="76632"/>
                      <a:pt x="35492" y="78023"/>
                      <a:pt x="32060" y="78834"/>
                    </a:cubicBezTo>
                    <a:cubicBezTo>
                      <a:pt x="28310" y="79743"/>
                      <a:pt x="24451" y="80192"/>
                      <a:pt x="20591" y="80182"/>
                    </a:cubicBezTo>
                    <a:cubicBezTo>
                      <a:pt x="13453" y="80379"/>
                      <a:pt x="6392" y="78812"/>
                      <a:pt x="0" y="756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5" name="Freeform: Shape 264">
                <a:extLst>
                  <a:ext uri="{FF2B5EF4-FFF2-40B4-BE49-F238E27FC236}">
                    <a16:creationId xmlns:a16="http://schemas.microsoft.com/office/drawing/2014/main" id="{6EFBE7FD-9355-C92E-D9F9-A6114445FE8B}"/>
                  </a:ext>
                </a:extLst>
              </p:cNvPr>
              <p:cNvSpPr/>
              <p:nvPr/>
            </p:nvSpPr>
            <p:spPr>
              <a:xfrm>
                <a:off x="5109323" y="3572125"/>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9 w 44789"/>
                  <a:gd name="connsiteY8" fmla="*/ 0 h 101045"/>
                  <a:gd name="connsiteX9" fmla="*/ 25449 w 44789"/>
                  <a:gd name="connsiteY9" fmla="*/ 22698 h 101045"/>
                  <a:gd name="connsiteX10" fmla="*/ 44789 w 44789"/>
                  <a:gd name="connsiteY10" fmla="*/ 22698 h 101045"/>
                  <a:gd name="connsiteX11" fmla="*/ 44789 w 44789"/>
                  <a:gd name="connsiteY11" fmla="*/ 33181 h 101045"/>
                  <a:gd name="connsiteX12" fmla="*/ 25449 w 44789"/>
                  <a:gd name="connsiteY12" fmla="*/ 33181 h 101045"/>
                  <a:gd name="connsiteX13" fmla="*/ 25449 w 44789"/>
                  <a:gd name="connsiteY13" fmla="*/ 76385 h 101045"/>
                  <a:gd name="connsiteX14" fmla="*/ 28069 w 44789"/>
                  <a:gd name="connsiteY14" fmla="*/ 87395 h 101045"/>
                  <a:gd name="connsiteX15" fmla="*/ 36764 w 44789"/>
                  <a:gd name="connsiteY15" fmla="*/ 90681 h 101045"/>
                  <a:gd name="connsiteX16" fmla="*/ 44789 w 44789"/>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65"/>
                      <a:pt x="37279" y="101197"/>
                      <a:pt x="33321" y="101022"/>
                    </a:cubicBezTo>
                    <a:cubicBezTo>
                      <a:pt x="19868" y="101022"/>
                      <a:pt x="13146" y="93529"/>
                      <a:pt x="13157" y="78554"/>
                    </a:cubicBezTo>
                    <a:lnTo>
                      <a:pt x="13157" y="33181"/>
                    </a:lnTo>
                    <a:lnTo>
                      <a:pt x="0" y="33181"/>
                    </a:lnTo>
                    <a:lnTo>
                      <a:pt x="0" y="22698"/>
                    </a:lnTo>
                    <a:lnTo>
                      <a:pt x="13157" y="22698"/>
                    </a:lnTo>
                    <a:lnTo>
                      <a:pt x="13157" y="3976"/>
                    </a:lnTo>
                    <a:lnTo>
                      <a:pt x="25449" y="0"/>
                    </a:lnTo>
                    <a:lnTo>
                      <a:pt x="25449" y="22698"/>
                    </a:lnTo>
                    <a:lnTo>
                      <a:pt x="44789" y="22698"/>
                    </a:lnTo>
                    <a:lnTo>
                      <a:pt x="44789" y="33181"/>
                    </a:lnTo>
                    <a:lnTo>
                      <a:pt x="25449" y="33181"/>
                    </a:lnTo>
                    <a:lnTo>
                      <a:pt x="25449" y="76385"/>
                    </a:lnTo>
                    <a:cubicBezTo>
                      <a:pt x="25109" y="80241"/>
                      <a:pt x="26029" y="84108"/>
                      <a:pt x="28069" y="87395"/>
                    </a:cubicBezTo>
                    <a:cubicBezTo>
                      <a:pt x="30295" y="89794"/>
                      <a:pt x="33507" y="91010"/>
                      <a:pt x="36764" y="90681"/>
                    </a:cubicBezTo>
                    <a:cubicBezTo>
                      <a:pt x="39647" y="90747"/>
                      <a:pt x="42476" y="89849"/>
                      <a:pt x="44789" y="8812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6" name="Freeform: Shape 265">
                <a:extLst>
                  <a:ext uri="{FF2B5EF4-FFF2-40B4-BE49-F238E27FC236}">
                    <a16:creationId xmlns:a16="http://schemas.microsoft.com/office/drawing/2014/main" id="{107AA3D9-4762-27B4-315B-F3F6D0496AFD}"/>
                  </a:ext>
                </a:extLst>
              </p:cNvPr>
              <p:cNvSpPr/>
              <p:nvPr/>
            </p:nvSpPr>
            <p:spPr>
              <a:xfrm>
                <a:off x="5169309" y="3593456"/>
                <a:ext cx="40008" cy="78048"/>
              </a:xfrm>
              <a:custGeom>
                <a:avLst/>
                <a:gdLst>
                  <a:gd name="connsiteX0" fmla="*/ 39965 w 40008"/>
                  <a:gd name="connsiteY0" fmla="*/ 13789 h 78048"/>
                  <a:gd name="connsiteX1" fmla="*/ 30667 w 40008"/>
                  <a:gd name="connsiteY1" fmla="*/ 11325 h 78048"/>
                  <a:gd name="connsiteX2" fmla="*/ 17510 w 40008"/>
                  <a:gd name="connsiteY2" fmla="*/ 18741 h 78048"/>
                  <a:gd name="connsiteX3" fmla="*/ 12236 w 40008"/>
                  <a:gd name="connsiteY3" fmla="*/ 38952 h 78048"/>
                  <a:gd name="connsiteX4" fmla="*/ 12236 w 40008"/>
                  <a:gd name="connsiteY4" fmla="*/ 78048 h 78048"/>
                  <a:gd name="connsiteX5" fmla="*/ 0 w 40008"/>
                  <a:gd name="connsiteY5" fmla="*/ 78048 h 78048"/>
                  <a:gd name="connsiteX6" fmla="*/ 0 w 40008"/>
                  <a:gd name="connsiteY6" fmla="*/ 1367 h 78048"/>
                  <a:gd name="connsiteX7" fmla="*/ 12291 w 40008"/>
                  <a:gd name="connsiteY7" fmla="*/ 1367 h 78048"/>
                  <a:gd name="connsiteX8" fmla="*/ 12291 w 40008"/>
                  <a:gd name="connsiteY8" fmla="*/ 17163 h 78048"/>
                  <a:gd name="connsiteX9" fmla="*/ 12587 w 40008"/>
                  <a:gd name="connsiteY9" fmla="*/ 17163 h 78048"/>
                  <a:gd name="connsiteX10" fmla="*/ 20602 w 40008"/>
                  <a:gd name="connsiteY10" fmla="*/ 4544 h 78048"/>
                  <a:gd name="connsiteX11" fmla="*/ 32663 w 40008"/>
                  <a:gd name="connsiteY11" fmla="*/ 20 h 78048"/>
                  <a:gd name="connsiteX12" fmla="*/ 40009 w 40008"/>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08" h="78048">
                    <a:moveTo>
                      <a:pt x="39965" y="13789"/>
                    </a:moveTo>
                    <a:cubicBezTo>
                      <a:pt x="37213" y="11971"/>
                      <a:pt x="33957" y="11106"/>
                      <a:pt x="30667" y="11325"/>
                    </a:cubicBezTo>
                    <a:cubicBezTo>
                      <a:pt x="25306" y="11379"/>
                      <a:pt x="20339" y="14184"/>
                      <a:pt x="17510" y="18741"/>
                    </a:cubicBezTo>
                    <a:cubicBezTo>
                      <a:pt x="13694" y="24766"/>
                      <a:pt x="11841" y="31831"/>
                      <a:pt x="12236" y="38952"/>
                    </a:cubicBezTo>
                    <a:lnTo>
                      <a:pt x="12236" y="78048"/>
                    </a:lnTo>
                    <a:lnTo>
                      <a:pt x="0" y="78048"/>
                    </a:lnTo>
                    <a:lnTo>
                      <a:pt x="0" y="1367"/>
                    </a:lnTo>
                    <a:lnTo>
                      <a:pt x="12291" y="1367"/>
                    </a:lnTo>
                    <a:lnTo>
                      <a:pt x="12291" y="17163"/>
                    </a:lnTo>
                    <a:lnTo>
                      <a:pt x="12587" y="17163"/>
                    </a:lnTo>
                    <a:cubicBezTo>
                      <a:pt x="14002" y="12278"/>
                      <a:pt x="16787" y="7907"/>
                      <a:pt x="20602" y="4544"/>
                    </a:cubicBezTo>
                    <a:cubicBezTo>
                      <a:pt x="23935" y="1619"/>
                      <a:pt x="28222" y="20"/>
                      <a:pt x="32663" y="20"/>
                    </a:cubicBezTo>
                    <a:cubicBezTo>
                      <a:pt x="35152" y="-90"/>
                      <a:pt x="37641" y="261"/>
                      <a:pt x="40009" y="10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7" name="Freeform: Shape 266">
                <a:extLst>
                  <a:ext uri="{FF2B5EF4-FFF2-40B4-BE49-F238E27FC236}">
                    <a16:creationId xmlns:a16="http://schemas.microsoft.com/office/drawing/2014/main" id="{ACA9BD43-2796-9375-5810-26BD6F57E816}"/>
                  </a:ext>
                </a:extLst>
              </p:cNvPr>
              <p:cNvSpPr/>
              <p:nvPr/>
            </p:nvSpPr>
            <p:spPr>
              <a:xfrm>
                <a:off x="5222080" y="3594823"/>
                <a:ext cx="63725" cy="78502"/>
              </a:xfrm>
              <a:custGeom>
                <a:avLst/>
                <a:gdLst>
                  <a:gd name="connsiteX0" fmla="*/ 63725 w 63725"/>
                  <a:gd name="connsiteY0" fmla="*/ 76681 h 78502"/>
                  <a:gd name="connsiteX1" fmla="*/ 51390 w 63725"/>
                  <a:gd name="connsiteY1" fmla="*/ 76681 h 78502"/>
                  <a:gd name="connsiteX2" fmla="*/ 51390 w 63725"/>
                  <a:gd name="connsiteY2" fmla="*/ 64544 h 78502"/>
                  <a:gd name="connsiteX3" fmla="*/ 51094 w 63725"/>
                  <a:gd name="connsiteY3" fmla="*/ 64544 h 78502"/>
                  <a:gd name="connsiteX4" fmla="*/ 27411 w 63725"/>
                  <a:gd name="connsiteY4" fmla="*/ 78478 h 78502"/>
                  <a:gd name="connsiteX5" fmla="*/ 0 w 63725"/>
                  <a:gd name="connsiteY5" fmla="*/ 45823 h 78502"/>
                  <a:gd name="connsiteX6" fmla="*/ 0 w 63725"/>
                  <a:gd name="connsiteY6" fmla="*/ 0 h 78502"/>
                  <a:gd name="connsiteX7" fmla="*/ 12214 w 63725"/>
                  <a:gd name="connsiteY7" fmla="*/ 0 h 78502"/>
                  <a:gd name="connsiteX8" fmla="*/ 12214 w 63725"/>
                  <a:gd name="connsiteY8" fmla="*/ 43884 h 78502"/>
                  <a:gd name="connsiteX9" fmla="*/ 30799 w 63725"/>
                  <a:gd name="connsiteY9" fmla="*/ 68137 h 78502"/>
                  <a:gd name="connsiteX10" fmla="*/ 45612 w 63725"/>
                  <a:gd name="connsiteY10" fmla="*/ 61564 h 78502"/>
                  <a:gd name="connsiteX11" fmla="*/ 51412 w 63725"/>
                  <a:gd name="connsiteY11" fmla="*/ 44234 h 78502"/>
                  <a:gd name="connsiteX12" fmla="*/ 51412 w 63725"/>
                  <a:gd name="connsiteY12" fmla="*/ 55 h 78502"/>
                  <a:gd name="connsiteX13" fmla="*/ 63703 w 63725"/>
                  <a:gd name="connsiteY13" fmla="*/ 55 h 7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25" h="78502">
                    <a:moveTo>
                      <a:pt x="63725" y="76681"/>
                    </a:moveTo>
                    <a:lnTo>
                      <a:pt x="51390" y="76681"/>
                    </a:lnTo>
                    <a:lnTo>
                      <a:pt x="51390" y="64544"/>
                    </a:lnTo>
                    <a:lnTo>
                      <a:pt x="51094" y="64544"/>
                    </a:lnTo>
                    <a:cubicBezTo>
                      <a:pt x="46654" y="73461"/>
                      <a:pt x="37367" y="78916"/>
                      <a:pt x="27411" y="78478"/>
                    </a:cubicBezTo>
                    <a:cubicBezTo>
                      <a:pt x="9133" y="78478"/>
                      <a:pt x="0" y="67589"/>
                      <a:pt x="0" y="45823"/>
                    </a:cubicBezTo>
                    <a:lnTo>
                      <a:pt x="0" y="0"/>
                    </a:lnTo>
                    <a:lnTo>
                      <a:pt x="12214" y="0"/>
                    </a:lnTo>
                    <a:lnTo>
                      <a:pt x="12214" y="43884"/>
                    </a:lnTo>
                    <a:cubicBezTo>
                      <a:pt x="12214" y="60052"/>
                      <a:pt x="18409" y="68137"/>
                      <a:pt x="30799" y="68137"/>
                    </a:cubicBezTo>
                    <a:cubicBezTo>
                      <a:pt x="36478" y="68290"/>
                      <a:pt x="41917" y="65880"/>
                      <a:pt x="45612" y="61564"/>
                    </a:cubicBezTo>
                    <a:cubicBezTo>
                      <a:pt x="49636" y="56711"/>
                      <a:pt x="51708" y="50533"/>
                      <a:pt x="51412" y="44234"/>
                    </a:cubicBezTo>
                    <a:lnTo>
                      <a:pt x="51412" y="55"/>
                    </a:lnTo>
                    <a:lnTo>
                      <a:pt x="63703" y="55"/>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8" name="Freeform: Shape 267">
                <a:extLst>
                  <a:ext uri="{FF2B5EF4-FFF2-40B4-BE49-F238E27FC236}">
                    <a16:creationId xmlns:a16="http://schemas.microsoft.com/office/drawing/2014/main" id="{A825C977-6E84-FADB-D6FC-B9B301D6DE9A}"/>
                  </a:ext>
                </a:extLst>
              </p:cNvPr>
              <p:cNvSpPr/>
              <p:nvPr/>
            </p:nvSpPr>
            <p:spPr>
              <a:xfrm>
                <a:off x="5304332" y="3592987"/>
                <a:ext cx="57752" cy="80342"/>
              </a:xfrm>
              <a:custGeom>
                <a:avLst/>
                <a:gdLst>
                  <a:gd name="connsiteX0" fmla="*/ 57610 w 57752"/>
                  <a:gd name="connsiteY0" fmla="*/ 74990 h 80342"/>
                  <a:gd name="connsiteX1" fmla="*/ 36624 w 57752"/>
                  <a:gd name="connsiteY1" fmla="*/ 80314 h 80342"/>
                  <a:gd name="connsiteX2" fmla="*/ 10123 w 57752"/>
                  <a:gd name="connsiteY2" fmla="*/ 69644 h 80342"/>
                  <a:gd name="connsiteX3" fmla="*/ 47 w 57752"/>
                  <a:gd name="connsiteY3" fmla="*/ 41973 h 80342"/>
                  <a:gd name="connsiteX4" fmla="*/ 10913 w 57752"/>
                  <a:gd name="connsiteY4" fmla="*/ 11530 h 80342"/>
                  <a:gd name="connsiteX5" fmla="*/ 39913 w 57752"/>
                  <a:gd name="connsiteY5" fmla="*/ 39 h 80342"/>
                  <a:gd name="connsiteX6" fmla="*/ 57753 w 57752"/>
                  <a:gd name="connsiteY6" fmla="*/ 3775 h 80342"/>
                  <a:gd name="connsiteX7" fmla="*/ 57753 w 57752"/>
                  <a:gd name="connsiteY7" fmla="*/ 16361 h 80342"/>
                  <a:gd name="connsiteX8" fmla="*/ 39464 w 57752"/>
                  <a:gd name="connsiteY8" fmla="*/ 10369 h 80342"/>
                  <a:gd name="connsiteX9" fmla="*/ 20167 w 57752"/>
                  <a:gd name="connsiteY9" fmla="*/ 18793 h 80342"/>
                  <a:gd name="connsiteX10" fmla="*/ 12634 w 57752"/>
                  <a:gd name="connsiteY10" fmla="*/ 40921 h 80342"/>
                  <a:gd name="connsiteX11" fmla="*/ 19717 w 57752"/>
                  <a:gd name="connsiteY11" fmla="*/ 62184 h 80342"/>
                  <a:gd name="connsiteX12" fmla="*/ 38719 w 57752"/>
                  <a:gd name="connsiteY12" fmla="*/ 69972 h 80342"/>
                  <a:gd name="connsiteX13" fmla="*/ 57610 w 57752"/>
                  <a:gd name="connsiteY13" fmla="*/ 63312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52" h="80342">
                    <a:moveTo>
                      <a:pt x="57610" y="74990"/>
                    </a:moveTo>
                    <a:cubicBezTo>
                      <a:pt x="51240" y="78659"/>
                      <a:pt x="43981" y="80500"/>
                      <a:pt x="36624" y="80314"/>
                    </a:cubicBezTo>
                    <a:cubicBezTo>
                      <a:pt x="26668" y="80719"/>
                      <a:pt x="17020" y="76830"/>
                      <a:pt x="10123" y="69644"/>
                    </a:cubicBezTo>
                    <a:cubicBezTo>
                      <a:pt x="3249" y="62107"/>
                      <a:pt x="-381" y="52160"/>
                      <a:pt x="47" y="41973"/>
                    </a:cubicBezTo>
                    <a:cubicBezTo>
                      <a:pt x="-479" y="30788"/>
                      <a:pt x="3424" y="19856"/>
                      <a:pt x="10913" y="11530"/>
                    </a:cubicBezTo>
                    <a:cubicBezTo>
                      <a:pt x="18489" y="3731"/>
                      <a:pt x="29048" y="-454"/>
                      <a:pt x="39913" y="39"/>
                    </a:cubicBezTo>
                    <a:cubicBezTo>
                      <a:pt x="46065" y="-92"/>
                      <a:pt x="52172" y="1189"/>
                      <a:pt x="57753" y="3775"/>
                    </a:cubicBezTo>
                    <a:lnTo>
                      <a:pt x="57753" y="16361"/>
                    </a:lnTo>
                    <a:cubicBezTo>
                      <a:pt x="52435" y="12494"/>
                      <a:pt x="46043" y="10391"/>
                      <a:pt x="39464" y="10369"/>
                    </a:cubicBezTo>
                    <a:cubicBezTo>
                      <a:pt x="32096" y="10161"/>
                      <a:pt x="25024" y="13250"/>
                      <a:pt x="20167" y="18793"/>
                    </a:cubicBezTo>
                    <a:cubicBezTo>
                      <a:pt x="14948" y="24961"/>
                      <a:pt x="12261" y="32859"/>
                      <a:pt x="12634" y="40921"/>
                    </a:cubicBezTo>
                    <a:cubicBezTo>
                      <a:pt x="12196" y="48655"/>
                      <a:pt x="14739" y="56258"/>
                      <a:pt x="19717" y="62184"/>
                    </a:cubicBezTo>
                    <a:cubicBezTo>
                      <a:pt x="24596" y="67453"/>
                      <a:pt x="31548" y="70301"/>
                      <a:pt x="38719" y="69972"/>
                    </a:cubicBezTo>
                    <a:cubicBezTo>
                      <a:pt x="45582" y="69918"/>
                      <a:pt x="52227" y="67574"/>
                      <a:pt x="57610" y="6331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9" name="Freeform: Shape 268">
                <a:extLst>
                  <a:ext uri="{FF2B5EF4-FFF2-40B4-BE49-F238E27FC236}">
                    <a16:creationId xmlns:a16="http://schemas.microsoft.com/office/drawing/2014/main" id="{C7EBBC9A-C802-9AD6-AD8D-C94FB8A4874D}"/>
                  </a:ext>
                </a:extLst>
              </p:cNvPr>
              <p:cNvSpPr/>
              <p:nvPr/>
            </p:nvSpPr>
            <p:spPr>
              <a:xfrm>
                <a:off x="5373762" y="3572125"/>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8 w 44789"/>
                  <a:gd name="connsiteY8" fmla="*/ 0 h 101045"/>
                  <a:gd name="connsiteX9" fmla="*/ 25448 w 44789"/>
                  <a:gd name="connsiteY9" fmla="*/ 22698 h 101045"/>
                  <a:gd name="connsiteX10" fmla="*/ 44789 w 44789"/>
                  <a:gd name="connsiteY10" fmla="*/ 22698 h 101045"/>
                  <a:gd name="connsiteX11" fmla="*/ 44789 w 44789"/>
                  <a:gd name="connsiteY11" fmla="*/ 33181 h 101045"/>
                  <a:gd name="connsiteX12" fmla="*/ 25448 w 44789"/>
                  <a:gd name="connsiteY12" fmla="*/ 33181 h 101045"/>
                  <a:gd name="connsiteX13" fmla="*/ 25448 w 44789"/>
                  <a:gd name="connsiteY13" fmla="*/ 76385 h 101045"/>
                  <a:gd name="connsiteX14" fmla="*/ 28069 w 44789"/>
                  <a:gd name="connsiteY14" fmla="*/ 87395 h 101045"/>
                  <a:gd name="connsiteX15" fmla="*/ 36764 w 44789"/>
                  <a:gd name="connsiteY15" fmla="*/ 90681 h 101045"/>
                  <a:gd name="connsiteX16" fmla="*/ 44789 w 44789"/>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76"/>
                      <a:pt x="37290" y="101197"/>
                      <a:pt x="33321" y="101022"/>
                    </a:cubicBezTo>
                    <a:cubicBezTo>
                      <a:pt x="19878" y="101022"/>
                      <a:pt x="13157" y="93529"/>
                      <a:pt x="13157" y="78554"/>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448" y="33181"/>
                    </a:lnTo>
                    <a:lnTo>
                      <a:pt x="25448" y="76385"/>
                    </a:lnTo>
                    <a:cubicBezTo>
                      <a:pt x="25108" y="80241"/>
                      <a:pt x="26029" y="84097"/>
                      <a:pt x="28069" y="87395"/>
                    </a:cubicBezTo>
                    <a:cubicBezTo>
                      <a:pt x="30295" y="89783"/>
                      <a:pt x="33507" y="90999"/>
                      <a:pt x="36764" y="90681"/>
                    </a:cubicBezTo>
                    <a:cubicBezTo>
                      <a:pt x="39647" y="90747"/>
                      <a:pt x="42476" y="89849"/>
                      <a:pt x="44789" y="8812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0" name="Freeform: Shape 269">
                <a:extLst>
                  <a:ext uri="{FF2B5EF4-FFF2-40B4-BE49-F238E27FC236}">
                    <a16:creationId xmlns:a16="http://schemas.microsoft.com/office/drawing/2014/main" id="{062FD2CB-1696-1639-B2F8-843561BEEF6D}"/>
                  </a:ext>
                </a:extLst>
              </p:cNvPr>
              <p:cNvSpPr/>
              <p:nvPr/>
            </p:nvSpPr>
            <p:spPr>
              <a:xfrm>
                <a:off x="5432882" y="3594823"/>
                <a:ext cx="63714" cy="78502"/>
              </a:xfrm>
              <a:custGeom>
                <a:avLst/>
                <a:gdLst>
                  <a:gd name="connsiteX0" fmla="*/ 63714 w 63714"/>
                  <a:gd name="connsiteY0" fmla="*/ 76681 h 78502"/>
                  <a:gd name="connsiteX1" fmla="*/ 51423 w 63714"/>
                  <a:gd name="connsiteY1" fmla="*/ 76681 h 78502"/>
                  <a:gd name="connsiteX2" fmla="*/ 51423 w 63714"/>
                  <a:gd name="connsiteY2" fmla="*/ 64544 h 78502"/>
                  <a:gd name="connsiteX3" fmla="*/ 51105 w 63714"/>
                  <a:gd name="connsiteY3" fmla="*/ 64544 h 78502"/>
                  <a:gd name="connsiteX4" fmla="*/ 27411 w 63714"/>
                  <a:gd name="connsiteY4" fmla="*/ 78478 h 78502"/>
                  <a:gd name="connsiteX5" fmla="*/ 0 w 63714"/>
                  <a:gd name="connsiteY5" fmla="*/ 45823 h 78502"/>
                  <a:gd name="connsiteX6" fmla="*/ 0 w 63714"/>
                  <a:gd name="connsiteY6" fmla="*/ 0 h 78502"/>
                  <a:gd name="connsiteX7" fmla="*/ 12225 w 63714"/>
                  <a:gd name="connsiteY7" fmla="*/ 0 h 78502"/>
                  <a:gd name="connsiteX8" fmla="*/ 12225 w 63714"/>
                  <a:gd name="connsiteY8" fmla="*/ 43884 h 78502"/>
                  <a:gd name="connsiteX9" fmla="*/ 30810 w 63714"/>
                  <a:gd name="connsiteY9" fmla="*/ 68137 h 78502"/>
                  <a:gd name="connsiteX10" fmla="*/ 45623 w 63714"/>
                  <a:gd name="connsiteY10" fmla="*/ 61564 h 78502"/>
                  <a:gd name="connsiteX11" fmla="*/ 51423 w 63714"/>
                  <a:gd name="connsiteY11" fmla="*/ 44234 h 78502"/>
                  <a:gd name="connsiteX12" fmla="*/ 51423 w 63714"/>
                  <a:gd name="connsiteY12" fmla="*/ 55 h 78502"/>
                  <a:gd name="connsiteX13" fmla="*/ 63714 w 63714"/>
                  <a:gd name="connsiteY13" fmla="*/ 55 h 7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14" h="78502">
                    <a:moveTo>
                      <a:pt x="63714" y="76681"/>
                    </a:moveTo>
                    <a:lnTo>
                      <a:pt x="51423" y="76681"/>
                    </a:lnTo>
                    <a:lnTo>
                      <a:pt x="51423" y="64544"/>
                    </a:lnTo>
                    <a:lnTo>
                      <a:pt x="51105" y="64544"/>
                    </a:lnTo>
                    <a:cubicBezTo>
                      <a:pt x="46654" y="73461"/>
                      <a:pt x="37367" y="78916"/>
                      <a:pt x="27411" y="78478"/>
                    </a:cubicBezTo>
                    <a:cubicBezTo>
                      <a:pt x="9133" y="78478"/>
                      <a:pt x="0" y="67589"/>
                      <a:pt x="0" y="45823"/>
                    </a:cubicBezTo>
                    <a:lnTo>
                      <a:pt x="0" y="0"/>
                    </a:lnTo>
                    <a:lnTo>
                      <a:pt x="12225" y="0"/>
                    </a:lnTo>
                    <a:lnTo>
                      <a:pt x="12225" y="43884"/>
                    </a:lnTo>
                    <a:cubicBezTo>
                      <a:pt x="12225" y="60052"/>
                      <a:pt x="18420" y="68137"/>
                      <a:pt x="30810" y="68137"/>
                    </a:cubicBezTo>
                    <a:cubicBezTo>
                      <a:pt x="36490" y="68290"/>
                      <a:pt x="41928" y="65880"/>
                      <a:pt x="45623" y="61564"/>
                    </a:cubicBezTo>
                    <a:cubicBezTo>
                      <a:pt x="49647" y="56711"/>
                      <a:pt x="51708" y="50533"/>
                      <a:pt x="51423" y="44234"/>
                    </a:cubicBezTo>
                    <a:lnTo>
                      <a:pt x="51423" y="55"/>
                    </a:lnTo>
                    <a:lnTo>
                      <a:pt x="63714" y="55"/>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1" name="Freeform: Shape 270">
                <a:extLst>
                  <a:ext uri="{FF2B5EF4-FFF2-40B4-BE49-F238E27FC236}">
                    <a16:creationId xmlns:a16="http://schemas.microsoft.com/office/drawing/2014/main" id="{414D4706-600A-121C-C61A-71F0220758A1}"/>
                  </a:ext>
                </a:extLst>
              </p:cNvPr>
              <p:cNvSpPr/>
              <p:nvPr/>
            </p:nvSpPr>
            <p:spPr>
              <a:xfrm>
                <a:off x="5519687" y="3593456"/>
                <a:ext cx="40042" cy="78048"/>
              </a:xfrm>
              <a:custGeom>
                <a:avLst/>
                <a:gdLst>
                  <a:gd name="connsiteX0" fmla="*/ 40042 w 40042"/>
                  <a:gd name="connsiteY0" fmla="*/ 13789 h 78048"/>
                  <a:gd name="connsiteX1" fmla="*/ 30744 w 40042"/>
                  <a:gd name="connsiteY1" fmla="*/ 11325 h 78048"/>
                  <a:gd name="connsiteX2" fmla="*/ 17587 w 40042"/>
                  <a:gd name="connsiteY2" fmla="*/ 18741 h 78048"/>
                  <a:gd name="connsiteX3" fmla="*/ 12302 w 40042"/>
                  <a:gd name="connsiteY3" fmla="*/ 38952 h 78048"/>
                  <a:gd name="connsiteX4" fmla="*/ 12302 w 40042"/>
                  <a:gd name="connsiteY4" fmla="*/ 78048 h 78048"/>
                  <a:gd name="connsiteX5" fmla="*/ 0 w 40042"/>
                  <a:gd name="connsiteY5" fmla="*/ 78048 h 78048"/>
                  <a:gd name="connsiteX6" fmla="*/ 0 w 40042"/>
                  <a:gd name="connsiteY6" fmla="*/ 1367 h 78048"/>
                  <a:gd name="connsiteX7" fmla="*/ 12302 w 40042"/>
                  <a:gd name="connsiteY7" fmla="*/ 1367 h 78048"/>
                  <a:gd name="connsiteX8" fmla="*/ 12302 w 40042"/>
                  <a:gd name="connsiteY8" fmla="*/ 17163 h 78048"/>
                  <a:gd name="connsiteX9" fmla="*/ 12598 w 40042"/>
                  <a:gd name="connsiteY9" fmla="*/ 17163 h 78048"/>
                  <a:gd name="connsiteX10" fmla="*/ 20613 w 40042"/>
                  <a:gd name="connsiteY10" fmla="*/ 4544 h 78048"/>
                  <a:gd name="connsiteX11" fmla="*/ 32674 w 40042"/>
                  <a:gd name="connsiteY11" fmla="*/ 20 h 78048"/>
                  <a:gd name="connsiteX12" fmla="*/ 40020 w 40042"/>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42" h="78048">
                    <a:moveTo>
                      <a:pt x="40042" y="13789"/>
                    </a:moveTo>
                    <a:cubicBezTo>
                      <a:pt x="37290" y="11971"/>
                      <a:pt x="34034" y="11106"/>
                      <a:pt x="30744" y="11325"/>
                    </a:cubicBezTo>
                    <a:cubicBezTo>
                      <a:pt x="25372" y="11379"/>
                      <a:pt x="20416" y="14184"/>
                      <a:pt x="17587" y="18741"/>
                    </a:cubicBezTo>
                    <a:cubicBezTo>
                      <a:pt x="13760" y="24766"/>
                      <a:pt x="11918" y="31831"/>
                      <a:pt x="12302" y="38952"/>
                    </a:cubicBezTo>
                    <a:lnTo>
                      <a:pt x="12302" y="78048"/>
                    </a:lnTo>
                    <a:lnTo>
                      <a:pt x="0" y="78048"/>
                    </a:lnTo>
                    <a:lnTo>
                      <a:pt x="0" y="1367"/>
                    </a:lnTo>
                    <a:lnTo>
                      <a:pt x="12302" y="1367"/>
                    </a:lnTo>
                    <a:lnTo>
                      <a:pt x="12302" y="17163"/>
                    </a:lnTo>
                    <a:lnTo>
                      <a:pt x="12598" y="17163"/>
                    </a:lnTo>
                    <a:cubicBezTo>
                      <a:pt x="14023" y="12289"/>
                      <a:pt x="16798" y="7907"/>
                      <a:pt x="20613" y="4544"/>
                    </a:cubicBezTo>
                    <a:cubicBezTo>
                      <a:pt x="23946" y="1619"/>
                      <a:pt x="28233" y="20"/>
                      <a:pt x="32674" y="20"/>
                    </a:cubicBezTo>
                    <a:cubicBezTo>
                      <a:pt x="35163" y="-90"/>
                      <a:pt x="37663" y="261"/>
                      <a:pt x="40020" y="10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2" name="Freeform: Shape 271">
                <a:extLst>
                  <a:ext uri="{FF2B5EF4-FFF2-40B4-BE49-F238E27FC236}">
                    <a16:creationId xmlns:a16="http://schemas.microsoft.com/office/drawing/2014/main" id="{9FEF9172-C6BB-4738-D3EE-8BF0B109FCF4}"/>
                  </a:ext>
                </a:extLst>
              </p:cNvPr>
              <p:cNvSpPr/>
              <p:nvPr/>
            </p:nvSpPr>
            <p:spPr>
              <a:xfrm>
                <a:off x="5567736" y="3592979"/>
                <a:ext cx="67097" cy="80373"/>
              </a:xfrm>
              <a:custGeom>
                <a:avLst/>
                <a:gdLst>
                  <a:gd name="connsiteX0" fmla="*/ 67022 w 67097"/>
                  <a:gd name="connsiteY0" fmla="*/ 43251 h 80373"/>
                  <a:gd name="connsiteX1" fmla="*/ 12825 w 67097"/>
                  <a:gd name="connsiteY1" fmla="*/ 43251 h 80373"/>
                  <a:gd name="connsiteX2" fmla="*/ 19722 w 67097"/>
                  <a:gd name="connsiteY2" fmla="*/ 63024 h 80373"/>
                  <a:gd name="connsiteX3" fmla="*/ 37857 w 67097"/>
                  <a:gd name="connsiteY3" fmla="*/ 69980 h 80373"/>
                  <a:gd name="connsiteX4" fmla="*/ 61693 w 67097"/>
                  <a:gd name="connsiteY4" fmla="*/ 61447 h 80373"/>
                  <a:gd name="connsiteX5" fmla="*/ 61693 w 67097"/>
                  <a:gd name="connsiteY5" fmla="*/ 72982 h 80373"/>
                  <a:gd name="connsiteX6" fmla="*/ 34940 w 67097"/>
                  <a:gd name="connsiteY6" fmla="*/ 80321 h 80373"/>
                  <a:gd name="connsiteX7" fmla="*/ 9382 w 67097"/>
                  <a:gd name="connsiteY7" fmla="*/ 69871 h 80373"/>
                  <a:gd name="connsiteX8" fmla="*/ 85 w 67097"/>
                  <a:gd name="connsiteY8" fmla="*/ 40480 h 80373"/>
                  <a:gd name="connsiteX9" fmla="*/ 10248 w 67097"/>
                  <a:gd name="connsiteY9" fmla="*/ 11308 h 80373"/>
                  <a:gd name="connsiteX10" fmla="*/ 35467 w 67097"/>
                  <a:gd name="connsiteY10" fmla="*/ 47 h 80373"/>
                  <a:gd name="connsiteX11" fmla="*/ 58777 w 67097"/>
                  <a:gd name="connsiteY11" fmla="*/ 9774 h 80373"/>
                  <a:gd name="connsiteX12" fmla="*/ 67022 w 67097"/>
                  <a:gd name="connsiteY12" fmla="*/ 36810 h 80373"/>
                  <a:gd name="connsiteX13" fmla="*/ 54424 w 67097"/>
                  <a:gd name="connsiteY13" fmla="*/ 32845 h 80373"/>
                  <a:gd name="connsiteX14" fmla="*/ 49293 w 67097"/>
                  <a:gd name="connsiteY14" fmla="*/ 16292 h 80373"/>
                  <a:gd name="connsiteX15" fmla="*/ 35236 w 67097"/>
                  <a:gd name="connsiteY15" fmla="*/ 10377 h 80373"/>
                  <a:gd name="connsiteX16" fmla="*/ 20467 w 67097"/>
                  <a:gd name="connsiteY16" fmla="*/ 16588 h 80373"/>
                  <a:gd name="connsiteX17" fmla="*/ 12979 w 67097"/>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7" h="80373">
                    <a:moveTo>
                      <a:pt x="67022" y="43251"/>
                    </a:moveTo>
                    <a:lnTo>
                      <a:pt x="12825" y="43251"/>
                    </a:lnTo>
                    <a:cubicBezTo>
                      <a:pt x="12562" y="50470"/>
                      <a:pt x="15018" y="57536"/>
                      <a:pt x="19722" y="63024"/>
                    </a:cubicBezTo>
                    <a:cubicBezTo>
                      <a:pt x="24502" y="67822"/>
                      <a:pt x="31092" y="70353"/>
                      <a:pt x="37857" y="69980"/>
                    </a:cubicBezTo>
                    <a:cubicBezTo>
                      <a:pt x="46552" y="69969"/>
                      <a:pt x="54972" y="66957"/>
                      <a:pt x="61693" y="61447"/>
                    </a:cubicBezTo>
                    <a:lnTo>
                      <a:pt x="61693" y="72982"/>
                    </a:lnTo>
                    <a:cubicBezTo>
                      <a:pt x="53788" y="78218"/>
                      <a:pt x="44414" y="80781"/>
                      <a:pt x="34940" y="80321"/>
                    </a:cubicBezTo>
                    <a:cubicBezTo>
                      <a:pt x="25292" y="80814"/>
                      <a:pt x="15917" y="76980"/>
                      <a:pt x="9382" y="69871"/>
                    </a:cubicBezTo>
                    <a:cubicBezTo>
                      <a:pt x="2727" y="61567"/>
                      <a:pt x="-584" y="51095"/>
                      <a:pt x="85" y="40480"/>
                    </a:cubicBezTo>
                    <a:cubicBezTo>
                      <a:pt x="-365" y="29821"/>
                      <a:pt x="3275" y="19381"/>
                      <a:pt x="10248" y="11308"/>
                    </a:cubicBezTo>
                    <a:cubicBezTo>
                      <a:pt x="16564" y="4001"/>
                      <a:pt x="25807" y="-128"/>
                      <a:pt x="35467" y="47"/>
                    </a:cubicBezTo>
                    <a:cubicBezTo>
                      <a:pt x="44315" y="-457"/>
                      <a:pt x="52911" y="3125"/>
                      <a:pt x="58777" y="9774"/>
                    </a:cubicBezTo>
                    <a:cubicBezTo>
                      <a:pt x="64687" y="17508"/>
                      <a:pt x="67614" y="27104"/>
                      <a:pt x="67022" y="36810"/>
                    </a:cubicBezTo>
                    <a:close/>
                    <a:moveTo>
                      <a:pt x="54424" y="32845"/>
                    </a:moveTo>
                    <a:cubicBezTo>
                      <a:pt x="54753" y="26896"/>
                      <a:pt x="52933" y="21025"/>
                      <a:pt x="49293" y="16292"/>
                    </a:cubicBezTo>
                    <a:cubicBezTo>
                      <a:pt x="45751" y="12283"/>
                      <a:pt x="40576" y="10103"/>
                      <a:pt x="35236" y="10377"/>
                    </a:cubicBezTo>
                    <a:cubicBezTo>
                      <a:pt x="29656" y="10289"/>
                      <a:pt x="24305" y="12546"/>
                      <a:pt x="20467" y="16588"/>
                    </a:cubicBezTo>
                    <a:cubicBezTo>
                      <a:pt x="16279" y="21057"/>
                      <a:pt x="13648" y="26754"/>
                      <a:pt x="12979" y="3284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3" name="Freeform: Shape 272">
                <a:extLst>
                  <a:ext uri="{FF2B5EF4-FFF2-40B4-BE49-F238E27FC236}">
                    <a16:creationId xmlns:a16="http://schemas.microsoft.com/office/drawing/2014/main" id="{23B5045F-2CFC-F1B0-4514-F70F194E9CFD}"/>
                  </a:ext>
                </a:extLst>
              </p:cNvPr>
              <p:cNvSpPr/>
              <p:nvPr/>
            </p:nvSpPr>
            <p:spPr>
              <a:xfrm>
                <a:off x="3244499" y="3894964"/>
                <a:ext cx="95653" cy="107353"/>
              </a:xfrm>
              <a:custGeom>
                <a:avLst/>
                <a:gdLst>
                  <a:gd name="connsiteX0" fmla="*/ 95653 w 95653"/>
                  <a:gd name="connsiteY0" fmla="*/ 107354 h 107353"/>
                  <a:gd name="connsiteX1" fmla="*/ 81696 w 95653"/>
                  <a:gd name="connsiteY1" fmla="*/ 107354 h 107353"/>
                  <a:gd name="connsiteX2" fmla="*/ 70304 w 95653"/>
                  <a:gd name="connsiteY2" fmla="*/ 77251 h 107353"/>
                  <a:gd name="connsiteX3" fmla="*/ 24725 w 95653"/>
                  <a:gd name="connsiteY3" fmla="*/ 77251 h 107353"/>
                  <a:gd name="connsiteX4" fmla="*/ 14012 w 95653"/>
                  <a:gd name="connsiteY4" fmla="*/ 107354 h 107353"/>
                  <a:gd name="connsiteX5" fmla="*/ 0 w 95653"/>
                  <a:gd name="connsiteY5" fmla="*/ 107354 h 107353"/>
                  <a:gd name="connsiteX6" fmla="*/ 41215 w 95653"/>
                  <a:gd name="connsiteY6" fmla="*/ 0 h 107353"/>
                  <a:gd name="connsiteX7" fmla="*/ 54285 w 95653"/>
                  <a:gd name="connsiteY7" fmla="*/ 0 h 107353"/>
                  <a:gd name="connsiteX8" fmla="*/ 66203 w 95653"/>
                  <a:gd name="connsiteY8" fmla="*/ 65946 h 107353"/>
                  <a:gd name="connsiteX9" fmla="*/ 49340 w 95653"/>
                  <a:gd name="connsiteY9" fmla="*/ 20189 h 107353"/>
                  <a:gd name="connsiteX10" fmla="*/ 47684 w 95653"/>
                  <a:gd name="connsiteY10" fmla="*/ 13003 h 107353"/>
                  <a:gd name="connsiteX11" fmla="*/ 47388 w 95653"/>
                  <a:gd name="connsiteY11" fmla="*/ 13003 h 107353"/>
                  <a:gd name="connsiteX12" fmla="*/ 45667 w 95653"/>
                  <a:gd name="connsiteY12" fmla="*/ 20189 h 107353"/>
                  <a:gd name="connsiteX13" fmla="*/ 28946 w 95653"/>
                  <a:gd name="connsiteY13" fmla="*/ 6594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653" h="107353">
                    <a:moveTo>
                      <a:pt x="95653" y="107354"/>
                    </a:moveTo>
                    <a:lnTo>
                      <a:pt x="81696" y="107354"/>
                    </a:lnTo>
                    <a:lnTo>
                      <a:pt x="70304" y="77251"/>
                    </a:lnTo>
                    <a:lnTo>
                      <a:pt x="24725" y="77251"/>
                    </a:lnTo>
                    <a:lnTo>
                      <a:pt x="14012" y="107354"/>
                    </a:lnTo>
                    <a:lnTo>
                      <a:pt x="0" y="107354"/>
                    </a:lnTo>
                    <a:lnTo>
                      <a:pt x="41215" y="0"/>
                    </a:lnTo>
                    <a:lnTo>
                      <a:pt x="54285" y="0"/>
                    </a:lnTo>
                    <a:close/>
                    <a:moveTo>
                      <a:pt x="66203" y="65946"/>
                    </a:moveTo>
                    <a:lnTo>
                      <a:pt x="49340" y="20189"/>
                    </a:lnTo>
                    <a:cubicBezTo>
                      <a:pt x="48583" y="17845"/>
                      <a:pt x="48035" y="15446"/>
                      <a:pt x="47684" y="13003"/>
                    </a:cubicBezTo>
                    <a:lnTo>
                      <a:pt x="47388" y="13003"/>
                    </a:lnTo>
                    <a:cubicBezTo>
                      <a:pt x="47037" y="15446"/>
                      <a:pt x="46456" y="17856"/>
                      <a:pt x="45667" y="20189"/>
                    </a:cubicBezTo>
                    <a:lnTo>
                      <a:pt x="28946" y="65946"/>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4" name="Freeform: Shape 273">
                <a:extLst>
                  <a:ext uri="{FF2B5EF4-FFF2-40B4-BE49-F238E27FC236}">
                    <a16:creationId xmlns:a16="http://schemas.microsoft.com/office/drawing/2014/main" id="{CACE1BB1-89EF-E65E-8B95-3B88D765E1F5}"/>
                  </a:ext>
                </a:extLst>
              </p:cNvPr>
              <p:cNvSpPr/>
              <p:nvPr/>
            </p:nvSpPr>
            <p:spPr>
              <a:xfrm>
                <a:off x="3354110" y="3923730"/>
                <a:ext cx="70660" cy="113840"/>
              </a:xfrm>
              <a:custGeom>
                <a:avLst/>
                <a:gdLst>
                  <a:gd name="connsiteX0" fmla="*/ 12587 w 70660"/>
                  <a:gd name="connsiteY0" fmla="*/ 67492 h 113840"/>
                  <a:gd name="connsiteX1" fmla="*/ 12291 w 70660"/>
                  <a:gd name="connsiteY1" fmla="*/ 67492 h 113840"/>
                  <a:gd name="connsiteX2" fmla="*/ 12291 w 70660"/>
                  <a:gd name="connsiteY2" fmla="*/ 113840 h 113840"/>
                  <a:gd name="connsiteX3" fmla="*/ 0 w 70660"/>
                  <a:gd name="connsiteY3" fmla="*/ 113840 h 113840"/>
                  <a:gd name="connsiteX4" fmla="*/ 0 w 70660"/>
                  <a:gd name="connsiteY4" fmla="*/ 1885 h 113840"/>
                  <a:gd name="connsiteX5" fmla="*/ 12291 w 70660"/>
                  <a:gd name="connsiteY5" fmla="*/ 1885 h 113840"/>
                  <a:gd name="connsiteX6" fmla="*/ 12291 w 70660"/>
                  <a:gd name="connsiteY6" fmla="*/ 15370 h 113840"/>
                  <a:gd name="connsiteX7" fmla="*/ 12587 w 70660"/>
                  <a:gd name="connsiteY7" fmla="*/ 15370 h 113840"/>
                  <a:gd name="connsiteX8" fmla="*/ 39121 w 70660"/>
                  <a:gd name="connsiteY8" fmla="*/ 34 h 113840"/>
                  <a:gd name="connsiteX9" fmla="*/ 62278 w 70660"/>
                  <a:gd name="connsiteY9" fmla="*/ 10331 h 113840"/>
                  <a:gd name="connsiteX10" fmla="*/ 70600 w 70660"/>
                  <a:gd name="connsiteY10" fmla="*/ 37925 h 113840"/>
                  <a:gd name="connsiteX11" fmla="*/ 61236 w 70660"/>
                  <a:gd name="connsiteY11" fmla="*/ 68740 h 113840"/>
                  <a:gd name="connsiteX12" fmla="*/ 35601 w 70660"/>
                  <a:gd name="connsiteY12" fmla="*/ 80308 h 113840"/>
                  <a:gd name="connsiteX13" fmla="*/ 12587 w 70660"/>
                  <a:gd name="connsiteY13" fmla="*/ 67492 h 113840"/>
                  <a:gd name="connsiteX14" fmla="*/ 12291 w 70660"/>
                  <a:gd name="connsiteY14" fmla="*/ 36556 h 113840"/>
                  <a:gd name="connsiteX15" fmla="*/ 12291 w 70660"/>
                  <a:gd name="connsiteY15" fmla="*/ 47270 h 113840"/>
                  <a:gd name="connsiteX16" fmla="*/ 18475 w 70660"/>
                  <a:gd name="connsiteY16" fmla="*/ 63406 h 113840"/>
                  <a:gd name="connsiteX17" fmla="*/ 49669 w 70660"/>
                  <a:gd name="connsiteY17" fmla="*/ 63745 h 113840"/>
                  <a:gd name="connsiteX18" fmla="*/ 51675 w 70660"/>
                  <a:gd name="connsiteY18" fmla="*/ 61500 h 113840"/>
                  <a:gd name="connsiteX19" fmla="*/ 58013 w 70660"/>
                  <a:gd name="connsiteY19" fmla="*/ 37761 h 113840"/>
                  <a:gd name="connsiteX20" fmla="*/ 52092 w 70660"/>
                  <a:gd name="connsiteY20" fmla="*/ 17693 h 113840"/>
                  <a:gd name="connsiteX21" fmla="*/ 36051 w 70660"/>
                  <a:gd name="connsiteY21" fmla="*/ 10430 h 113840"/>
                  <a:gd name="connsiteX22" fmla="*/ 18815 w 70660"/>
                  <a:gd name="connsiteY22" fmla="*/ 17879 h 113840"/>
                  <a:gd name="connsiteX23" fmla="*/ 12291 w 70660"/>
                  <a:gd name="connsiteY23" fmla="*/ 36578 h 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60" h="113840">
                    <a:moveTo>
                      <a:pt x="12587" y="67492"/>
                    </a:moveTo>
                    <a:lnTo>
                      <a:pt x="12291" y="67492"/>
                    </a:lnTo>
                    <a:lnTo>
                      <a:pt x="12291" y="113840"/>
                    </a:lnTo>
                    <a:lnTo>
                      <a:pt x="0" y="113840"/>
                    </a:lnTo>
                    <a:lnTo>
                      <a:pt x="0" y="1885"/>
                    </a:lnTo>
                    <a:lnTo>
                      <a:pt x="12291" y="1885"/>
                    </a:lnTo>
                    <a:lnTo>
                      <a:pt x="12291" y="15370"/>
                    </a:lnTo>
                    <a:lnTo>
                      <a:pt x="12587" y="15370"/>
                    </a:lnTo>
                    <a:cubicBezTo>
                      <a:pt x="17795" y="5632"/>
                      <a:pt x="28080" y="-306"/>
                      <a:pt x="39121" y="34"/>
                    </a:cubicBezTo>
                    <a:cubicBezTo>
                      <a:pt x="48035" y="-404"/>
                      <a:pt x="56631" y="3419"/>
                      <a:pt x="62278" y="10331"/>
                    </a:cubicBezTo>
                    <a:cubicBezTo>
                      <a:pt x="68177" y="18284"/>
                      <a:pt x="71115" y="28045"/>
                      <a:pt x="70600" y="37925"/>
                    </a:cubicBezTo>
                    <a:cubicBezTo>
                      <a:pt x="71159" y="48968"/>
                      <a:pt x="67848" y="59867"/>
                      <a:pt x="61236" y="68740"/>
                    </a:cubicBezTo>
                    <a:cubicBezTo>
                      <a:pt x="55019" y="76441"/>
                      <a:pt x="45502" y="80736"/>
                      <a:pt x="35601" y="80308"/>
                    </a:cubicBezTo>
                    <a:cubicBezTo>
                      <a:pt x="26150" y="80593"/>
                      <a:pt x="17313" y="75664"/>
                      <a:pt x="12587" y="67492"/>
                    </a:cubicBezTo>
                    <a:close/>
                    <a:moveTo>
                      <a:pt x="12291" y="36556"/>
                    </a:moveTo>
                    <a:lnTo>
                      <a:pt x="12291" y="47270"/>
                    </a:lnTo>
                    <a:cubicBezTo>
                      <a:pt x="12149" y="53251"/>
                      <a:pt x="14374" y="59046"/>
                      <a:pt x="18475" y="63406"/>
                    </a:cubicBezTo>
                    <a:cubicBezTo>
                      <a:pt x="26994" y="72103"/>
                      <a:pt x="40963" y="72257"/>
                      <a:pt x="49669" y="63745"/>
                    </a:cubicBezTo>
                    <a:cubicBezTo>
                      <a:pt x="50392" y="63044"/>
                      <a:pt x="51061" y="62288"/>
                      <a:pt x="51675" y="61500"/>
                    </a:cubicBezTo>
                    <a:cubicBezTo>
                      <a:pt x="56280" y="54467"/>
                      <a:pt x="58506" y="46152"/>
                      <a:pt x="58013" y="37761"/>
                    </a:cubicBezTo>
                    <a:cubicBezTo>
                      <a:pt x="58429" y="30586"/>
                      <a:pt x="56335" y="23488"/>
                      <a:pt x="52092" y="17693"/>
                    </a:cubicBezTo>
                    <a:cubicBezTo>
                      <a:pt x="48199" y="12873"/>
                      <a:pt x="42246" y="10178"/>
                      <a:pt x="36051" y="10430"/>
                    </a:cubicBezTo>
                    <a:cubicBezTo>
                      <a:pt x="29472" y="10178"/>
                      <a:pt x="23135" y="12916"/>
                      <a:pt x="18815" y="17879"/>
                    </a:cubicBezTo>
                    <a:cubicBezTo>
                      <a:pt x="14385" y="23082"/>
                      <a:pt x="12050" y="29753"/>
                      <a:pt x="12291" y="3657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5" name="Freeform: Shape 274">
                <a:extLst>
                  <a:ext uri="{FF2B5EF4-FFF2-40B4-BE49-F238E27FC236}">
                    <a16:creationId xmlns:a16="http://schemas.microsoft.com/office/drawing/2014/main" id="{D4401CD4-697A-4E05-50EC-05685A3309EE}"/>
                  </a:ext>
                </a:extLst>
              </p:cNvPr>
              <p:cNvSpPr/>
              <p:nvPr/>
            </p:nvSpPr>
            <p:spPr>
              <a:xfrm>
                <a:off x="3443514" y="3923730"/>
                <a:ext cx="70662" cy="113840"/>
              </a:xfrm>
              <a:custGeom>
                <a:avLst/>
                <a:gdLst>
                  <a:gd name="connsiteX0" fmla="*/ 12609 w 70662"/>
                  <a:gd name="connsiteY0" fmla="*/ 67492 h 113840"/>
                  <a:gd name="connsiteX1" fmla="*/ 12313 w 70662"/>
                  <a:gd name="connsiteY1" fmla="*/ 67492 h 113840"/>
                  <a:gd name="connsiteX2" fmla="*/ 12313 w 70662"/>
                  <a:gd name="connsiteY2" fmla="*/ 113840 h 113840"/>
                  <a:gd name="connsiteX3" fmla="*/ 0 w 70662"/>
                  <a:gd name="connsiteY3" fmla="*/ 113840 h 113840"/>
                  <a:gd name="connsiteX4" fmla="*/ 0 w 70662"/>
                  <a:gd name="connsiteY4" fmla="*/ 1885 h 113840"/>
                  <a:gd name="connsiteX5" fmla="*/ 12291 w 70662"/>
                  <a:gd name="connsiteY5" fmla="*/ 1885 h 113840"/>
                  <a:gd name="connsiteX6" fmla="*/ 12291 w 70662"/>
                  <a:gd name="connsiteY6" fmla="*/ 15370 h 113840"/>
                  <a:gd name="connsiteX7" fmla="*/ 12587 w 70662"/>
                  <a:gd name="connsiteY7" fmla="*/ 15370 h 113840"/>
                  <a:gd name="connsiteX8" fmla="*/ 39121 w 70662"/>
                  <a:gd name="connsiteY8" fmla="*/ 34 h 113840"/>
                  <a:gd name="connsiteX9" fmla="*/ 62289 w 70662"/>
                  <a:gd name="connsiteY9" fmla="*/ 10331 h 113840"/>
                  <a:gd name="connsiteX10" fmla="*/ 70600 w 70662"/>
                  <a:gd name="connsiteY10" fmla="*/ 37925 h 113840"/>
                  <a:gd name="connsiteX11" fmla="*/ 61236 w 70662"/>
                  <a:gd name="connsiteY11" fmla="*/ 68740 h 113840"/>
                  <a:gd name="connsiteX12" fmla="*/ 35601 w 70662"/>
                  <a:gd name="connsiteY12" fmla="*/ 80308 h 113840"/>
                  <a:gd name="connsiteX13" fmla="*/ 12609 w 70662"/>
                  <a:gd name="connsiteY13" fmla="*/ 67492 h 113840"/>
                  <a:gd name="connsiteX14" fmla="*/ 12313 w 70662"/>
                  <a:gd name="connsiteY14" fmla="*/ 36556 h 113840"/>
                  <a:gd name="connsiteX15" fmla="*/ 12313 w 70662"/>
                  <a:gd name="connsiteY15" fmla="*/ 47270 h 113840"/>
                  <a:gd name="connsiteX16" fmla="*/ 18497 w 70662"/>
                  <a:gd name="connsiteY16" fmla="*/ 63406 h 113840"/>
                  <a:gd name="connsiteX17" fmla="*/ 49691 w 70662"/>
                  <a:gd name="connsiteY17" fmla="*/ 63745 h 113840"/>
                  <a:gd name="connsiteX18" fmla="*/ 51697 w 70662"/>
                  <a:gd name="connsiteY18" fmla="*/ 61500 h 113840"/>
                  <a:gd name="connsiteX19" fmla="*/ 58035 w 70662"/>
                  <a:gd name="connsiteY19" fmla="*/ 37761 h 113840"/>
                  <a:gd name="connsiteX20" fmla="*/ 52114 w 70662"/>
                  <a:gd name="connsiteY20" fmla="*/ 17693 h 113840"/>
                  <a:gd name="connsiteX21" fmla="*/ 36073 w 70662"/>
                  <a:gd name="connsiteY21" fmla="*/ 10430 h 113840"/>
                  <a:gd name="connsiteX22" fmla="*/ 18837 w 70662"/>
                  <a:gd name="connsiteY22" fmla="*/ 17879 h 113840"/>
                  <a:gd name="connsiteX23" fmla="*/ 12313 w 70662"/>
                  <a:gd name="connsiteY23" fmla="*/ 36578 h 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62" h="113840">
                    <a:moveTo>
                      <a:pt x="12609" y="67492"/>
                    </a:moveTo>
                    <a:lnTo>
                      <a:pt x="12313" y="67492"/>
                    </a:lnTo>
                    <a:lnTo>
                      <a:pt x="12313" y="113840"/>
                    </a:lnTo>
                    <a:lnTo>
                      <a:pt x="0" y="113840"/>
                    </a:lnTo>
                    <a:lnTo>
                      <a:pt x="0" y="1885"/>
                    </a:lnTo>
                    <a:lnTo>
                      <a:pt x="12291" y="1885"/>
                    </a:lnTo>
                    <a:lnTo>
                      <a:pt x="12291" y="15370"/>
                    </a:lnTo>
                    <a:lnTo>
                      <a:pt x="12587" y="15370"/>
                    </a:lnTo>
                    <a:cubicBezTo>
                      <a:pt x="17795" y="5632"/>
                      <a:pt x="28080" y="-306"/>
                      <a:pt x="39121" y="34"/>
                    </a:cubicBezTo>
                    <a:cubicBezTo>
                      <a:pt x="48046" y="-404"/>
                      <a:pt x="56642" y="3419"/>
                      <a:pt x="62289" y="10331"/>
                    </a:cubicBezTo>
                    <a:cubicBezTo>
                      <a:pt x="68177" y="18295"/>
                      <a:pt x="71115" y="28045"/>
                      <a:pt x="70600" y="37925"/>
                    </a:cubicBezTo>
                    <a:cubicBezTo>
                      <a:pt x="71170" y="48979"/>
                      <a:pt x="67859" y="59867"/>
                      <a:pt x="61236" y="68740"/>
                    </a:cubicBezTo>
                    <a:cubicBezTo>
                      <a:pt x="55019" y="76441"/>
                      <a:pt x="45502" y="80736"/>
                      <a:pt x="35601" y="80308"/>
                    </a:cubicBezTo>
                    <a:cubicBezTo>
                      <a:pt x="26161" y="80582"/>
                      <a:pt x="17335" y="75664"/>
                      <a:pt x="12609" y="67492"/>
                    </a:cubicBezTo>
                    <a:close/>
                    <a:moveTo>
                      <a:pt x="12313" y="36556"/>
                    </a:moveTo>
                    <a:lnTo>
                      <a:pt x="12313" y="47270"/>
                    </a:lnTo>
                    <a:cubicBezTo>
                      <a:pt x="12170" y="53251"/>
                      <a:pt x="14396" y="59046"/>
                      <a:pt x="18497" y="63406"/>
                    </a:cubicBezTo>
                    <a:cubicBezTo>
                      <a:pt x="27016" y="72103"/>
                      <a:pt x="40985" y="72257"/>
                      <a:pt x="49691" y="63745"/>
                    </a:cubicBezTo>
                    <a:cubicBezTo>
                      <a:pt x="50414" y="63044"/>
                      <a:pt x="51083" y="62288"/>
                      <a:pt x="51697" y="61500"/>
                    </a:cubicBezTo>
                    <a:cubicBezTo>
                      <a:pt x="56302" y="54467"/>
                      <a:pt x="58528" y="46152"/>
                      <a:pt x="58035" y="37761"/>
                    </a:cubicBezTo>
                    <a:cubicBezTo>
                      <a:pt x="58451" y="30586"/>
                      <a:pt x="56357" y="23488"/>
                      <a:pt x="52114" y="17693"/>
                    </a:cubicBezTo>
                    <a:cubicBezTo>
                      <a:pt x="48222" y="12873"/>
                      <a:pt x="42268" y="10178"/>
                      <a:pt x="36073" y="10430"/>
                    </a:cubicBezTo>
                    <a:cubicBezTo>
                      <a:pt x="29494" y="10178"/>
                      <a:pt x="23157" y="12916"/>
                      <a:pt x="18837" y="17879"/>
                    </a:cubicBezTo>
                    <a:cubicBezTo>
                      <a:pt x="14407" y="23082"/>
                      <a:pt x="12072" y="29753"/>
                      <a:pt x="12313" y="3657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6" name="Freeform: Shape 275">
                <a:extLst>
                  <a:ext uri="{FF2B5EF4-FFF2-40B4-BE49-F238E27FC236}">
                    <a16:creationId xmlns:a16="http://schemas.microsoft.com/office/drawing/2014/main" id="{AA2B92FE-37A8-CCC1-04D3-2FA2F3508385}"/>
                  </a:ext>
                </a:extLst>
              </p:cNvPr>
              <p:cNvSpPr/>
              <p:nvPr/>
            </p:nvSpPr>
            <p:spPr>
              <a:xfrm>
                <a:off x="3533104" y="3888797"/>
                <a:ext cx="12291" cy="113521"/>
              </a:xfrm>
              <a:custGeom>
                <a:avLst/>
                <a:gdLst>
                  <a:gd name="connsiteX0" fmla="*/ 12291 w 12291"/>
                  <a:gd name="connsiteY0" fmla="*/ 113521 h 113521"/>
                  <a:gd name="connsiteX1" fmla="*/ 0 w 12291"/>
                  <a:gd name="connsiteY1" fmla="*/ 113521 h 113521"/>
                  <a:gd name="connsiteX2" fmla="*/ 0 w 12291"/>
                  <a:gd name="connsiteY2" fmla="*/ 0 h 113521"/>
                  <a:gd name="connsiteX3" fmla="*/ 12291 w 12291"/>
                  <a:gd name="connsiteY3" fmla="*/ 0 h 113521"/>
                </a:gdLst>
                <a:ahLst/>
                <a:cxnLst>
                  <a:cxn ang="0">
                    <a:pos x="connsiteX0" y="connsiteY0"/>
                  </a:cxn>
                  <a:cxn ang="0">
                    <a:pos x="connsiteX1" y="connsiteY1"/>
                  </a:cxn>
                  <a:cxn ang="0">
                    <a:pos x="connsiteX2" y="connsiteY2"/>
                  </a:cxn>
                  <a:cxn ang="0">
                    <a:pos x="connsiteX3" y="connsiteY3"/>
                  </a:cxn>
                </a:cxnLst>
                <a:rect l="l" t="t" r="r" b="b"/>
                <a:pathLst>
                  <a:path w="12291" h="113521">
                    <a:moveTo>
                      <a:pt x="12291" y="113521"/>
                    </a:moveTo>
                    <a:lnTo>
                      <a:pt x="0" y="113521"/>
                    </a:lnTo>
                    <a:lnTo>
                      <a:pt x="0" y="0"/>
                    </a:lnTo>
                    <a:lnTo>
                      <a:pt x="12291"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7" name="Freeform: Shape 276">
                <a:extLst>
                  <a:ext uri="{FF2B5EF4-FFF2-40B4-BE49-F238E27FC236}">
                    <a16:creationId xmlns:a16="http://schemas.microsoft.com/office/drawing/2014/main" id="{201E2563-7FD6-FF1F-6347-0EA08A6A83AB}"/>
                  </a:ext>
                </a:extLst>
              </p:cNvPr>
              <p:cNvSpPr/>
              <p:nvPr/>
            </p:nvSpPr>
            <p:spPr>
              <a:xfrm>
                <a:off x="3566903" y="3890219"/>
                <a:ext cx="16047" cy="112098"/>
              </a:xfrm>
              <a:custGeom>
                <a:avLst/>
                <a:gdLst>
                  <a:gd name="connsiteX0" fmla="*/ 7953 w 16047"/>
                  <a:gd name="connsiteY0" fmla="*/ 15951 h 112098"/>
                  <a:gd name="connsiteX1" fmla="*/ 2328 w 16047"/>
                  <a:gd name="connsiteY1" fmla="*/ 13706 h 112098"/>
                  <a:gd name="connsiteX2" fmla="*/ 4 w 16047"/>
                  <a:gd name="connsiteY2" fmla="*/ 8009 h 112098"/>
                  <a:gd name="connsiteX3" fmla="*/ 7755 w 16047"/>
                  <a:gd name="connsiteY3" fmla="*/ 2 h 112098"/>
                  <a:gd name="connsiteX4" fmla="*/ 7953 w 16047"/>
                  <a:gd name="connsiteY4" fmla="*/ 2 h 112098"/>
                  <a:gd name="connsiteX5" fmla="*/ 13687 w 16047"/>
                  <a:gd name="connsiteY5" fmla="*/ 2291 h 112098"/>
                  <a:gd name="connsiteX6" fmla="*/ 13720 w 16047"/>
                  <a:gd name="connsiteY6" fmla="*/ 13596 h 112098"/>
                  <a:gd name="connsiteX7" fmla="*/ 13687 w 16047"/>
                  <a:gd name="connsiteY7" fmla="*/ 13629 h 112098"/>
                  <a:gd name="connsiteX8" fmla="*/ 7953 w 16047"/>
                  <a:gd name="connsiteY8" fmla="*/ 15951 h 112098"/>
                  <a:gd name="connsiteX9" fmla="*/ 13939 w 16047"/>
                  <a:gd name="connsiteY9" fmla="*/ 112099 h 112098"/>
                  <a:gd name="connsiteX10" fmla="*/ 1604 w 16047"/>
                  <a:gd name="connsiteY10" fmla="*/ 112099 h 112098"/>
                  <a:gd name="connsiteX11" fmla="*/ 1604 w 16047"/>
                  <a:gd name="connsiteY11" fmla="*/ 35417 h 112098"/>
                  <a:gd name="connsiteX12" fmla="*/ 13895 w 16047"/>
                  <a:gd name="connsiteY12" fmla="*/ 35417 h 11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7" h="112098">
                    <a:moveTo>
                      <a:pt x="7953" y="15951"/>
                    </a:moveTo>
                    <a:cubicBezTo>
                      <a:pt x="5848" y="15995"/>
                      <a:pt x="3819" y="15185"/>
                      <a:pt x="2328" y="13706"/>
                    </a:cubicBezTo>
                    <a:cubicBezTo>
                      <a:pt x="782" y="12216"/>
                      <a:pt x="-62" y="10145"/>
                      <a:pt x="4" y="8009"/>
                    </a:cubicBezTo>
                    <a:cubicBezTo>
                      <a:pt x="-73" y="3660"/>
                      <a:pt x="3403" y="78"/>
                      <a:pt x="7755" y="2"/>
                    </a:cubicBezTo>
                    <a:cubicBezTo>
                      <a:pt x="7821" y="2"/>
                      <a:pt x="7887" y="2"/>
                      <a:pt x="7953" y="2"/>
                    </a:cubicBezTo>
                    <a:cubicBezTo>
                      <a:pt x="10091" y="-42"/>
                      <a:pt x="12163" y="779"/>
                      <a:pt x="13687" y="2291"/>
                    </a:cubicBezTo>
                    <a:cubicBezTo>
                      <a:pt x="16823" y="5402"/>
                      <a:pt x="16834" y="10474"/>
                      <a:pt x="13720" y="13596"/>
                    </a:cubicBezTo>
                    <a:cubicBezTo>
                      <a:pt x="13709" y="13607"/>
                      <a:pt x="13698" y="13618"/>
                      <a:pt x="13687" y="13629"/>
                    </a:cubicBezTo>
                    <a:cubicBezTo>
                      <a:pt x="12174" y="15152"/>
                      <a:pt x="10102" y="15984"/>
                      <a:pt x="7953" y="15951"/>
                    </a:cubicBezTo>
                    <a:close/>
                    <a:moveTo>
                      <a:pt x="13939" y="112099"/>
                    </a:moveTo>
                    <a:lnTo>
                      <a:pt x="1604" y="112099"/>
                    </a:lnTo>
                    <a:lnTo>
                      <a:pt x="1604" y="35417"/>
                    </a:lnTo>
                    <a:lnTo>
                      <a:pt x="13895" y="35417"/>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8" name="Freeform: Shape 277">
                <a:extLst>
                  <a:ext uri="{FF2B5EF4-FFF2-40B4-BE49-F238E27FC236}">
                    <a16:creationId xmlns:a16="http://schemas.microsoft.com/office/drawing/2014/main" id="{3C400B84-15D9-066F-0E3D-A116789D1387}"/>
                  </a:ext>
                </a:extLst>
              </p:cNvPr>
              <p:cNvSpPr/>
              <p:nvPr/>
            </p:nvSpPr>
            <p:spPr>
              <a:xfrm>
                <a:off x="3599019" y="3923801"/>
                <a:ext cx="57763" cy="80342"/>
              </a:xfrm>
              <a:custGeom>
                <a:avLst/>
                <a:gdLst>
                  <a:gd name="connsiteX0" fmla="*/ 57610 w 57763"/>
                  <a:gd name="connsiteY0" fmla="*/ 75001 h 80342"/>
                  <a:gd name="connsiteX1" fmla="*/ 36624 w 57763"/>
                  <a:gd name="connsiteY1" fmla="*/ 80313 h 80342"/>
                  <a:gd name="connsiteX2" fmla="*/ 10134 w 57763"/>
                  <a:gd name="connsiteY2" fmla="*/ 69644 h 80342"/>
                  <a:gd name="connsiteX3" fmla="*/ 47 w 57763"/>
                  <a:gd name="connsiteY3" fmla="*/ 41973 h 80342"/>
                  <a:gd name="connsiteX4" fmla="*/ 10924 w 57763"/>
                  <a:gd name="connsiteY4" fmla="*/ 11541 h 80342"/>
                  <a:gd name="connsiteX5" fmla="*/ 39925 w 57763"/>
                  <a:gd name="connsiteY5" fmla="*/ 39 h 80342"/>
                  <a:gd name="connsiteX6" fmla="*/ 57764 w 57763"/>
                  <a:gd name="connsiteY6" fmla="*/ 3785 h 80342"/>
                  <a:gd name="connsiteX7" fmla="*/ 57764 w 57763"/>
                  <a:gd name="connsiteY7" fmla="*/ 16372 h 80342"/>
                  <a:gd name="connsiteX8" fmla="*/ 39475 w 57763"/>
                  <a:gd name="connsiteY8" fmla="*/ 10380 h 80342"/>
                  <a:gd name="connsiteX9" fmla="*/ 20178 w 57763"/>
                  <a:gd name="connsiteY9" fmla="*/ 18804 h 80342"/>
                  <a:gd name="connsiteX10" fmla="*/ 12645 w 57763"/>
                  <a:gd name="connsiteY10" fmla="*/ 40932 h 80342"/>
                  <a:gd name="connsiteX11" fmla="*/ 19728 w 57763"/>
                  <a:gd name="connsiteY11" fmla="*/ 62195 h 80342"/>
                  <a:gd name="connsiteX12" fmla="*/ 38729 w 57763"/>
                  <a:gd name="connsiteY12" fmla="*/ 69983 h 80342"/>
                  <a:gd name="connsiteX13" fmla="*/ 57610 w 57763"/>
                  <a:gd name="connsiteY13" fmla="*/ 63323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42">
                    <a:moveTo>
                      <a:pt x="57610" y="75001"/>
                    </a:moveTo>
                    <a:cubicBezTo>
                      <a:pt x="51240" y="78670"/>
                      <a:pt x="43981" y="80510"/>
                      <a:pt x="36624" y="80313"/>
                    </a:cubicBezTo>
                    <a:cubicBezTo>
                      <a:pt x="26669" y="80719"/>
                      <a:pt x="17020" y="76830"/>
                      <a:pt x="10134" y="69644"/>
                    </a:cubicBezTo>
                    <a:cubicBezTo>
                      <a:pt x="3249" y="62107"/>
                      <a:pt x="-381" y="52160"/>
                      <a:pt x="47" y="41973"/>
                    </a:cubicBezTo>
                    <a:cubicBezTo>
                      <a:pt x="-479" y="30799"/>
                      <a:pt x="3435" y="19867"/>
                      <a:pt x="10924" y="11541"/>
                    </a:cubicBezTo>
                    <a:cubicBezTo>
                      <a:pt x="18500" y="3742"/>
                      <a:pt x="29059" y="-454"/>
                      <a:pt x="39925" y="39"/>
                    </a:cubicBezTo>
                    <a:cubicBezTo>
                      <a:pt x="46076" y="-93"/>
                      <a:pt x="52183" y="1189"/>
                      <a:pt x="57764" y="3785"/>
                    </a:cubicBezTo>
                    <a:lnTo>
                      <a:pt x="57764" y="16372"/>
                    </a:lnTo>
                    <a:cubicBezTo>
                      <a:pt x="52457" y="12494"/>
                      <a:pt x="46054" y="10402"/>
                      <a:pt x="39475" y="10380"/>
                    </a:cubicBezTo>
                    <a:cubicBezTo>
                      <a:pt x="32107" y="10172"/>
                      <a:pt x="25035" y="13261"/>
                      <a:pt x="20178" y="18804"/>
                    </a:cubicBezTo>
                    <a:cubicBezTo>
                      <a:pt x="14959" y="24960"/>
                      <a:pt x="12272" y="32870"/>
                      <a:pt x="12645" y="40932"/>
                    </a:cubicBezTo>
                    <a:cubicBezTo>
                      <a:pt x="12217" y="48666"/>
                      <a:pt x="14750" y="56268"/>
                      <a:pt x="19728" y="62195"/>
                    </a:cubicBezTo>
                    <a:cubicBezTo>
                      <a:pt x="24607" y="67453"/>
                      <a:pt x="31559" y="70301"/>
                      <a:pt x="38729" y="69983"/>
                    </a:cubicBezTo>
                    <a:cubicBezTo>
                      <a:pt x="45593" y="69929"/>
                      <a:pt x="52238" y="67584"/>
                      <a:pt x="57610" y="633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9" name="Freeform: Shape 278">
                <a:extLst>
                  <a:ext uri="{FF2B5EF4-FFF2-40B4-BE49-F238E27FC236}">
                    <a16:creationId xmlns:a16="http://schemas.microsoft.com/office/drawing/2014/main" id="{F3E62089-5444-CFE8-6DEA-878BF80D1BD3}"/>
                  </a:ext>
                </a:extLst>
              </p:cNvPr>
              <p:cNvSpPr/>
              <p:nvPr/>
            </p:nvSpPr>
            <p:spPr>
              <a:xfrm>
                <a:off x="3669920" y="3923832"/>
                <a:ext cx="60674" cy="80326"/>
              </a:xfrm>
              <a:custGeom>
                <a:avLst/>
                <a:gdLst>
                  <a:gd name="connsiteX0" fmla="*/ 60664 w 60674"/>
                  <a:gd name="connsiteY0" fmla="*/ 78486 h 80326"/>
                  <a:gd name="connsiteX1" fmla="*/ 48373 w 60674"/>
                  <a:gd name="connsiteY1" fmla="*/ 78486 h 80326"/>
                  <a:gd name="connsiteX2" fmla="*/ 48373 w 60674"/>
                  <a:gd name="connsiteY2" fmla="*/ 66513 h 80326"/>
                  <a:gd name="connsiteX3" fmla="*/ 48066 w 60674"/>
                  <a:gd name="connsiteY3" fmla="*/ 66513 h 80326"/>
                  <a:gd name="connsiteX4" fmla="*/ 24459 w 60674"/>
                  <a:gd name="connsiteY4" fmla="*/ 80283 h 80326"/>
                  <a:gd name="connsiteX5" fmla="*/ 6500 w 60674"/>
                  <a:gd name="connsiteY5" fmla="*/ 74225 h 80326"/>
                  <a:gd name="connsiteX6" fmla="*/ 20 w 60674"/>
                  <a:gd name="connsiteY6" fmla="*/ 58122 h 80326"/>
                  <a:gd name="connsiteX7" fmla="*/ 25358 w 60674"/>
                  <a:gd name="connsiteY7" fmla="*/ 33113 h 80326"/>
                  <a:gd name="connsiteX8" fmla="*/ 48384 w 60674"/>
                  <a:gd name="connsiteY8" fmla="*/ 29892 h 80326"/>
                  <a:gd name="connsiteX9" fmla="*/ 32562 w 60674"/>
                  <a:gd name="connsiteY9" fmla="*/ 10350 h 80326"/>
                  <a:gd name="connsiteX10" fmla="*/ 7530 w 60674"/>
                  <a:gd name="connsiteY10" fmla="*/ 19781 h 80326"/>
                  <a:gd name="connsiteX11" fmla="*/ 7530 w 60674"/>
                  <a:gd name="connsiteY11" fmla="*/ 7206 h 80326"/>
                  <a:gd name="connsiteX12" fmla="*/ 33615 w 60674"/>
                  <a:gd name="connsiteY12" fmla="*/ 9 h 80326"/>
                  <a:gd name="connsiteX13" fmla="*/ 60675 w 60674"/>
                  <a:gd name="connsiteY13" fmla="*/ 28622 h 80326"/>
                  <a:gd name="connsiteX14" fmla="*/ 48373 w 60674"/>
                  <a:gd name="connsiteY14" fmla="*/ 39697 h 80326"/>
                  <a:gd name="connsiteX15" fmla="*/ 29854 w 60674"/>
                  <a:gd name="connsiteY15" fmla="*/ 42249 h 80326"/>
                  <a:gd name="connsiteX16" fmla="*/ 16960 w 60674"/>
                  <a:gd name="connsiteY16" fmla="*/ 46478 h 80326"/>
                  <a:gd name="connsiteX17" fmla="*/ 12574 w 60674"/>
                  <a:gd name="connsiteY17" fmla="*/ 57224 h 80326"/>
                  <a:gd name="connsiteX18" fmla="*/ 16576 w 60674"/>
                  <a:gd name="connsiteY18" fmla="*/ 66393 h 80326"/>
                  <a:gd name="connsiteX19" fmla="*/ 27266 w 60674"/>
                  <a:gd name="connsiteY19" fmla="*/ 69953 h 80326"/>
                  <a:gd name="connsiteX20" fmla="*/ 42364 w 60674"/>
                  <a:gd name="connsiteY20" fmla="*/ 63555 h 80326"/>
                  <a:gd name="connsiteX21" fmla="*/ 48329 w 60674"/>
                  <a:gd name="connsiteY21" fmla="*/ 4734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64" y="78486"/>
                    </a:moveTo>
                    <a:lnTo>
                      <a:pt x="48373" y="78486"/>
                    </a:lnTo>
                    <a:lnTo>
                      <a:pt x="48373" y="66513"/>
                    </a:lnTo>
                    <a:lnTo>
                      <a:pt x="48066" y="66513"/>
                    </a:lnTo>
                    <a:cubicBezTo>
                      <a:pt x="43483" y="75244"/>
                      <a:pt x="34316" y="80590"/>
                      <a:pt x="24459" y="80283"/>
                    </a:cubicBezTo>
                    <a:cubicBezTo>
                      <a:pt x="17914" y="80666"/>
                      <a:pt x="11478" y="78497"/>
                      <a:pt x="6500" y="74225"/>
                    </a:cubicBezTo>
                    <a:cubicBezTo>
                      <a:pt x="2125" y="70041"/>
                      <a:pt x="-243" y="64169"/>
                      <a:pt x="20" y="58122"/>
                    </a:cubicBezTo>
                    <a:cubicBezTo>
                      <a:pt x="20" y="43794"/>
                      <a:pt x="8462" y="35457"/>
                      <a:pt x="25358" y="33113"/>
                    </a:cubicBezTo>
                    <a:lnTo>
                      <a:pt x="48384" y="29892"/>
                    </a:lnTo>
                    <a:cubicBezTo>
                      <a:pt x="48384" y="16857"/>
                      <a:pt x="43110" y="10339"/>
                      <a:pt x="32562" y="10350"/>
                    </a:cubicBezTo>
                    <a:cubicBezTo>
                      <a:pt x="23341" y="10339"/>
                      <a:pt x="14438" y="13691"/>
                      <a:pt x="7530" y="19781"/>
                    </a:cubicBezTo>
                    <a:lnTo>
                      <a:pt x="7530" y="7206"/>
                    </a:lnTo>
                    <a:cubicBezTo>
                      <a:pt x="15337" y="2331"/>
                      <a:pt x="24405" y="-167"/>
                      <a:pt x="33615" y="9"/>
                    </a:cubicBezTo>
                    <a:cubicBezTo>
                      <a:pt x="51640" y="9"/>
                      <a:pt x="60664" y="9550"/>
                      <a:pt x="60675" y="28622"/>
                    </a:cubicBezTo>
                    <a:close/>
                    <a:moveTo>
                      <a:pt x="48373" y="39697"/>
                    </a:moveTo>
                    <a:lnTo>
                      <a:pt x="29854" y="42249"/>
                    </a:lnTo>
                    <a:cubicBezTo>
                      <a:pt x="25293" y="42654"/>
                      <a:pt x="20874" y="44100"/>
                      <a:pt x="16960" y="46478"/>
                    </a:cubicBezTo>
                    <a:cubicBezTo>
                      <a:pt x="13780" y="49096"/>
                      <a:pt x="12135" y="53138"/>
                      <a:pt x="12574" y="57224"/>
                    </a:cubicBezTo>
                    <a:cubicBezTo>
                      <a:pt x="12464" y="60729"/>
                      <a:pt x="13934" y="64092"/>
                      <a:pt x="16576" y="66393"/>
                    </a:cubicBezTo>
                    <a:cubicBezTo>
                      <a:pt x="19569" y="68879"/>
                      <a:pt x="23385" y="70150"/>
                      <a:pt x="27266" y="69953"/>
                    </a:cubicBezTo>
                    <a:cubicBezTo>
                      <a:pt x="32990" y="70106"/>
                      <a:pt x="38494" y="67773"/>
                      <a:pt x="42364" y="63555"/>
                    </a:cubicBezTo>
                    <a:cubicBezTo>
                      <a:pt x="46399" y="59141"/>
                      <a:pt x="48537" y="53313"/>
                      <a:pt x="48329" y="4734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0" name="Freeform: Shape 279">
                <a:extLst>
                  <a:ext uri="{FF2B5EF4-FFF2-40B4-BE49-F238E27FC236}">
                    <a16:creationId xmlns:a16="http://schemas.microsoft.com/office/drawing/2014/main" id="{3ED6FBA3-48AD-8C60-6DCF-460EF41CAF38}"/>
                  </a:ext>
                </a:extLst>
              </p:cNvPr>
              <p:cNvSpPr/>
              <p:nvPr/>
            </p:nvSpPr>
            <p:spPr>
              <a:xfrm>
                <a:off x="3743456" y="3902906"/>
                <a:ext cx="44778" cy="101088"/>
              </a:xfrm>
              <a:custGeom>
                <a:avLst/>
                <a:gdLst>
                  <a:gd name="connsiteX0" fmla="*/ 44779 w 44778"/>
                  <a:gd name="connsiteY0" fmla="*/ 98667 h 101088"/>
                  <a:gd name="connsiteX1" fmla="*/ 33321 w 44778"/>
                  <a:gd name="connsiteY1" fmla="*/ 101066 h 101088"/>
                  <a:gd name="connsiteX2" fmla="*/ 13157 w 44778"/>
                  <a:gd name="connsiteY2" fmla="*/ 78598 h 101088"/>
                  <a:gd name="connsiteX3" fmla="*/ 13157 w 44778"/>
                  <a:gd name="connsiteY3" fmla="*/ 33214 h 101088"/>
                  <a:gd name="connsiteX4" fmla="*/ 0 w 44778"/>
                  <a:gd name="connsiteY4" fmla="*/ 33214 h 101088"/>
                  <a:gd name="connsiteX5" fmla="*/ 0 w 44778"/>
                  <a:gd name="connsiteY5" fmla="*/ 22730 h 101088"/>
                  <a:gd name="connsiteX6" fmla="*/ 13157 w 44778"/>
                  <a:gd name="connsiteY6" fmla="*/ 22730 h 101088"/>
                  <a:gd name="connsiteX7" fmla="*/ 13157 w 44778"/>
                  <a:gd name="connsiteY7" fmla="*/ 3966 h 101088"/>
                  <a:gd name="connsiteX8" fmla="*/ 25449 w 44778"/>
                  <a:gd name="connsiteY8" fmla="*/ 0 h 101088"/>
                  <a:gd name="connsiteX9" fmla="*/ 25449 w 44778"/>
                  <a:gd name="connsiteY9" fmla="*/ 22687 h 101088"/>
                  <a:gd name="connsiteX10" fmla="*/ 44779 w 44778"/>
                  <a:gd name="connsiteY10" fmla="*/ 22687 h 101088"/>
                  <a:gd name="connsiteX11" fmla="*/ 44779 w 44778"/>
                  <a:gd name="connsiteY11" fmla="*/ 33170 h 101088"/>
                  <a:gd name="connsiteX12" fmla="*/ 25449 w 44778"/>
                  <a:gd name="connsiteY12" fmla="*/ 33170 h 101088"/>
                  <a:gd name="connsiteX13" fmla="*/ 25449 w 44778"/>
                  <a:gd name="connsiteY13" fmla="*/ 76385 h 101088"/>
                  <a:gd name="connsiteX14" fmla="*/ 28069 w 44778"/>
                  <a:gd name="connsiteY14" fmla="*/ 87340 h 101088"/>
                  <a:gd name="connsiteX15" fmla="*/ 36764 w 44778"/>
                  <a:gd name="connsiteY15" fmla="*/ 90626 h 101088"/>
                  <a:gd name="connsiteX16" fmla="*/ 44779 w 44778"/>
                  <a:gd name="connsiteY16" fmla="*/ 88085 h 10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88">
                    <a:moveTo>
                      <a:pt x="44779" y="98667"/>
                    </a:moveTo>
                    <a:cubicBezTo>
                      <a:pt x="41226" y="100409"/>
                      <a:pt x="37279" y="101241"/>
                      <a:pt x="33321" y="101066"/>
                    </a:cubicBezTo>
                    <a:cubicBezTo>
                      <a:pt x="19868" y="101066"/>
                      <a:pt x="13146" y="93573"/>
                      <a:pt x="13157" y="78598"/>
                    </a:cubicBezTo>
                    <a:lnTo>
                      <a:pt x="13157" y="33214"/>
                    </a:lnTo>
                    <a:lnTo>
                      <a:pt x="0" y="33214"/>
                    </a:lnTo>
                    <a:lnTo>
                      <a:pt x="0" y="22730"/>
                    </a:lnTo>
                    <a:lnTo>
                      <a:pt x="13157" y="22730"/>
                    </a:lnTo>
                    <a:lnTo>
                      <a:pt x="13157" y="3966"/>
                    </a:lnTo>
                    <a:lnTo>
                      <a:pt x="25449" y="0"/>
                    </a:lnTo>
                    <a:lnTo>
                      <a:pt x="25449" y="22687"/>
                    </a:lnTo>
                    <a:lnTo>
                      <a:pt x="44779" y="22687"/>
                    </a:lnTo>
                    <a:lnTo>
                      <a:pt x="44779" y="33170"/>
                    </a:lnTo>
                    <a:lnTo>
                      <a:pt x="25449" y="33170"/>
                    </a:lnTo>
                    <a:lnTo>
                      <a:pt x="25449" y="76385"/>
                    </a:lnTo>
                    <a:cubicBezTo>
                      <a:pt x="25119" y="80220"/>
                      <a:pt x="26040" y="84065"/>
                      <a:pt x="28069" y="87340"/>
                    </a:cubicBezTo>
                    <a:cubicBezTo>
                      <a:pt x="30295" y="89728"/>
                      <a:pt x="33507" y="90944"/>
                      <a:pt x="36764" y="90626"/>
                    </a:cubicBezTo>
                    <a:cubicBezTo>
                      <a:pt x="39647" y="90692"/>
                      <a:pt x="42465" y="89805"/>
                      <a:pt x="44779" y="8808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1" name="Freeform: Shape 280">
                <a:extLst>
                  <a:ext uri="{FF2B5EF4-FFF2-40B4-BE49-F238E27FC236}">
                    <a16:creationId xmlns:a16="http://schemas.microsoft.com/office/drawing/2014/main" id="{679ABAA0-8E2D-7887-1A62-0CC05315EC5C}"/>
                  </a:ext>
                </a:extLst>
              </p:cNvPr>
              <p:cNvSpPr/>
              <p:nvPr/>
            </p:nvSpPr>
            <p:spPr>
              <a:xfrm>
                <a:off x="3801772" y="3890219"/>
                <a:ext cx="16043" cy="112098"/>
              </a:xfrm>
              <a:custGeom>
                <a:avLst/>
                <a:gdLst>
                  <a:gd name="connsiteX0" fmla="*/ 7953 w 16043"/>
                  <a:gd name="connsiteY0" fmla="*/ 15951 h 112098"/>
                  <a:gd name="connsiteX1" fmla="*/ 2328 w 16043"/>
                  <a:gd name="connsiteY1" fmla="*/ 13706 h 112098"/>
                  <a:gd name="connsiteX2" fmla="*/ 4 w 16043"/>
                  <a:gd name="connsiteY2" fmla="*/ 8009 h 112098"/>
                  <a:gd name="connsiteX3" fmla="*/ 7755 w 16043"/>
                  <a:gd name="connsiteY3" fmla="*/ 2 h 112098"/>
                  <a:gd name="connsiteX4" fmla="*/ 7953 w 16043"/>
                  <a:gd name="connsiteY4" fmla="*/ 2 h 112098"/>
                  <a:gd name="connsiteX5" fmla="*/ 13676 w 16043"/>
                  <a:gd name="connsiteY5" fmla="*/ 2291 h 112098"/>
                  <a:gd name="connsiteX6" fmla="*/ 13731 w 16043"/>
                  <a:gd name="connsiteY6" fmla="*/ 13574 h 112098"/>
                  <a:gd name="connsiteX7" fmla="*/ 13676 w 16043"/>
                  <a:gd name="connsiteY7" fmla="*/ 13629 h 112098"/>
                  <a:gd name="connsiteX8" fmla="*/ 7953 w 16043"/>
                  <a:gd name="connsiteY8" fmla="*/ 15951 h 112098"/>
                  <a:gd name="connsiteX9" fmla="*/ 13939 w 16043"/>
                  <a:gd name="connsiteY9" fmla="*/ 112099 h 112098"/>
                  <a:gd name="connsiteX10" fmla="*/ 1648 w 16043"/>
                  <a:gd name="connsiteY10" fmla="*/ 112099 h 112098"/>
                  <a:gd name="connsiteX11" fmla="*/ 1648 w 16043"/>
                  <a:gd name="connsiteY11" fmla="*/ 35417 h 112098"/>
                  <a:gd name="connsiteX12" fmla="*/ 13939 w 16043"/>
                  <a:gd name="connsiteY12" fmla="*/ 35417 h 11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3" h="112098">
                    <a:moveTo>
                      <a:pt x="7953" y="15951"/>
                    </a:moveTo>
                    <a:cubicBezTo>
                      <a:pt x="5847" y="15995"/>
                      <a:pt x="3819" y="15185"/>
                      <a:pt x="2328" y="13706"/>
                    </a:cubicBezTo>
                    <a:cubicBezTo>
                      <a:pt x="782" y="12227"/>
                      <a:pt x="-62" y="10156"/>
                      <a:pt x="4" y="8009"/>
                    </a:cubicBezTo>
                    <a:cubicBezTo>
                      <a:pt x="-73" y="3660"/>
                      <a:pt x="3403" y="78"/>
                      <a:pt x="7755" y="2"/>
                    </a:cubicBezTo>
                    <a:cubicBezTo>
                      <a:pt x="7821" y="2"/>
                      <a:pt x="7887" y="2"/>
                      <a:pt x="7953" y="2"/>
                    </a:cubicBezTo>
                    <a:cubicBezTo>
                      <a:pt x="10091" y="-42"/>
                      <a:pt x="12163" y="779"/>
                      <a:pt x="13676" y="2291"/>
                    </a:cubicBezTo>
                    <a:cubicBezTo>
                      <a:pt x="16812" y="5391"/>
                      <a:pt x="16834" y="10441"/>
                      <a:pt x="13731" y="13574"/>
                    </a:cubicBezTo>
                    <a:cubicBezTo>
                      <a:pt x="13720" y="13585"/>
                      <a:pt x="13698" y="13607"/>
                      <a:pt x="13676" y="13629"/>
                    </a:cubicBezTo>
                    <a:cubicBezTo>
                      <a:pt x="12163" y="15152"/>
                      <a:pt x="10102" y="15984"/>
                      <a:pt x="7953" y="15951"/>
                    </a:cubicBezTo>
                    <a:close/>
                    <a:moveTo>
                      <a:pt x="13939" y="112099"/>
                    </a:moveTo>
                    <a:lnTo>
                      <a:pt x="1648" y="112099"/>
                    </a:lnTo>
                    <a:lnTo>
                      <a:pt x="1648" y="35417"/>
                    </a:lnTo>
                    <a:lnTo>
                      <a:pt x="13939" y="35417"/>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2" name="Freeform: Shape 281">
                <a:extLst>
                  <a:ext uri="{FF2B5EF4-FFF2-40B4-BE49-F238E27FC236}">
                    <a16:creationId xmlns:a16="http://schemas.microsoft.com/office/drawing/2014/main" id="{3DAC80F7-5F2C-99F6-1323-D73F5A998954}"/>
                  </a:ext>
                </a:extLst>
              </p:cNvPr>
              <p:cNvSpPr/>
              <p:nvPr/>
            </p:nvSpPr>
            <p:spPr>
              <a:xfrm>
                <a:off x="3834124" y="3923809"/>
                <a:ext cx="75646" cy="80344"/>
              </a:xfrm>
              <a:custGeom>
                <a:avLst/>
                <a:gdLst>
                  <a:gd name="connsiteX0" fmla="*/ 37396 w 75646"/>
                  <a:gd name="connsiteY0" fmla="*/ 80306 h 80344"/>
                  <a:gd name="connsiteX1" fmla="*/ 10237 w 75646"/>
                  <a:gd name="connsiteY1" fmla="*/ 69570 h 80344"/>
                  <a:gd name="connsiteX2" fmla="*/ 73 w 75646"/>
                  <a:gd name="connsiteY2" fmla="*/ 41089 h 80344"/>
                  <a:gd name="connsiteX3" fmla="*/ 10643 w 75646"/>
                  <a:gd name="connsiteY3" fmla="*/ 10920 h 80344"/>
                  <a:gd name="connsiteX4" fmla="*/ 39150 w 75646"/>
                  <a:gd name="connsiteY4" fmla="*/ 53 h 80344"/>
                  <a:gd name="connsiteX5" fmla="*/ 65958 w 75646"/>
                  <a:gd name="connsiteY5" fmla="*/ 10613 h 80344"/>
                  <a:gd name="connsiteX6" fmla="*/ 75574 w 75646"/>
                  <a:gd name="connsiteY6" fmla="*/ 39895 h 80344"/>
                  <a:gd name="connsiteX7" fmla="*/ 65202 w 75646"/>
                  <a:gd name="connsiteY7" fmla="*/ 69285 h 80344"/>
                  <a:gd name="connsiteX8" fmla="*/ 37396 w 75646"/>
                  <a:gd name="connsiteY8" fmla="*/ 80306 h 80344"/>
                  <a:gd name="connsiteX9" fmla="*/ 38295 w 75646"/>
                  <a:gd name="connsiteY9" fmla="*/ 10372 h 80344"/>
                  <a:gd name="connsiteX10" fmla="*/ 19557 w 75646"/>
                  <a:gd name="connsiteY10" fmla="*/ 18424 h 80344"/>
                  <a:gd name="connsiteX11" fmla="*/ 12660 w 75646"/>
                  <a:gd name="connsiteY11" fmla="*/ 40618 h 80344"/>
                  <a:gd name="connsiteX12" fmla="*/ 19634 w 75646"/>
                  <a:gd name="connsiteY12" fmla="*/ 62110 h 80344"/>
                  <a:gd name="connsiteX13" fmla="*/ 38273 w 75646"/>
                  <a:gd name="connsiteY13" fmla="*/ 69976 h 80344"/>
                  <a:gd name="connsiteX14" fmla="*/ 56606 w 75646"/>
                  <a:gd name="connsiteY14" fmla="*/ 62308 h 80344"/>
                  <a:gd name="connsiteX15" fmla="*/ 63009 w 75646"/>
                  <a:gd name="connsiteY15" fmla="*/ 40399 h 80344"/>
                  <a:gd name="connsiteX16" fmla="*/ 56606 w 75646"/>
                  <a:gd name="connsiteY16" fmla="*/ 18238 h 80344"/>
                  <a:gd name="connsiteX17" fmla="*/ 38295 w 75646"/>
                  <a:gd name="connsiteY17" fmla="*/ 10372 h 8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46" h="80344">
                    <a:moveTo>
                      <a:pt x="37396" y="80306"/>
                    </a:moveTo>
                    <a:cubicBezTo>
                      <a:pt x="27221" y="80777"/>
                      <a:pt x="17331" y="76866"/>
                      <a:pt x="10237" y="69570"/>
                    </a:cubicBezTo>
                    <a:cubicBezTo>
                      <a:pt x="3231" y="61782"/>
                      <a:pt x="-431" y="51550"/>
                      <a:pt x="73" y="41089"/>
                    </a:cubicBezTo>
                    <a:cubicBezTo>
                      <a:pt x="-585" y="30025"/>
                      <a:pt x="3220" y="19158"/>
                      <a:pt x="10643" y="10920"/>
                    </a:cubicBezTo>
                    <a:cubicBezTo>
                      <a:pt x="18208" y="3471"/>
                      <a:pt x="28547" y="-462"/>
                      <a:pt x="39150" y="53"/>
                    </a:cubicBezTo>
                    <a:cubicBezTo>
                      <a:pt x="49204" y="-505"/>
                      <a:pt x="58996" y="3351"/>
                      <a:pt x="65958" y="10613"/>
                    </a:cubicBezTo>
                    <a:cubicBezTo>
                      <a:pt x="72767" y="18807"/>
                      <a:pt x="76199" y="29269"/>
                      <a:pt x="75574" y="39895"/>
                    </a:cubicBezTo>
                    <a:cubicBezTo>
                      <a:pt x="76100" y="50674"/>
                      <a:pt x="72383" y="61223"/>
                      <a:pt x="65202" y="69285"/>
                    </a:cubicBezTo>
                    <a:cubicBezTo>
                      <a:pt x="57943" y="76778"/>
                      <a:pt x="47823" y="80788"/>
                      <a:pt x="37396" y="80306"/>
                    </a:cubicBezTo>
                    <a:close/>
                    <a:moveTo>
                      <a:pt x="38295" y="10372"/>
                    </a:moveTo>
                    <a:cubicBezTo>
                      <a:pt x="31146" y="10055"/>
                      <a:pt x="24239" y="13012"/>
                      <a:pt x="19557" y="18424"/>
                    </a:cubicBezTo>
                    <a:cubicBezTo>
                      <a:pt x="14645" y="24745"/>
                      <a:pt x="12189" y="32632"/>
                      <a:pt x="12660" y="40618"/>
                    </a:cubicBezTo>
                    <a:cubicBezTo>
                      <a:pt x="12222" y="48395"/>
                      <a:pt x="14710" y="56064"/>
                      <a:pt x="19634" y="62110"/>
                    </a:cubicBezTo>
                    <a:cubicBezTo>
                      <a:pt x="24359" y="67390"/>
                      <a:pt x="31190" y="70271"/>
                      <a:pt x="38273" y="69976"/>
                    </a:cubicBezTo>
                    <a:cubicBezTo>
                      <a:pt x="45246" y="70403"/>
                      <a:pt x="52011" y="67566"/>
                      <a:pt x="56606" y="62308"/>
                    </a:cubicBezTo>
                    <a:cubicBezTo>
                      <a:pt x="61244" y="55976"/>
                      <a:pt x="63513" y="48231"/>
                      <a:pt x="63009" y="40399"/>
                    </a:cubicBezTo>
                    <a:cubicBezTo>
                      <a:pt x="63524" y="32489"/>
                      <a:pt x="61265" y="24657"/>
                      <a:pt x="56606" y="18238"/>
                    </a:cubicBezTo>
                    <a:cubicBezTo>
                      <a:pt x="52066" y="12892"/>
                      <a:pt x="45290" y="9989"/>
                      <a:pt x="38295" y="1037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3" name="Freeform: Shape 282">
                <a:extLst>
                  <a:ext uri="{FF2B5EF4-FFF2-40B4-BE49-F238E27FC236}">
                    <a16:creationId xmlns:a16="http://schemas.microsoft.com/office/drawing/2014/main" id="{CE224416-0B80-AD60-56FE-9730BCEC5AE7}"/>
                  </a:ext>
                </a:extLst>
              </p:cNvPr>
              <p:cNvSpPr/>
              <p:nvPr/>
            </p:nvSpPr>
            <p:spPr>
              <a:xfrm>
                <a:off x="3928556" y="3923838"/>
                <a:ext cx="63830" cy="78523"/>
              </a:xfrm>
              <a:custGeom>
                <a:avLst/>
                <a:gdLst>
                  <a:gd name="connsiteX0" fmla="*/ 63714 w 63830"/>
                  <a:gd name="connsiteY0" fmla="*/ 78480 h 78523"/>
                  <a:gd name="connsiteX1" fmla="*/ 51423 w 63830"/>
                  <a:gd name="connsiteY1" fmla="*/ 78480 h 78523"/>
                  <a:gd name="connsiteX2" fmla="*/ 51423 w 63830"/>
                  <a:gd name="connsiteY2" fmla="*/ 34750 h 78523"/>
                  <a:gd name="connsiteX3" fmla="*/ 33584 w 63830"/>
                  <a:gd name="connsiteY3" fmla="*/ 10343 h 78523"/>
                  <a:gd name="connsiteX4" fmla="*/ 18332 w 63830"/>
                  <a:gd name="connsiteY4" fmla="*/ 17266 h 78523"/>
                  <a:gd name="connsiteX5" fmla="*/ 12291 w 63830"/>
                  <a:gd name="connsiteY5" fmla="*/ 34794 h 78523"/>
                  <a:gd name="connsiteX6" fmla="*/ 12291 w 63830"/>
                  <a:gd name="connsiteY6" fmla="*/ 78524 h 78523"/>
                  <a:gd name="connsiteX7" fmla="*/ 0 w 63830"/>
                  <a:gd name="connsiteY7" fmla="*/ 78524 h 78523"/>
                  <a:gd name="connsiteX8" fmla="*/ 0 w 63830"/>
                  <a:gd name="connsiteY8" fmla="*/ 1843 h 78523"/>
                  <a:gd name="connsiteX9" fmla="*/ 12291 w 63830"/>
                  <a:gd name="connsiteY9" fmla="*/ 1843 h 78523"/>
                  <a:gd name="connsiteX10" fmla="*/ 12291 w 63830"/>
                  <a:gd name="connsiteY10" fmla="*/ 14583 h 78523"/>
                  <a:gd name="connsiteX11" fmla="*/ 12598 w 63830"/>
                  <a:gd name="connsiteY11" fmla="*/ 14583 h 78523"/>
                  <a:gd name="connsiteX12" fmla="*/ 37816 w 63830"/>
                  <a:gd name="connsiteY12" fmla="*/ 46 h 78523"/>
                  <a:gd name="connsiteX13" fmla="*/ 57070 w 63830"/>
                  <a:gd name="connsiteY13" fmla="*/ 8174 h 78523"/>
                  <a:gd name="connsiteX14" fmla="*/ 63747 w 63830"/>
                  <a:gd name="connsiteY14" fmla="*/ 31650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30" h="78523">
                    <a:moveTo>
                      <a:pt x="63714" y="78480"/>
                    </a:moveTo>
                    <a:lnTo>
                      <a:pt x="51423" y="78480"/>
                    </a:lnTo>
                    <a:lnTo>
                      <a:pt x="51423" y="34750"/>
                    </a:lnTo>
                    <a:cubicBezTo>
                      <a:pt x="51423" y="18471"/>
                      <a:pt x="45480" y="10332"/>
                      <a:pt x="33584" y="10343"/>
                    </a:cubicBezTo>
                    <a:cubicBezTo>
                      <a:pt x="27707" y="10223"/>
                      <a:pt x="22104" y="12764"/>
                      <a:pt x="18332" y="17266"/>
                    </a:cubicBezTo>
                    <a:cubicBezTo>
                      <a:pt x="14199" y="22152"/>
                      <a:pt x="12050" y="28407"/>
                      <a:pt x="12291" y="34794"/>
                    </a:cubicBezTo>
                    <a:lnTo>
                      <a:pt x="12291" y="78524"/>
                    </a:lnTo>
                    <a:lnTo>
                      <a:pt x="0" y="78524"/>
                    </a:lnTo>
                    <a:lnTo>
                      <a:pt x="0" y="1843"/>
                    </a:lnTo>
                    <a:lnTo>
                      <a:pt x="12291" y="1843"/>
                    </a:lnTo>
                    <a:lnTo>
                      <a:pt x="12291" y="14583"/>
                    </a:lnTo>
                    <a:lnTo>
                      <a:pt x="12598" y="14583"/>
                    </a:lnTo>
                    <a:cubicBezTo>
                      <a:pt x="17576" y="5359"/>
                      <a:pt x="27334" y="-272"/>
                      <a:pt x="37816" y="46"/>
                    </a:cubicBezTo>
                    <a:cubicBezTo>
                      <a:pt x="45151" y="-414"/>
                      <a:pt x="52278" y="2598"/>
                      <a:pt x="57070" y="8174"/>
                    </a:cubicBezTo>
                    <a:cubicBezTo>
                      <a:pt x="61949" y="14988"/>
                      <a:pt x="64317" y="23291"/>
                      <a:pt x="63747" y="3165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4" name="Freeform: Shape 283">
                <a:extLst>
                  <a:ext uri="{FF2B5EF4-FFF2-40B4-BE49-F238E27FC236}">
                    <a16:creationId xmlns:a16="http://schemas.microsoft.com/office/drawing/2014/main" id="{3E56C8D5-3FC6-93B3-F211-A02B7BA9CAE9}"/>
                  </a:ext>
                </a:extLst>
              </p:cNvPr>
              <p:cNvSpPr/>
              <p:nvPr/>
            </p:nvSpPr>
            <p:spPr>
              <a:xfrm>
                <a:off x="4010373" y="3923911"/>
                <a:ext cx="50891" cy="80185"/>
              </a:xfrm>
              <a:custGeom>
                <a:avLst/>
                <a:gdLst>
                  <a:gd name="connsiteX0" fmla="*/ 0 w 50891"/>
                  <a:gd name="connsiteY0" fmla="*/ 75635 h 80185"/>
                  <a:gd name="connsiteX1" fmla="*/ 0 w 50891"/>
                  <a:gd name="connsiteY1" fmla="*/ 62490 h 80185"/>
                  <a:gd name="connsiteX2" fmla="*/ 22115 w 50891"/>
                  <a:gd name="connsiteY2" fmla="*/ 69906 h 80185"/>
                  <a:gd name="connsiteX3" fmla="*/ 38299 w 50891"/>
                  <a:gd name="connsiteY3" fmla="*/ 59127 h 80185"/>
                  <a:gd name="connsiteX4" fmla="*/ 36917 w 50891"/>
                  <a:gd name="connsiteY4" fmla="*/ 53924 h 80185"/>
                  <a:gd name="connsiteX5" fmla="*/ 33178 w 50891"/>
                  <a:gd name="connsiteY5" fmla="*/ 50133 h 80185"/>
                  <a:gd name="connsiteX6" fmla="*/ 27630 w 50891"/>
                  <a:gd name="connsiteY6" fmla="*/ 47176 h 80185"/>
                  <a:gd name="connsiteX7" fmla="*/ 20767 w 50891"/>
                  <a:gd name="connsiteY7" fmla="*/ 44448 h 80185"/>
                  <a:gd name="connsiteX8" fmla="*/ 11809 w 50891"/>
                  <a:gd name="connsiteY8" fmla="*/ 40362 h 80185"/>
                  <a:gd name="connsiteX9" fmla="*/ 5373 w 50891"/>
                  <a:gd name="connsiteY9" fmla="*/ 35728 h 80185"/>
                  <a:gd name="connsiteX10" fmla="*/ 1469 w 50891"/>
                  <a:gd name="connsiteY10" fmla="*/ 29846 h 80185"/>
                  <a:gd name="connsiteX11" fmla="*/ 154 w 50891"/>
                  <a:gd name="connsiteY11" fmla="*/ 22177 h 80185"/>
                  <a:gd name="connsiteX12" fmla="*/ 2632 w 50891"/>
                  <a:gd name="connsiteY12" fmla="*/ 12625 h 80185"/>
                  <a:gd name="connsiteX13" fmla="*/ 9210 w 50891"/>
                  <a:gd name="connsiteY13" fmla="*/ 5658 h 80185"/>
                  <a:gd name="connsiteX14" fmla="*/ 18629 w 50891"/>
                  <a:gd name="connsiteY14" fmla="*/ 1430 h 80185"/>
                  <a:gd name="connsiteX15" fmla="*/ 29527 w 50891"/>
                  <a:gd name="connsiteY15" fmla="*/ 6 h 80185"/>
                  <a:gd name="connsiteX16" fmla="*/ 47366 w 50891"/>
                  <a:gd name="connsiteY16" fmla="*/ 3456 h 80185"/>
                  <a:gd name="connsiteX17" fmla="*/ 47366 w 50891"/>
                  <a:gd name="connsiteY17" fmla="*/ 15824 h 80185"/>
                  <a:gd name="connsiteX18" fmla="*/ 27871 w 50891"/>
                  <a:gd name="connsiteY18" fmla="*/ 10281 h 80185"/>
                  <a:gd name="connsiteX19" fmla="*/ 21655 w 50891"/>
                  <a:gd name="connsiteY19" fmla="*/ 11070 h 80185"/>
                  <a:gd name="connsiteX20" fmla="*/ 16896 w 50891"/>
                  <a:gd name="connsiteY20" fmla="*/ 13261 h 80185"/>
                  <a:gd name="connsiteX21" fmla="*/ 13826 w 50891"/>
                  <a:gd name="connsiteY21" fmla="*/ 16667 h 80185"/>
                  <a:gd name="connsiteX22" fmla="*/ 12730 w 50891"/>
                  <a:gd name="connsiteY22" fmla="*/ 21049 h 80185"/>
                  <a:gd name="connsiteX23" fmla="*/ 13826 w 50891"/>
                  <a:gd name="connsiteY23" fmla="*/ 26066 h 80185"/>
                  <a:gd name="connsiteX24" fmla="*/ 17006 w 50891"/>
                  <a:gd name="connsiteY24" fmla="*/ 29660 h 80185"/>
                  <a:gd name="connsiteX25" fmla="*/ 22104 w 50891"/>
                  <a:gd name="connsiteY25" fmla="*/ 32508 h 80185"/>
                  <a:gd name="connsiteX26" fmla="*/ 28924 w 50891"/>
                  <a:gd name="connsiteY26" fmla="*/ 35279 h 80185"/>
                  <a:gd name="connsiteX27" fmla="*/ 38069 w 50891"/>
                  <a:gd name="connsiteY27" fmla="*/ 39288 h 80185"/>
                  <a:gd name="connsiteX28" fmla="*/ 44965 w 50891"/>
                  <a:gd name="connsiteY28" fmla="*/ 43922 h 80185"/>
                  <a:gd name="connsiteX29" fmla="*/ 49351 w 50891"/>
                  <a:gd name="connsiteY29" fmla="*/ 49881 h 80185"/>
                  <a:gd name="connsiteX30" fmla="*/ 50886 w 50891"/>
                  <a:gd name="connsiteY30" fmla="*/ 57889 h 80185"/>
                  <a:gd name="connsiteX31" fmla="*/ 48375 w 50891"/>
                  <a:gd name="connsiteY31" fmla="*/ 67748 h 80185"/>
                  <a:gd name="connsiteX32" fmla="*/ 41665 w 50891"/>
                  <a:gd name="connsiteY32" fmla="*/ 74704 h 80185"/>
                  <a:gd name="connsiteX33" fmla="*/ 31994 w 50891"/>
                  <a:gd name="connsiteY33" fmla="*/ 78823 h 80185"/>
                  <a:gd name="connsiteX34" fmla="*/ 20525 w 50891"/>
                  <a:gd name="connsiteY34" fmla="*/ 80170 h 80185"/>
                  <a:gd name="connsiteX35" fmla="*/ 0 w 50891"/>
                  <a:gd name="connsiteY35" fmla="*/ 75635 h 8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91" h="80185">
                    <a:moveTo>
                      <a:pt x="0" y="75635"/>
                    </a:moveTo>
                    <a:lnTo>
                      <a:pt x="0" y="62490"/>
                    </a:lnTo>
                    <a:cubicBezTo>
                      <a:pt x="6360" y="67321"/>
                      <a:pt x="14133" y="69928"/>
                      <a:pt x="22115" y="69906"/>
                    </a:cubicBezTo>
                    <a:cubicBezTo>
                      <a:pt x="32904" y="69906"/>
                      <a:pt x="38299" y="66313"/>
                      <a:pt x="38299" y="59127"/>
                    </a:cubicBezTo>
                    <a:cubicBezTo>
                      <a:pt x="38354" y="57298"/>
                      <a:pt x="37882" y="55490"/>
                      <a:pt x="36917" y="53924"/>
                    </a:cubicBezTo>
                    <a:cubicBezTo>
                      <a:pt x="35930" y="52434"/>
                      <a:pt x="34659" y="51141"/>
                      <a:pt x="33178" y="50133"/>
                    </a:cubicBezTo>
                    <a:cubicBezTo>
                      <a:pt x="31435" y="48950"/>
                      <a:pt x="29582" y="47964"/>
                      <a:pt x="27630" y="47176"/>
                    </a:cubicBezTo>
                    <a:cubicBezTo>
                      <a:pt x="25492" y="46310"/>
                      <a:pt x="23244" y="45390"/>
                      <a:pt x="20767" y="44448"/>
                    </a:cubicBezTo>
                    <a:cubicBezTo>
                      <a:pt x="17708" y="43254"/>
                      <a:pt x="14714" y="41896"/>
                      <a:pt x="11809" y="40362"/>
                    </a:cubicBezTo>
                    <a:cubicBezTo>
                      <a:pt x="9440" y="39146"/>
                      <a:pt x="7280" y="37580"/>
                      <a:pt x="5373" y="35728"/>
                    </a:cubicBezTo>
                    <a:cubicBezTo>
                      <a:pt x="3673" y="34063"/>
                      <a:pt x="2347" y="32058"/>
                      <a:pt x="1469" y="29846"/>
                    </a:cubicBezTo>
                    <a:cubicBezTo>
                      <a:pt x="548" y="27392"/>
                      <a:pt x="110" y="24796"/>
                      <a:pt x="154" y="22177"/>
                    </a:cubicBezTo>
                    <a:cubicBezTo>
                      <a:pt x="88" y="18825"/>
                      <a:pt x="943" y="15517"/>
                      <a:pt x="2632" y="12625"/>
                    </a:cubicBezTo>
                    <a:cubicBezTo>
                      <a:pt x="4287" y="9843"/>
                      <a:pt x="6535" y="7466"/>
                      <a:pt x="9210" y="5658"/>
                    </a:cubicBezTo>
                    <a:cubicBezTo>
                      <a:pt x="12094" y="3730"/>
                      <a:pt x="15273" y="2306"/>
                      <a:pt x="18629" y="1430"/>
                    </a:cubicBezTo>
                    <a:cubicBezTo>
                      <a:pt x="22181" y="477"/>
                      <a:pt x="25843" y="6"/>
                      <a:pt x="29527" y="6"/>
                    </a:cubicBezTo>
                    <a:cubicBezTo>
                      <a:pt x="35645" y="-93"/>
                      <a:pt x="41730" y="1079"/>
                      <a:pt x="47366" y="3456"/>
                    </a:cubicBezTo>
                    <a:lnTo>
                      <a:pt x="47366" y="15824"/>
                    </a:lnTo>
                    <a:cubicBezTo>
                      <a:pt x="41566" y="12077"/>
                      <a:pt x="34779" y="10150"/>
                      <a:pt x="27871" y="10281"/>
                    </a:cubicBezTo>
                    <a:cubicBezTo>
                      <a:pt x="25777" y="10259"/>
                      <a:pt x="23683" y="10522"/>
                      <a:pt x="21655" y="11070"/>
                    </a:cubicBezTo>
                    <a:cubicBezTo>
                      <a:pt x="19955" y="11519"/>
                      <a:pt x="18343" y="12264"/>
                      <a:pt x="16896" y="13261"/>
                    </a:cubicBezTo>
                    <a:cubicBezTo>
                      <a:pt x="15624" y="14148"/>
                      <a:pt x="14572" y="15309"/>
                      <a:pt x="13826" y="16667"/>
                    </a:cubicBezTo>
                    <a:cubicBezTo>
                      <a:pt x="13091" y="18015"/>
                      <a:pt x="12719" y="19516"/>
                      <a:pt x="12730" y="21049"/>
                    </a:cubicBezTo>
                    <a:cubicBezTo>
                      <a:pt x="12675" y="22791"/>
                      <a:pt x="13048" y="24511"/>
                      <a:pt x="13826" y="26066"/>
                    </a:cubicBezTo>
                    <a:cubicBezTo>
                      <a:pt x="14605" y="27490"/>
                      <a:pt x="15690" y="28717"/>
                      <a:pt x="17006" y="29660"/>
                    </a:cubicBezTo>
                    <a:cubicBezTo>
                      <a:pt x="18585" y="30810"/>
                      <a:pt x="20295" y="31763"/>
                      <a:pt x="22104" y="32508"/>
                    </a:cubicBezTo>
                    <a:cubicBezTo>
                      <a:pt x="24111" y="33362"/>
                      <a:pt x="26380" y="34282"/>
                      <a:pt x="28924" y="35279"/>
                    </a:cubicBezTo>
                    <a:cubicBezTo>
                      <a:pt x="32038" y="36451"/>
                      <a:pt x="35097" y="37788"/>
                      <a:pt x="38069" y="39288"/>
                    </a:cubicBezTo>
                    <a:cubicBezTo>
                      <a:pt x="40568" y="40515"/>
                      <a:pt x="42882" y="42082"/>
                      <a:pt x="44965" y="43922"/>
                    </a:cubicBezTo>
                    <a:cubicBezTo>
                      <a:pt x="46818" y="45587"/>
                      <a:pt x="48309" y="47614"/>
                      <a:pt x="49351" y="49881"/>
                    </a:cubicBezTo>
                    <a:cubicBezTo>
                      <a:pt x="50425" y="52412"/>
                      <a:pt x="50952" y="55139"/>
                      <a:pt x="50886" y="57889"/>
                    </a:cubicBezTo>
                    <a:cubicBezTo>
                      <a:pt x="50963" y="61340"/>
                      <a:pt x="50096" y="64758"/>
                      <a:pt x="48375" y="67748"/>
                    </a:cubicBezTo>
                    <a:cubicBezTo>
                      <a:pt x="46697" y="70552"/>
                      <a:pt x="44406" y="72930"/>
                      <a:pt x="41665" y="74704"/>
                    </a:cubicBezTo>
                    <a:cubicBezTo>
                      <a:pt x="38704" y="76621"/>
                      <a:pt x="35437" y="78023"/>
                      <a:pt x="31994" y="78823"/>
                    </a:cubicBezTo>
                    <a:cubicBezTo>
                      <a:pt x="28244" y="79732"/>
                      <a:pt x="24385" y="80192"/>
                      <a:pt x="20525" y="80170"/>
                    </a:cubicBezTo>
                    <a:cubicBezTo>
                      <a:pt x="13420" y="80357"/>
                      <a:pt x="6370" y="78801"/>
                      <a:pt x="0" y="756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5" name="Freeform: Shape 284">
                <a:extLst>
                  <a:ext uri="{FF2B5EF4-FFF2-40B4-BE49-F238E27FC236}">
                    <a16:creationId xmlns:a16="http://schemas.microsoft.com/office/drawing/2014/main" id="{BE3615B8-3DDA-B4B6-A233-1EF20AF41A1A}"/>
                  </a:ext>
                </a:extLst>
              </p:cNvPr>
              <p:cNvSpPr/>
              <p:nvPr/>
            </p:nvSpPr>
            <p:spPr>
              <a:xfrm>
                <a:off x="3256955" y="4225800"/>
                <a:ext cx="86695" cy="107353"/>
              </a:xfrm>
              <a:custGeom>
                <a:avLst/>
                <a:gdLst>
                  <a:gd name="connsiteX0" fmla="*/ 86652 w 86695"/>
                  <a:gd name="connsiteY0" fmla="*/ 107354 h 107353"/>
                  <a:gd name="connsiteX1" fmla="*/ 71203 w 86695"/>
                  <a:gd name="connsiteY1" fmla="*/ 107354 h 107353"/>
                  <a:gd name="connsiteX2" fmla="*/ 15898 w 86695"/>
                  <a:gd name="connsiteY2" fmla="*/ 21755 h 107353"/>
                  <a:gd name="connsiteX3" fmla="*/ 12445 w 86695"/>
                  <a:gd name="connsiteY3" fmla="*/ 15019 h 107353"/>
                  <a:gd name="connsiteX4" fmla="*/ 11995 w 86695"/>
                  <a:gd name="connsiteY4" fmla="*/ 15019 h 107353"/>
                  <a:gd name="connsiteX5" fmla="*/ 12598 w 86695"/>
                  <a:gd name="connsiteY5" fmla="*/ 29774 h 107353"/>
                  <a:gd name="connsiteX6" fmla="*/ 12598 w 86695"/>
                  <a:gd name="connsiteY6" fmla="*/ 107354 h 107353"/>
                  <a:gd name="connsiteX7" fmla="*/ 0 w 86695"/>
                  <a:gd name="connsiteY7" fmla="*/ 107354 h 107353"/>
                  <a:gd name="connsiteX8" fmla="*/ 0 w 86695"/>
                  <a:gd name="connsiteY8" fmla="*/ 0 h 107353"/>
                  <a:gd name="connsiteX9" fmla="*/ 16348 w 86695"/>
                  <a:gd name="connsiteY9" fmla="*/ 0 h 107353"/>
                  <a:gd name="connsiteX10" fmla="*/ 70161 w 86695"/>
                  <a:gd name="connsiteY10" fmla="*/ 84240 h 107353"/>
                  <a:gd name="connsiteX11" fmla="*/ 74547 w 86695"/>
                  <a:gd name="connsiteY11" fmla="*/ 91437 h 107353"/>
                  <a:gd name="connsiteX12" fmla="*/ 74854 w 86695"/>
                  <a:gd name="connsiteY12" fmla="*/ 91437 h 107353"/>
                  <a:gd name="connsiteX13" fmla="*/ 74097 w 86695"/>
                  <a:gd name="connsiteY13" fmla="*/ 75630 h 107353"/>
                  <a:gd name="connsiteX14" fmla="*/ 74097 w 86695"/>
                  <a:gd name="connsiteY14" fmla="*/ 44 h 107353"/>
                  <a:gd name="connsiteX15" fmla="*/ 86695 w 86695"/>
                  <a:gd name="connsiteY15" fmla="*/ 44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95" h="107353">
                    <a:moveTo>
                      <a:pt x="86652" y="107354"/>
                    </a:moveTo>
                    <a:lnTo>
                      <a:pt x="71203" y="107354"/>
                    </a:lnTo>
                    <a:lnTo>
                      <a:pt x="15898" y="21755"/>
                    </a:lnTo>
                    <a:cubicBezTo>
                      <a:pt x="14506" y="19641"/>
                      <a:pt x="13355" y="17385"/>
                      <a:pt x="12445" y="15019"/>
                    </a:cubicBezTo>
                    <a:lnTo>
                      <a:pt x="11995" y="15019"/>
                    </a:lnTo>
                    <a:cubicBezTo>
                      <a:pt x="12532" y="19915"/>
                      <a:pt x="12730" y="24845"/>
                      <a:pt x="12598" y="29774"/>
                    </a:cubicBezTo>
                    <a:lnTo>
                      <a:pt x="12598" y="107354"/>
                    </a:lnTo>
                    <a:lnTo>
                      <a:pt x="0" y="107354"/>
                    </a:lnTo>
                    <a:lnTo>
                      <a:pt x="0" y="0"/>
                    </a:lnTo>
                    <a:lnTo>
                      <a:pt x="16348" y="0"/>
                    </a:lnTo>
                    <a:lnTo>
                      <a:pt x="70161" y="84240"/>
                    </a:lnTo>
                    <a:cubicBezTo>
                      <a:pt x="72409" y="87734"/>
                      <a:pt x="73867" y="90133"/>
                      <a:pt x="74547" y="91437"/>
                    </a:cubicBezTo>
                    <a:lnTo>
                      <a:pt x="74854" y="91437"/>
                    </a:lnTo>
                    <a:cubicBezTo>
                      <a:pt x="74229" y="86190"/>
                      <a:pt x="73977" y="80910"/>
                      <a:pt x="74097" y="75630"/>
                    </a:cubicBezTo>
                    <a:lnTo>
                      <a:pt x="74097" y="44"/>
                    </a:lnTo>
                    <a:lnTo>
                      <a:pt x="86695" y="44"/>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6" name="Freeform: Shape 285">
                <a:extLst>
                  <a:ext uri="{FF2B5EF4-FFF2-40B4-BE49-F238E27FC236}">
                    <a16:creationId xmlns:a16="http://schemas.microsoft.com/office/drawing/2014/main" id="{B5CFB5BB-2A5E-9C22-35F0-C577D355C0EB}"/>
                  </a:ext>
                </a:extLst>
              </p:cNvPr>
              <p:cNvSpPr/>
              <p:nvPr/>
            </p:nvSpPr>
            <p:spPr>
              <a:xfrm>
                <a:off x="3364069" y="4254575"/>
                <a:ext cx="67086" cy="80373"/>
              </a:xfrm>
              <a:custGeom>
                <a:avLst/>
                <a:gdLst>
                  <a:gd name="connsiteX0" fmla="*/ 67011 w 67086"/>
                  <a:gd name="connsiteY0" fmla="*/ 43306 h 80373"/>
                  <a:gd name="connsiteX1" fmla="*/ 12825 w 67086"/>
                  <a:gd name="connsiteY1" fmla="*/ 43306 h 80373"/>
                  <a:gd name="connsiteX2" fmla="*/ 19722 w 67086"/>
                  <a:gd name="connsiteY2" fmla="*/ 63024 h 80373"/>
                  <a:gd name="connsiteX3" fmla="*/ 37857 w 67086"/>
                  <a:gd name="connsiteY3" fmla="*/ 69980 h 80373"/>
                  <a:gd name="connsiteX4" fmla="*/ 61693 w 67086"/>
                  <a:gd name="connsiteY4" fmla="*/ 61447 h 80373"/>
                  <a:gd name="connsiteX5" fmla="*/ 61693 w 67086"/>
                  <a:gd name="connsiteY5" fmla="*/ 72982 h 80373"/>
                  <a:gd name="connsiteX6" fmla="*/ 34929 w 67086"/>
                  <a:gd name="connsiteY6" fmla="*/ 80321 h 80373"/>
                  <a:gd name="connsiteX7" fmla="*/ 9372 w 67086"/>
                  <a:gd name="connsiteY7" fmla="*/ 69871 h 80373"/>
                  <a:gd name="connsiteX8" fmla="*/ 85 w 67086"/>
                  <a:gd name="connsiteY8" fmla="*/ 40480 h 80373"/>
                  <a:gd name="connsiteX9" fmla="*/ 10238 w 67086"/>
                  <a:gd name="connsiteY9" fmla="*/ 11308 h 80373"/>
                  <a:gd name="connsiteX10" fmla="*/ 35456 w 67086"/>
                  <a:gd name="connsiteY10" fmla="*/ 47 h 80373"/>
                  <a:gd name="connsiteX11" fmla="*/ 58766 w 67086"/>
                  <a:gd name="connsiteY11" fmla="*/ 9774 h 80373"/>
                  <a:gd name="connsiteX12" fmla="*/ 67011 w 67086"/>
                  <a:gd name="connsiteY12" fmla="*/ 36810 h 80373"/>
                  <a:gd name="connsiteX13" fmla="*/ 54424 w 67086"/>
                  <a:gd name="connsiteY13" fmla="*/ 32899 h 80373"/>
                  <a:gd name="connsiteX14" fmla="*/ 49293 w 67086"/>
                  <a:gd name="connsiteY14" fmla="*/ 16347 h 80373"/>
                  <a:gd name="connsiteX15" fmla="*/ 35236 w 67086"/>
                  <a:gd name="connsiteY15" fmla="*/ 10432 h 80373"/>
                  <a:gd name="connsiteX16" fmla="*/ 20467 w 67086"/>
                  <a:gd name="connsiteY16" fmla="*/ 16643 h 80373"/>
                  <a:gd name="connsiteX17" fmla="*/ 12968 w 67086"/>
                  <a:gd name="connsiteY17" fmla="*/ 32899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6" h="80373">
                    <a:moveTo>
                      <a:pt x="67011" y="43306"/>
                    </a:moveTo>
                    <a:lnTo>
                      <a:pt x="12825" y="43306"/>
                    </a:lnTo>
                    <a:cubicBezTo>
                      <a:pt x="12562" y="50514"/>
                      <a:pt x="15029" y="57547"/>
                      <a:pt x="19722" y="63024"/>
                    </a:cubicBezTo>
                    <a:cubicBezTo>
                      <a:pt x="24502" y="67811"/>
                      <a:pt x="31092" y="70342"/>
                      <a:pt x="37857" y="69980"/>
                    </a:cubicBezTo>
                    <a:cubicBezTo>
                      <a:pt x="46552" y="69969"/>
                      <a:pt x="54972" y="66957"/>
                      <a:pt x="61693" y="61447"/>
                    </a:cubicBezTo>
                    <a:lnTo>
                      <a:pt x="61693" y="72982"/>
                    </a:lnTo>
                    <a:cubicBezTo>
                      <a:pt x="53777" y="78218"/>
                      <a:pt x="44403" y="80781"/>
                      <a:pt x="34929" y="80321"/>
                    </a:cubicBezTo>
                    <a:cubicBezTo>
                      <a:pt x="25281" y="80814"/>
                      <a:pt x="15906" y="76980"/>
                      <a:pt x="9372" y="69871"/>
                    </a:cubicBezTo>
                    <a:cubicBezTo>
                      <a:pt x="2727" y="61567"/>
                      <a:pt x="-584" y="51095"/>
                      <a:pt x="85" y="40480"/>
                    </a:cubicBezTo>
                    <a:cubicBezTo>
                      <a:pt x="-365" y="29821"/>
                      <a:pt x="3264" y="19381"/>
                      <a:pt x="10238" y="11308"/>
                    </a:cubicBezTo>
                    <a:cubicBezTo>
                      <a:pt x="16553" y="4001"/>
                      <a:pt x="25796" y="-128"/>
                      <a:pt x="35456" y="47"/>
                    </a:cubicBezTo>
                    <a:cubicBezTo>
                      <a:pt x="44304" y="-457"/>
                      <a:pt x="52900" y="3125"/>
                      <a:pt x="58766" y="9774"/>
                    </a:cubicBezTo>
                    <a:cubicBezTo>
                      <a:pt x="64676" y="17508"/>
                      <a:pt x="67603" y="27104"/>
                      <a:pt x="67011" y="36810"/>
                    </a:cubicBezTo>
                    <a:close/>
                    <a:moveTo>
                      <a:pt x="54424" y="32899"/>
                    </a:moveTo>
                    <a:cubicBezTo>
                      <a:pt x="54742" y="26951"/>
                      <a:pt x="52922" y="21079"/>
                      <a:pt x="49293" y="16347"/>
                    </a:cubicBezTo>
                    <a:cubicBezTo>
                      <a:pt x="45751" y="12338"/>
                      <a:pt x="40576" y="10158"/>
                      <a:pt x="35236" y="10432"/>
                    </a:cubicBezTo>
                    <a:cubicBezTo>
                      <a:pt x="29656" y="10333"/>
                      <a:pt x="24294" y="12590"/>
                      <a:pt x="20467" y="16643"/>
                    </a:cubicBezTo>
                    <a:cubicBezTo>
                      <a:pt x="16268" y="21112"/>
                      <a:pt x="13637" y="26809"/>
                      <a:pt x="12968" y="3289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7" name="Freeform: Shape 286">
                <a:extLst>
                  <a:ext uri="{FF2B5EF4-FFF2-40B4-BE49-F238E27FC236}">
                    <a16:creationId xmlns:a16="http://schemas.microsoft.com/office/drawing/2014/main" id="{26A3CA1D-93BB-5F5C-FB19-CE5D7FAB9329}"/>
                  </a:ext>
                </a:extLst>
              </p:cNvPr>
              <p:cNvSpPr/>
              <p:nvPr/>
            </p:nvSpPr>
            <p:spPr>
              <a:xfrm>
                <a:off x="3440290" y="4233775"/>
                <a:ext cx="44789" cy="101045"/>
              </a:xfrm>
              <a:custGeom>
                <a:avLst/>
                <a:gdLst>
                  <a:gd name="connsiteX0" fmla="*/ 44789 w 44789"/>
                  <a:gd name="connsiteY0" fmla="*/ 98623 h 101045"/>
                  <a:gd name="connsiteX1" fmla="*/ 33321 w 44789"/>
                  <a:gd name="connsiteY1" fmla="*/ 101022 h 101045"/>
                  <a:gd name="connsiteX2" fmla="*/ 13157 w 44789"/>
                  <a:gd name="connsiteY2" fmla="*/ 78555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8 w 44789"/>
                  <a:gd name="connsiteY8" fmla="*/ 0 h 101045"/>
                  <a:gd name="connsiteX9" fmla="*/ 25448 w 44789"/>
                  <a:gd name="connsiteY9" fmla="*/ 22698 h 101045"/>
                  <a:gd name="connsiteX10" fmla="*/ 44789 w 44789"/>
                  <a:gd name="connsiteY10" fmla="*/ 22698 h 101045"/>
                  <a:gd name="connsiteX11" fmla="*/ 44789 w 44789"/>
                  <a:gd name="connsiteY11" fmla="*/ 33181 h 101045"/>
                  <a:gd name="connsiteX12" fmla="*/ 25448 w 44789"/>
                  <a:gd name="connsiteY12" fmla="*/ 33181 h 101045"/>
                  <a:gd name="connsiteX13" fmla="*/ 25448 w 44789"/>
                  <a:gd name="connsiteY13" fmla="*/ 76385 h 101045"/>
                  <a:gd name="connsiteX14" fmla="*/ 28069 w 44789"/>
                  <a:gd name="connsiteY14" fmla="*/ 87340 h 101045"/>
                  <a:gd name="connsiteX15" fmla="*/ 36764 w 44789"/>
                  <a:gd name="connsiteY15" fmla="*/ 90626 h 101045"/>
                  <a:gd name="connsiteX16" fmla="*/ 44789 w 44789"/>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65"/>
                      <a:pt x="37290" y="101197"/>
                      <a:pt x="33321" y="101022"/>
                    </a:cubicBezTo>
                    <a:cubicBezTo>
                      <a:pt x="19878" y="101022"/>
                      <a:pt x="13157" y="93529"/>
                      <a:pt x="13157" y="78555"/>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448" y="33181"/>
                    </a:lnTo>
                    <a:lnTo>
                      <a:pt x="25448" y="76385"/>
                    </a:lnTo>
                    <a:cubicBezTo>
                      <a:pt x="25119" y="80220"/>
                      <a:pt x="26040" y="84065"/>
                      <a:pt x="28069" y="87340"/>
                    </a:cubicBezTo>
                    <a:cubicBezTo>
                      <a:pt x="30295" y="89728"/>
                      <a:pt x="33507" y="90944"/>
                      <a:pt x="36764" y="90626"/>
                    </a:cubicBezTo>
                    <a:cubicBezTo>
                      <a:pt x="39647" y="90692"/>
                      <a:pt x="42476" y="89794"/>
                      <a:pt x="44789" y="880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8" name="Freeform: Shape 287">
                <a:extLst>
                  <a:ext uri="{FF2B5EF4-FFF2-40B4-BE49-F238E27FC236}">
                    <a16:creationId xmlns:a16="http://schemas.microsoft.com/office/drawing/2014/main" id="{4C0FCD44-B5C0-7037-2B6E-D347BB920675}"/>
                  </a:ext>
                </a:extLst>
              </p:cNvPr>
              <p:cNvSpPr/>
              <p:nvPr/>
            </p:nvSpPr>
            <p:spPr>
              <a:xfrm>
                <a:off x="3494959" y="4256440"/>
                <a:ext cx="107330" cy="76714"/>
              </a:xfrm>
              <a:custGeom>
                <a:avLst/>
                <a:gdLst>
                  <a:gd name="connsiteX0" fmla="*/ 107330 w 107330"/>
                  <a:gd name="connsiteY0" fmla="*/ 33 h 76714"/>
                  <a:gd name="connsiteX1" fmla="*/ 84305 w 107330"/>
                  <a:gd name="connsiteY1" fmla="*/ 76714 h 76714"/>
                  <a:gd name="connsiteX2" fmla="*/ 71565 w 107330"/>
                  <a:gd name="connsiteY2" fmla="*/ 76714 h 76714"/>
                  <a:gd name="connsiteX3" fmla="*/ 55765 w 107330"/>
                  <a:gd name="connsiteY3" fmla="*/ 21788 h 76714"/>
                  <a:gd name="connsiteX4" fmla="*/ 54570 w 107330"/>
                  <a:gd name="connsiteY4" fmla="*/ 14668 h 76714"/>
                  <a:gd name="connsiteX5" fmla="*/ 54274 w 107330"/>
                  <a:gd name="connsiteY5" fmla="*/ 14668 h 76714"/>
                  <a:gd name="connsiteX6" fmla="*/ 52695 w 107330"/>
                  <a:gd name="connsiteY6" fmla="*/ 21635 h 76714"/>
                  <a:gd name="connsiteX7" fmla="*/ 35536 w 107330"/>
                  <a:gd name="connsiteY7" fmla="*/ 76681 h 76714"/>
                  <a:gd name="connsiteX8" fmla="*/ 23244 w 107330"/>
                  <a:gd name="connsiteY8" fmla="*/ 76681 h 76714"/>
                  <a:gd name="connsiteX9" fmla="*/ 0 w 107330"/>
                  <a:gd name="connsiteY9" fmla="*/ 0 h 76714"/>
                  <a:gd name="connsiteX10" fmla="*/ 12894 w 107330"/>
                  <a:gd name="connsiteY10" fmla="*/ 0 h 76714"/>
                  <a:gd name="connsiteX11" fmla="*/ 28782 w 107330"/>
                  <a:gd name="connsiteY11" fmla="*/ 57653 h 76714"/>
                  <a:gd name="connsiteX12" fmla="*/ 29878 w 107330"/>
                  <a:gd name="connsiteY12" fmla="*/ 64544 h 76714"/>
                  <a:gd name="connsiteX13" fmla="*/ 30481 w 107330"/>
                  <a:gd name="connsiteY13" fmla="*/ 64544 h 76714"/>
                  <a:gd name="connsiteX14" fmla="*/ 31830 w 107330"/>
                  <a:gd name="connsiteY14" fmla="*/ 57511 h 76714"/>
                  <a:gd name="connsiteX15" fmla="*/ 49515 w 107330"/>
                  <a:gd name="connsiteY15" fmla="*/ 0 h 76714"/>
                  <a:gd name="connsiteX16" fmla="*/ 60754 w 107330"/>
                  <a:gd name="connsiteY16" fmla="*/ 0 h 76714"/>
                  <a:gd name="connsiteX17" fmla="*/ 76652 w 107330"/>
                  <a:gd name="connsiteY17" fmla="*/ 57807 h 76714"/>
                  <a:gd name="connsiteX18" fmla="*/ 77749 w 107330"/>
                  <a:gd name="connsiteY18" fmla="*/ 64697 h 76714"/>
                  <a:gd name="connsiteX19" fmla="*/ 78351 w 107330"/>
                  <a:gd name="connsiteY19" fmla="*/ 64697 h 76714"/>
                  <a:gd name="connsiteX20" fmla="*/ 79624 w 107330"/>
                  <a:gd name="connsiteY20" fmla="*/ 57807 h 76714"/>
                  <a:gd name="connsiteX21" fmla="*/ 95215 w 107330"/>
                  <a:gd name="connsiteY21" fmla="*/ 0 h 7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7330" h="76714">
                    <a:moveTo>
                      <a:pt x="107330" y="33"/>
                    </a:moveTo>
                    <a:lnTo>
                      <a:pt x="84305" y="76714"/>
                    </a:lnTo>
                    <a:lnTo>
                      <a:pt x="71565" y="76714"/>
                    </a:lnTo>
                    <a:lnTo>
                      <a:pt x="55765" y="21788"/>
                    </a:lnTo>
                    <a:cubicBezTo>
                      <a:pt x="55129" y="19466"/>
                      <a:pt x="54734" y="17078"/>
                      <a:pt x="54570" y="14668"/>
                    </a:cubicBezTo>
                    <a:lnTo>
                      <a:pt x="54274" y="14668"/>
                    </a:lnTo>
                    <a:cubicBezTo>
                      <a:pt x="54000" y="17034"/>
                      <a:pt x="53462" y="19378"/>
                      <a:pt x="52695" y="21635"/>
                    </a:cubicBezTo>
                    <a:lnTo>
                      <a:pt x="35536" y="76681"/>
                    </a:lnTo>
                    <a:lnTo>
                      <a:pt x="23244" y="76681"/>
                    </a:lnTo>
                    <a:lnTo>
                      <a:pt x="0" y="0"/>
                    </a:lnTo>
                    <a:lnTo>
                      <a:pt x="12894" y="0"/>
                    </a:lnTo>
                    <a:lnTo>
                      <a:pt x="28782" y="57653"/>
                    </a:lnTo>
                    <a:cubicBezTo>
                      <a:pt x="29385" y="59910"/>
                      <a:pt x="29746" y="62210"/>
                      <a:pt x="29878" y="64544"/>
                    </a:cubicBezTo>
                    <a:lnTo>
                      <a:pt x="30481" y="64544"/>
                    </a:lnTo>
                    <a:cubicBezTo>
                      <a:pt x="30656" y="62156"/>
                      <a:pt x="31117" y="59800"/>
                      <a:pt x="31830" y="57511"/>
                    </a:cubicBezTo>
                    <a:lnTo>
                      <a:pt x="49515" y="0"/>
                    </a:lnTo>
                    <a:lnTo>
                      <a:pt x="60754" y="0"/>
                    </a:lnTo>
                    <a:lnTo>
                      <a:pt x="76652" y="57807"/>
                    </a:lnTo>
                    <a:cubicBezTo>
                      <a:pt x="77211" y="60074"/>
                      <a:pt x="77573" y="62375"/>
                      <a:pt x="77749" y="64697"/>
                    </a:cubicBezTo>
                    <a:lnTo>
                      <a:pt x="78351" y="64697"/>
                    </a:lnTo>
                    <a:cubicBezTo>
                      <a:pt x="78527" y="62364"/>
                      <a:pt x="78944" y="60052"/>
                      <a:pt x="79624" y="57807"/>
                    </a:cubicBezTo>
                    <a:lnTo>
                      <a:pt x="95215"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9" name="Freeform: Shape 288">
                <a:extLst>
                  <a:ext uri="{FF2B5EF4-FFF2-40B4-BE49-F238E27FC236}">
                    <a16:creationId xmlns:a16="http://schemas.microsoft.com/office/drawing/2014/main" id="{DC9341C0-FFC5-8DAD-4557-124EC95C69BE}"/>
                  </a:ext>
                </a:extLst>
              </p:cNvPr>
              <p:cNvSpPr/>
              <p:nvPr/>
            </p:nvSpPr>
            <p:spPr>
              <a:xfrm>
                <a:off x="3609562" y="4254634"/>
                <a:ext cx="75646" cy="80354"/>
              </a:xfrm>
              <a:custGeom>
                <a:avLst/>
                <a:gdLst>
                  <a:gd name="connsiteX0" fmla="*/ 37407 w 75646"/>
                  <a:gd name="connsiteY0" fmla="*/ 80317 h 80354"/>
                  <a:gd name="connsiteX1" fmla="*/ 10237 w 75646"/>
                  <a:gd name="connsiteY1" fmla="*/ 69571 h 80354"/>
                  <a:gd name="connsiteX2" fmla="*/ 73 w 75646"/>
                  <a:gd name="connsiteY2" fmla="*/ 41089 h 80354"/>
                  <a:gd name="connsiteX3" fmla="*/ 10643 w 75646"/>
                  <a:gd name="connsiteY3" fmla="*/ 10909 h 80354"/>
                  <a:gd name="connsiteX4" fmla="*/ 39150 w 75646"/>
                  <a:gd name="connsiteY4" fmla="*/ 53 h 80354"/>
                  <a:gd name="connsiteX5" fmla="*/ 65947 w 75646"/>
                  <a:gd name="connsiteY5" fmla="*/ 10603 h 80354"/>
                  <a:gd name="connsiteX6" fmla="*/ 75574 w 75646"/>
                  <a:gd name="connsiteY6" fmla="*/ 39884 h 80354"/>
                  <a:gd name="connsiteX7" fmla="*/ 65202 w 75646"/>
                  <a:gd name="connsiteY7" fmla="*/ 69275 h 80354"/>
                  <a:gd name="connsiteX8" fmla="*/ 37407 w 75646"/>
                  <a:gd name="connsiteY8" fmla="*/ 80317 h 80354"/>
                  <a:gd name="connsiteX9" fmla="*/ 38306 w 75646"/>
                  <a:gd name="connsiteY9" fmla="*/ 10373 h 80354"/>
                  <a:gd name="connsiteX10" fmla="*/ 19568 w 75646"/>
                  <a:gd name="connsiteY10" fmla="*/ 18424 h 80354"/>
                  <a:gd name="connsiteX11" fmla="*/ 12671 w 75646"/>
                  <a:gd name="connsiteY11" fmla="*/ 40629 h 80354"/>
                  <a:gd name="connsiteX12" fmla="*/ 19645 w 75646"/>
                  <a:gd name="connsiteY12" fmla="*/ 62121 h 80354"/>
                  <a:gd name="connsiteX13" fmla="*/ 38284 w 75646"/>
                  <a:gd name="connsiteY13" fmla="*/ 69976 h 80354"/>
                  <a:gd name="connsiteX14" fmla="*/ 56616 w 75646"/>
                  <a:gd name="connsiteY14" fmla="*/ 62308 h 80354"/>
                  <a:gd name="connsiteX15" fmla="*/ 63020 w 75646"/>
                  <a:gd name="connsiteY15" fmla="*/ 40399 h 80354"/>
                  <a:gd name="connsiteX16" fmla="*/ 56616 w 75646"/>
                  <a:gd name="connsiteY16" fmla="*/ 18238 h 80354"/>
                  <a:gd name="connsiteX17" fmla="*/ 38306 w 75646"/>
                  <a:gd name="connsiteY17" fmla="*/ 10373 h 80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46" h="80354">
                    <a:moveTo>
                      <a:pt x="37407" y="80317"/>
                    </a:moveTo>
                    <a:cubicBezTo>
                      <a:pt x="27232" y="80788"/>
                      <a:pt x="17331" y="76877"/>
                      <a:pt x="10237" y="69571"/>
                    </a:cubicBezTo>
                    <a:cubicBezTo>
                      <a:pt x="3231" y="61782"/>
                      <a:pt x="-420" y="51550"/>
                      <a:pt x="73" y="41089"/>
                    </a:cubicBezTo>
                    <a:cubicBezTo>
                      <a:pt x="-585" y="30025"/>
                      <a:pt x="3220" y="19158"/>
                      <a:pt x="10643" y="10909"/>
                    </a:cubicBezTo>
                    <a:cubicBezTo>
                      <a:pt x="18208" y="3471"/>
                      <a:pt x="28548" y="-461"/>
                      <a:pt x="39150" y="53"/>
                    </a:cubicBezTo>
                    <a:cubicBezTo>
                      <a:pt x="49193" y="-505"/>
                      <a:pt x="58985" y="3340"/>
                      <a:pt x="65947" y="10603"/>
                    </a:cubicBezTo>
                    <a:cubicBezTo>
                      <a:pt x="72767" y="18786"/>
                      <a:pt x="76199" y="29258"/>
                      <a:pt x="75574" y="39884"/>
                    </a:cubicBezTo>
                    <a:cubicBezTo>
                      <a:pt x="76100" y="50663"/>
                      <a:pt x="72383" y="61212"/>
                      <a:pt x="65202" y="69275"/>
                    </a:cubicBezTo>
                    <a:cubicBezTo>
                      <a:pt x="57954" y="76768"/>
                      <a:pt x="47823" y="80788"/>
                      <a:pt x="37407" y="80317"/>
                    </a:cubicBezTo>
                    <a:close/>
                    <a:moveTo>
                      <a:pt x="38306" y="10373"/>
                    </a:moveTo>
                    <a:cubicBezTo>
                      <a:pt x="31157" y="10055"/>
                      <a:pt x="24250" y="13013"/>
                      <a:pt x="19568" y="18424"/>
                    </a:cubicBezTo>
                    <a:cubicBezTo>
                      <a:pt x="14656" y="24745"/>
                      <a:pt x="12200" y="32632"/>
                      <a:pt x="12671" y="40629"/>
                    </a:cubicBezTo>
                    <a:cubicBezTo>
                      <a:pt x="12233" y="48406"/>
                      <a:pt x="14721" y="56075"/>
                      <a:pt x="19645" y="62121"/>
                    </a:cubicBezTo>
                    <a:cubicBezTo>
                      <a:pt x="24370" y="67391"/>
                      <a:pt x="31212" y="70272"/>
                      <a:pt x="38284" y="69976"/>
                    </a:cubicBezTo>
                    <a:cubicBezTo>
                      <a:pt x="45257" y="70403"/>
                      <a:pt x="52022" y="67566"/>
                      <a:pt x="56616" y="62308"/>
                    </a:cubicBezTo>
                    <a:cubicBezTo>
                      <a:pt x="61254" y="55976"/>
                      <a:pt x="63513" y="48220"/>
                      <a:pt x="63020" y="40399"/>
                    </a:cubicBezTo>
                    <a:cubicBezTo>
                      <a:pt x="63524" y="32490"/>
                      <a:pt x="61265" y="24657"/>
                      <a:pt x="56616" y="18238"/>
                    </a:cubicBezTo>
                    <a:cubicBezTo>
                      <a:pt x="52077" y="12903"/>
                      <a:pt x="45301" y="9989"/>
                      <a:pt x="38306" y="1037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0" name="Freeform: Shape 289">
                <a:extLst>
                  <a:ext uri="{FF2B5EF4-FFF2-40B4-BE49-F238E27FC236}">
                    <a16:creationId xmlns:a16="http://schemas.microsoft.com/office/drawing/2014/main" id="{E1437882-80FC-80E6-CF9F-23309C896EE3}"/>
                  </a:ext>
                </a:extLst>
              </p:cNvPr>
              <p:cNvSpPr/>
              <p:nvPr/>
            </p:nvSpPr>
            <p:spPr>
              <a:xfrm>
                <a:off x="3704017" y="4255106"/>
                <a:ext cx="40019" cy="78048"/>
              </a:xfrm>
              <a:custGeom>
                <a:avLst/>
                <a:gdLst>
                  <a:gd name="connsiteX0" fmla="*/ 40009 w 40019"/>
                  <a:gd name="connsiteY0" fmla="*/ 13789 h 78048"/>
                  <a:gd name="connsiteX1" fmla="*/ 30722 w 40019"/>
                  <a:gd name="connsiteY1" fmla="*/ 11325 h 78048"/>
                  <a:gd name="connsiteX2" fmla="*/ 17565 w 40019"/>
                  <a:gd name="connsiteY2" fmla="*/ 18741 h 78048"/>
                  <a:gd name="connsiteX3" fmla="*/ 12291 w 40019"/>
                  <a:gd name="connsiteY3" fmla="*/ 38952 h 78048"/>
                  <a:gd name="connsiteX4" fmla="*/ 12291 w 40019"/>
                  <a:gd name="connsiteY4" fmla="*/ 78048 h 78048"/>
                  <a:gd name="connsiteX5" fmla="*/ 0 w 40019"/>
                  <a:gd name="connsiteY5" fmla="*/ 78048 h 78048"/>
                  <a:gd name="connsiteX6" fmla="*/ 0 w 40019"/>
                  <a:gd name="connsiteY6" fmla="*/ 1367 h 78048"/>
                  <a:gd name="connsiteX7" fmla="*/ 12291 w 40019"/>
                  <a:gd name="connsiteY7" fmla="*/ 1367 h 78048"/>
                  <a:gd name="connsiteX8" fmla="*/ 12291 w 40019"/>
                  <a:gd name="connsiteY8" fmla="*/ 17163 h 78048"/>
                  <a:gd name="connsiteX9" fmla="*/ 12587 w 40019"/>
                  <a:gd name="connsiteY9" fmla="*/ 17163 h 78048"/>
                  <a:gd name="connsiteX10" fmla="*/ 20613 w 40019"/>
                  <a:gd name="connsiteY10" fmla="*/ 4544 h 78048"/>
                  <a:gd name="connsiteX11" fmla="*/ 32674 w 40019"/>
                  <a:gd name="connsiteY11" fmla="*/ 20 h 78048"/>
                  <a:gd name="connsiteX12" fmla="*/ 40020 w 40019"/>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19" h="78048">
                    <a:moveTo>
                      <a:pt x="40009" y="13789"/>
                    </a:moveTo>
                    <a:cubicBezTo>
                      <a:pt x="37268" y="11971"/>
                      <a:pt x="34000" y="11105"/>
                      <a:pt x="30722" y="11325"/>
                    </a:cubicBezTo>
                    <a:cubicBezTo>
                      <a:pt x="25361" y="11390"/>
                      <a:pt x="20394" y="14184"/>
                      <a:pt x="17565" y="18741"/>
                    </a:cubicBezTo>
                    <a:cubicBezTo>
                      <a:pt x="13749" y="24766"/>
                      <a:pt x="11896" y="31831"/>
                      <a:pt x="12291" y="38952"/>
                    </a:cubicBezTo>
                    <a:lnTo>
                      <a:pt x="12291" y="78048"/>
                    </a:lnTo>
                    <a:lnTo>
                      <a:pt x="0" y="78048"/>
                    </a:lnTo>
                    <a:lnTo>
                      <a:pt x="0" y="1367"/>
                    </a:lnTo>
                    <a:lnTo>
                      <a:pt x="12291" y="1367"/>
                    </a:lnTo>
                    <a:lnTo>
                      <a:pt x="12291" y="17163"/>
                    </a:lnTo>
                    <a:lnTo>
                      <a:pt x="12587" y="17163"/>
                    </a:lnTo>
                    <a:cubicBezTo>
                      <a:pt x="14012" y="12278"/>
                      <a:pt x="16797" y="7907"/>
                      <a:pt x="20613" y="4544"/>
                    </a:cubicBezTo>
                    <a:cubicBezTo>
                      <a:pt x="23946" y="1619"/>
                      <a:pt x="28233" y="9"/>
                      <a:pt x="32674" y="20"/>
                    </a:cubicBezTo>
                    <a:cubicBezTo>
                      <a:pt x="35162" y="-90"/>
                      <a:pt x="37652" y="260"/>
                      <a:pt x="40020" y="10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1" name="Freeform: Shape 290">
                <a:extLst>
                  <a:ext uri="{FF2B5EF4-FFF2-40B4-BE49-F238E27FC236}">
                    <a16:creationId xmlns:a16="http://schemas.microsoft.com/office/drawing/2014/main" id="{4B65D299-AC12-6640-E7FD-277C4E9DEFC6}"/>
                  </a:ext>
                </a:extLst>
              </p:cNvPr>
              <p:cNvSpPr/>
              <p:nvPr/>
            </p:nvSpPr>
            <p:spPr>
              <a:xfrm>
                <a:off x="3757655" y="4219622"/>
                <a:ext cx="63713" cy="113532"/>
              </a:xfrm>
              <a:custGeom>
                <a:avLst/>
                <a:gdLst>
                  <a:gd name="connsiteX0" fmla="*/ 63714 w 63713"/>
                  <a:gd name="connsiteY0" fmla="*/ 113532 h 113532"/>
                  <a:gd name="connsiteX1" fmla="*/ 46478 w 63713"/>
                  <a:gd name="connsiteY1" fmla="*/ 113532 h 113532"/>
                  <a:gd name="connsiteX2" fmla="*/ 12598 w 63713"/>
                  <a:gd name="connsiteY2" fmla="*/ 76681 h 113532"/>
                  <a:gd name="connsiteX3" fmla="*/ 12291 w 63713"/>
                  <a:gd name="connsiteY3" fmla="*/ 76681 h 113532"/>
                  <a:gd name="connsiteX4" fmla="*/ 12291 w 63713"/>
                  <a:gd name="connsiteY4" fmla="*/ 113532 h 113532"/>
                  <a:gd name="connsiteX5" fmla="*/ 0 w 63713"/>
                  <a:gd name="connsiteY5" fmla="*/ 113532 h 113532"/>
                  <a:gd name="connsiteX6" fmla="*/ 0 w 63713"/>
                  <a:gd name="connsiteY6" fmla="*/ 0 h 113532"/>
                  <a:gd name="connsiteX7" fmla="*/ 12291 w 63713"/>
                  <a:gd name="connsiteY7" fmla="*/ 0 h 113532"/>
                  <a:gd name="connsiteX8" fmla="*/ 12291 w 63713"/>
                  <a:gd name="connsiteY8" fmla="*/ 71971 h 113532"/>
                  <a:gd name="connsiteX9" fmla="*/ 12598 w 63713"/>
                  <a:gd name="connsiteY9" fmla="*/ 71971 h 113532"/>
                  <a:gd name="connsiteX10" fmla="*/ 44822 w 63713"/>
                  <a:gd name="connsiteY10" fmla="*/ 36851 h 113532"/>
                  <a:gd name="connsiteX11" fmla="*/ 60940 w 63713"/>
                  <a:gd name="connsiteY11" fmla="*/ 36851 h 113532"/>
                  <a:gd name="connsiteX12" fmla="*/ 25338 w 63713"/>
                  <a:gd name="connsiteY12" fmla="*/ 73844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713" h="113532">
                    <a:moveTo>
                      <a:pt x="63714" y="113532"/>
                    </a:moveTo>
                    <a:lnTo>
                      <a:pt x="46478" y="113532"/>
                    </a:lnTo>
                    <a:lnTo>
                      <a:pt x="12598" y="76681"/>
                    </a:lnTo>
                    <a:lnTo>
                      <a:pt x="12291" y="76681"/>
                    </a:lnTo>
                    <a:lnTo>
                      <a:pt x="12291" y="113532"/>
                    </a:lnTo>
                    <a:lnTo>
                      <a:pt x="0" y="113532"/>
                    </a:lnTo>
                    <a:lnTo>
                      <a:pt x="0" y="0"/>
                    </a:lnTo>
                    <a:lnTo>
                      <a:pt x="12291" y="0"/>
                    </a:lnTo>
                    <a:lnTo>
                      <a:pt x="12291" y="71971"/>
                    </a:lnTo>
                    <a:lnTo>
                      <a:pt x="12598" y="71971"/>
                    </a:lnTo>
                    <a:lnTo>
                      <a:pt x="44822" y="36851"/>
                    </a:lnTo>
                    <a:lnTo>
                      <a:pt x="60940" y="36851"/>
                    </a:lnTo>
                    <a:lnTo>
                      <a:pt x="25338" y="73844"/>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2" name="Freeform: Shape 291">
                <a:extLst>
                  <a:ext uri="{FF2B5EF4-FFF2-40B4-BE49-F238E27FC236}">
                    <a16:creationId xmlns:a16="http://schemas.microsoft.com/office/drawing/2014/main" id="{45FD27A1-7B54-8BDE-55D5-7A0F9C7A7743}"/>
                  </a:ext>
                </a:extLst>
              </p:cNvPr>
              <p:cNvSpPr/>
              <p:nvPr/>
            </p:nvSpPr>
            <p:spPr>
              <a:xfrm>
                <a:off x="3870716" y="4254636"/>
                <a:ext cx="57752" cy="80343"/>
              </a:xfrm>
              <a:custGeom>
                <a:avLst/>
                <a:gdLst>
                  <a:gd name="connsiteX0" fmla="*/ 57610 w 57752"/>
                  <a:gd name="connsiteY0" fmla="*/ 74991 h 80343"/>
                  <a:gd name="connsiteX1" fmla="*/ 36624 w 57752"/>
                  <a:gd name="connsiteY1" fmla="*/ 80315 h 80343"/>
                  <a:gd name="connsiteX2" fmla="*/ 10123 w 57752"/>
                  <a:gd name="connsiteY2" fmla="*/ 69645 h 80343"/>
                  <a:gd name="connsiteX3" fmla="*/ 47 w 57752"/>
                  <a:gd name="connsiteY3" fmla="*/ 41974 h 80343"/>
                  <a:gd name="connsiteX4" fmla="*/ 10913 w 57752"/>
                  <a:gd name="connsiteY4" fmla="*/ 11532 h 80343"/>
                  <a:gd name="connsiteX5" fmla="*/ 39924 w 57752"/>
                  <a:gd name="connsiteY5" fmla="*/ 41 h 80343"/>
                  <a:gd name="connsiteX6" fmla="*/ 57753 w 57752"/>
                  <a:gd name="connsiteY6" fmla="*/ 3776 h 80343"/>
                  <a:gd name="connsiteX7" fmla="*/ 57753 w 57752"/>
                  <a:gd name="connsiteY7" fmla="*/ 16363 h 80343"/>
                  <a:gd name="connsiteX8" fmla="*/ 39464 w 57752"/>
                  <a:gd name="connsiteY8" fmla="*/ 10371 h 80343"/>
                  <a:gd name="connsiteX9" fmla="*/ 20167 w 57752"/>
                  <a:gd name="connsiteY9" fmla="*/ 18795 h 80343"/>
                  <a:gd name="connsiteX10" fmla="*/ 12634 w 57752"/>
                  <a:gd name="connsiteY10" fmla="*/ 40923 h 80343"/>
                  <a:gd name="connsiteX11" fmla="*/ 19717 w 57752"/>
                  <a:gd name="connsiteY11" fmla="*/ 62185 h 80343"/>
                  <a:gd name="connsiteX12" fmla="*/ 38719 w 57752"/>
                  <a:gd name="connsiteY12" fmla="*/ 69974 h 80343"/>
                  <a:gd name="connsiteX13" fmla="*/ 57610 w 57752"/>
                  <a:gd name="connsiteY13" fmla="*/ 63314 h 8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52" h="80343">
                    <a:moveTo>
                      <a:pt x="57610" y="74991"/>
                    </a:moveTo>
                    <a:cubicBezTo>
                      <a:pt x="51240" y="78661"/>
                      <a:pt x="43982" y="80501"/>
                      <a:pt x="36624" y="80315"/>
                    </a:cubicBezTo>
                    <a:cubicBezTo>
                      <a:pt x="26669" y="80720"/>
                      <a:pt x="17020" y="76832"/>
                      <a:pt x="10123" y="69645"/>
                    </a:cubicBezTo>
                    <a:cubicBezTo>
                      <a:pt x="3249" y="62109"/>
                      <a:pt x="-381" y="52162"/>
                      <a:pt x="47" y="41974"/>
                    </a:cubicBezTo>
                    <a:cubicBezTo>
                      <a:pt x="-479" y="30790"/>
                      <a:pt x="3424" y="19857"/>
                      <a:pt x="10913" y="11532"/>
                    </a:cubicBezTo>
                    <a:cubicBezTo>
                      <a:pt x="18489" y="3721"/>
                      <a:pt x="29048" y="-463"/>
                      <a:pt x="39924" y="41"/>
                    </a:cubicBezTo>
                    <a:cubicBezTo>
                      <a:pt x="46076" y="-91"/>
                      <a:pt x="52172" y="1191"/>
                      <a:pt x="57753" y="3776"/>
                    </a:cubicBezTo>
                    <a:lnTo>
                      <a:pt x="57753" y="16363"/>
                    </a:lnTo>
                    <a:cubicBezTo>
                      <a:pt x="52435" y="12496"/>
                      <a:pt x="46043" y="10393"/>
                      <a:pt x="39464" y="10371"/>
                    </a:cubicBezTo>
                    <a:cubicBezTo>
                      <a:pt x="32096" y="10163"/>
                      <a:pt x="25024" y="13252"/>
                      <a:pt x="20167" y="18795"/>
                    </a:cubicBezTo>
                    <a:cubicBezTo>
                      <a:pt x="14948" y="24962"/>
                      <a:pt x="12262" y="32860"/>
                      <a:pt x="12634" y="40923"/>
                    </a:cubicBezTo>
                    <a:cubicBezTo>
                      <a:pt x="12196" y="48657"/>
                      <a:pt x="14739" y="56259"/>
                      <a:pt x="19717" y="62185"/>
                    </a:cubicBezTo>
                    <a:cubicBezTo>
                      <a:pt x="24597" y="67455"/>
                      <a:pt x="31548" y="70303"/>
                      <a:pt x="38719" y="69974"/>
                    </a:cubicBezTo>
                    <a:cubicBezTo>
                      <a:pt x="45582" y="69919"/>
                      <a:pt x="52227" y="67575"/>
                      <a:pt x="57610" y="6331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3" name="Freeform: Shape 292">
                <a:extLst>
                  <a:ext uri="{FF2B5EF4-FFF2-40B4-BE49-F238E27FC236}">
                    <a16:creationId xmlns:a16="http://schemas.microsoft.com/office/drawing/2014/main" id="{E5B19133-402C-178C-DCBF-0B457BA72F7E}"/>
                  </a:ext>
                </a:extLst>
              </p:cNvPr>
              <p:cNvSpPr/>
              <p:nvPr/>
            </p:nvSpPr>
            <p:spPr>
              <a:xfrm>
                <a:off x="3939612" y="4254634"/>
                <a:ext cx="75659" cy="80355"/>
              </a:xfrm>
              <a:custGeom>
                <a:avLst/>
                <a:gdLst>
                  <a:gd name="connsiteX0" fmla="*/ 37396 w 75659"/>
                  <a:gd name="connsiteY0" fmla="*/ 80317 h 80355"/>
                  <a:gd name="connsiteX1" fmla="*/ 10226 w 75659"/>
                  <a:gd name="connsiteY1" fmla="*/ 69571 h 80355"/>
                  <a:gd name="connsiteX2" fmla="*/ 73 w 75659"/>
                  <a:gd name="connsiteY2" fmla="*/ 41089 h 80355"/>
                  <a:gd name="connsiteX3" fmla="*/ 10643 w 75659"/>
                  <a:gd name="connsiteY3" fmla="*/ 10909 h 80355"/>
                  <a:gd name="connsiteX4" fmla="*/ 39150 w 75659"/>
                  <a:gd name="connsiteY4" fmla="*/ 53 h 80355"/>
                  <a:gd name="connsiteX5" fmla="*/ 65947 w 75659"/>
                  <a:gd name="connsiteY5" fmla="*/ 10603 h 80355"/>
                  <a:gd name="connsiteX6" fmla="*/ 75585 w 75659"/>
                  <a:gd name="connsiteY6" fmla="*/ 39884 h 80355"/>
                  <a:gd name="connsiteX7" fmla="*/ 65191 w 75659"/>
                  <a:gd name="connsiteY7" fmla="*/ 69275 h 80355"/>
                  <a:gd name="connsiteX8" fmla="*/ 37396 w 75659"/>
                  <a:gd name="connsiteY8" fmla="*/ 80317 h 80355"/>
                  <a:gd name="connsiteX9" fmla="*/ 38295 w 75659"/>
                  <a:gd name="connsiteY9" fmla="*/ 10373 h 80355"/>
                  <a:gd name="connsiteX10" fmla="*/ 19557 w 75659"/>
                  <a:gd name="connsiteY10" fmla="*/ 18424 h 80355"/>
                  <a:gd name="connsiteX11" fmla="*/ 12660 w 75659"/>
                  <a:gd name="connsiteY11" fmla="*/ 40629 h 80355"/>
                  <a:gd name="connsiteX12" fmla="*/ 19634 w 75659"/>
                  <a:gd name="connsiteY12" fmla="*/ 62121 h 80355"/>
                  <a:gd name="connsiteX13" fmla="*/ 38273 w 75659"/>
                  <a:gd name="connsiteY13" fmla="*/ 69976 h 80355"/>
                  <a:gd name="connsiteX14" fmla="*/ 56594 w 75659"/>
                  <a:gd name="connsiteY14" fmla="*/ 62308 h 80355"/>
                  <a:gd name="connsiteX15" fmla="*/ 63009 w 75659"/>
                  <a:gd name="connsiteY15" fmla="*/ 40399 h 80355"/>
                  <a:gd name="connsiteX16" fmla="*/ 56594 w 75659"/>
                  <a:gd name="connsiteY16" fmla="*/ 18238 h 80355"/>
                  <a:gd name="connsiteX17" fmla="*/ 38295 w 75659"/>
                  <a:gd name="connsiteY17" fmla="*/ 10373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9" h="80355">
                    <a:moveTo>
                      <a:pt x="37396" y="80317"/>
                    </a:moveTo>
                    <a:cubicBezTo>
                      <a:pt x="27221" y="80788"/>
                      <a:pt x="17331" y="76877"/>
                      <a:pt x="10226" y="69571"/>
                    </a:cubicBezTo>
                    <a:cubicBezTo>
                      <a:pt x="3231" y="61782"/>
                      <a:pt x="-420" y="51550"/>
                      <a:pt x="73" y="41089"/>
                    </a:cubicBezTo>
                    <a:cubicBezTo>
                      <a:pt x="-585" y="30025"/>
                      <a:pt x="3220" y="19147"/>
                      <a:pt x="10643" y="10909"/>
                    </a:cubicBezTo>
                    <a:cubicBezTo>
                      <a:pt x="18208" y="3471"/>
                      <a:pt x="28547" y="-472"/>
                      <a:pt x="39150" y="53"/>
                    </a:cubicBezTo>
                    <a:cubicBezTo>
                      <a:pt x="49194" y="-505"/>
                      <a:pt x="58985" y="3340"/>
                      <a:pt x="65947" y="10603"/>
                    </a:cubicBezTo>
                    <a:cubicBezTo>
                      <a:pt x="72767" y="18786"/>
                      <a:pt x="76221" y="29258"/>
                      <a:pt x="75585" y="39884"/>
                    </a:cubicBezTo>
                    <a:cubicBezTo>
                      <a:pt x="76111" y="50663"/>
                      <a:pt x="72383" y="61223"/>
                      <a:pt x="65191" y="69275"/>
                    </a:cubicBezTo>
                    <a:cubicBezTo>
                      <a:pt x="57943" y="76768"/>
                      <a:pt x="47823" y="80799"/>
                      <a:pt x="37396" y="80317"/>
                    </a:cubicBezTo>
                    <a:close/>
                    <a:moveTo>
                      <a:pt x="38295" y="10373"/>
                    </a:moveTo>
                    <a:cubicBezTo>
                      <a:pt x="31146" y="10044"/>
                      <a:pt x="24239" y="13013"/>
                      <a:pt x="19557" y="18424"/>
                    </a:cubicBezTo>
                    <a:cubicBezTo>
                      <a:pt x="14634" y="24745"/>
                      <a:pt x="12189" y="32632"/>
                      <a:pt x="12660" y="40629"/>
                    </a:cubicBezTo>
                    <a:cubicBezTo>
                      <a:pt x="12222" y="48406"/>
                      <a:pt x="14710" y="56075"/>
                      <a:pt x="19634" y="62121"/>
                    </a:cubicBezTo>
                    <a:cubicBezTo>
                      <a:pt x="24359" y="67391"/>
                      <a:pt x="31201" y="70272"/>
                      <a:pt x="38273" y="69976"/>
                    </a:cubicBezTo>
                    <a:cubicBezTo>
                      <a:pt x="45246" y="70403"/>
                      <a:pt x="52011" y="67566"/>
                      <a:pt x="56594" y="62308"/>
                    </a:cubicBezTo>
                    <a:cubicBezTo>
                      <a:pt x="61232" y="55987"/>
                      <a:pt x="63513" y="48231"/>
                      <a:pt x="63009" y="40399"/>
                    </a:cubicBezTo>
                    <a:cubicBezTo>
                      <a:pt x="63524" y="32490"/>
                      <a:pt x="61254" y="24646"/>
                      <a:pt x="56594" y="18238"/>
                    </a:cubicBezTo>
                    <a:cubicBezTo>
                      <a:pt x="52066" y="12892"/>
                      <a:pt x="45290" y="9978"/>
                      <a:pt x="38295" y="1037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4" name="Freeform: Shape 293">
                <a:extLst>
                  <a:ext uri="{FF2B5EF4-FFF2-40B4-BE49-F238E27FC236}">
                    <a16:creationId xmlns:a16="http://schemas.microsoft.com/office/drawing/2014/main" id="{12001712-1B05-F446-1447-9AE24C7B3472}"/>
                  </a:ext>
                </a:extLst>
              </p:cNvPr>
              <p:cNvSpPr/>
              <p:nvPr/>
            </p:nvSpPr>
            <p:spPr>
              <a:xfrm>
                <a:off x="4034045" y="4254676"/>
                <a:ext cx="63827" cy="78521"/>
              </a:xfrm>
              <a:custGeom>
                <a:avLst/>
                <a:gdLst>
                  <a:gd name="connsiteX0" fmla="*/ 63714 w 63827"/>
                  <a:gd name="connsiteY0" fmla="*/ 78478 h 78521"/>
                  <a:gd name="connsiteX1" fmla="*/ 51423 w 63827"/>
                  <a:gd name="connsiteY1" fmla="*/ 78478 h 78521"/>
                  <a:gd name="connsiteX2" fmla="*/ 51423 w 63827"/>
                  <a:gd name="connsiteY2" fmla="*/ 34737 h 78521"/>
                  <a:gd name="connsiteX3" fmla="*/ 33584 w 63827"/>
                  <a:gd name="connsiteY3" fmla="*/ 10330 h 78521"/>
                  <a:gd name="connsiteX4" fmla="*/ 18322 w 63827"/>
                  <a:gd name="connsiteY4" fmla="*/ 17254 h 78521"/>
                  <a:gd name="connsiteX5" fmla="*/ 12291 w 63827"/>
                  <a:gd name="connsiteY5" fmla="*/ 34781 h 78521"/>
                  <a:gd name="connsiteX6" fmla="*/ 12291 w 63827"/>
                  <a:gd name="connsiteY6" fmla="*/ 78522 h 78521"/>
                  <a:gd name="connsiteX7" fmla="*/ 0 w 63827"/>
                  <a:gd name="connsiteY7" fmla="*/ 78522 h 78521"/>
                  <a:gd name="connsiteX8" fmla="*/ 0 w 63827"/>
                  <a:gd name="connsiteY8" fmla="*/ 1841 h 78521"/>
                  <a:gd name="connsiteX9" fmla="*/ 12291 w 63827"/>
                  <a:gd name="connsiteY9" fmla="*/ 1841 h 78521"/>
                  <a:gd name="connsiteX10" fmla="*/ 12291 w 63827"/>
                  <a:gd name="connsiteY10" fmla="*/ 14570 h 78521"/>
                  <a:gd name="connsiteX11" fmla="*/ 12598 w 63827"/>
                  <a:gd name="connsiteY11" fmla="*/ 14570 h 78521"/>
                  <a:gd name="connsiteX12" fmla="*/ 37816 w 63827"/>
                  <a:gd name="connsiteY12" fmla="*/ 44 h 78521"/>
                  <a:gd name="connsiteX13" fmla="*/ 57081 w 63827"/>
                  <a:gd name="connsiteY13" fmla="*/ 8161 h 78521"/>
                  <a:gd name="connsiteX14" fmla="*/ 63747 w 63827"/>
                  <a:gd name="connsiteY14" fmla="*/ 31637 h 7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27" h="78521">
                    <a:moveTo>
                      <a:pt x="63714" y="78478"/>
                    </a:moveTo>
                    <a:lnTo>
                      <a:pt x="51423" y="78478"/>
                    </a:lnTo>
                    <a:lnTo>
                      <a:pt x="51423" y="34737"/>
                    </a:lnTo>
                    <a:cubicBezTo>
                      <a:pt x="51423" y="18469"/>
                      <a:pt x="45480" y="10341"/>
                      <a:pt x="33584" y="10330"/>
                    </a:cubicBezTo>
                    <a:cubicBezTo>
                      <a:pt x="27707" y="10210"/>
                      <a:pt x="22093" y="12751"/>
                      <a:pt x="18322" y="17254"/>
                    </a:cubicBezTo>
                    <a:cubicBezTo>
                      <a:pt x="14199" y="22150"/>
                      <a:pt x="12050" y="28394"/>
                      <a:pt x="12291" y="34781"/>
                    </a:cubicBezTo>
                    <a:lnTo>
                      <a:pt x="12291" y="78522"/>
                    </a:lnTo>
                    <a:lnTo>
                      <a:pt x="0" y="78522"/>
                    </a:lnTo>
                    <a:lnTo>
                      <a:pt x="0" y="1841"/>
                    </a:lnTo>
                    <a:lnTo>
                      <a:pt x="12291" y="1841"/>
                    </a:lnTo>
                    <a:lnTo>
                      <a:pt x="12291" y="14570"/>
                    </a:lnTo>
                    <a:lnTo>
                      <a:pt x="12598" y="14570"/>
                    </a:lnTo>
                    <a:cubicBezTo>
                      <a:pt x="17576" y="5346"/>
                      <a:pt x="27334" y="-274"/>
                      <a:pt x="37816" y="44"/>
                    </a:cubicBezTo>
                    <a:cubicBezTo>
                      <a:pt x="45151" y="-405"/>
                      <a:pt x="52278" y="2597"/>
                      <a:pt x="57081" y="8161"/>
                    </a:cubicBezTo>
                    <a:cubicBezTo>
                      <a:pt x="61949" y="14986"/>
                      <a:pt x="64306" y="23279"/>
                      <a:pt x="63747" y="31637"/>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5" name="Freeform: Shape 294">
                <a:extLst>
                  <a:ext uri="{FF2B5EF4-FFF2-40B4-BE49-F238E27FC236}">
                    <a16:creationId xmlns:a16="http://schemas.microsoft.com/office/drawing/2014/main" id="{61FC93D7-07CD-5743-7812-5A0C976D1FD8}"/>
                  </a:ext>
                </a:extLst>
              </p:cNvPr>
              <p:cNvSpPr/>
              <p:nvPr/>
            </p:nvSpPr>
            <p:spPr>
              <a:xfrm>
                <a:off x="4110324" y="4233775"/>
                <a:ext cx="44778" cy="101045"/>
              </a:xfrm>
              <a:custGeom>
                <a:avLst/>
                <a:gdLst>
                  <a:gd name="connsiteX0" fmla="*/ 44779 w 44778"/>
                  <a:gd name="connsiteY0" fmla="*/ 98623 h 101045"/>
                  <a:gd name="connsiteX1" fmla="*/ 33321 w 44778"/>
                  <a:gd name="connsiteY1" fmla="*/ 101022 h 101045"/>
                  <a:gd name="connsiteX2" fmla="*/ 13157 w 44778"/>
                  <a:gd name="connsiteY2" fmla="*/ 78555 h 101045"/>
                  <a:gd name="connsiteX3" fmla="*/ 13157 w 44778"/>
                  <a:gd name="connsiteY3" fmla="*/ 33181 h 101045"/>
                  <a:gd name="connsiteX4" fmla="*/ 0 w 44778"/>
                  <a:gd name="connsiteY4" fmla="*/ 33181 h 101045"/>
                  <a:gd name="connsiteX5" fmla="*/ 0 w 44778"/>
                  <a:gd name="connsiteY5" fmla="*/ 22698 h 101045"/>
                  <a:gd name="connsiteX6" fmla="*/ 13157 w 44778"/>
                  <a:gd name="connsiteY6" fmla="*/ 22698 h 101045"/>
                  <a:gd name="connsiteX7" fmla="*/ 13157 w 44778"/>
                  <a:gd name="connsiteY7" fmla="*/ 3976 h 101045"/>
                  <a:gd name="connsiteX8" fmla="*/ 25449 w 44778"/>
                  <a:gd name="connsiteY8" fmla="*/ 0 h 101045"/>
                  <a:gd name="connsiteX9" fmla="*/ 25449 w 44778"/>
                  <a:gd name="connsiteY9" fmla="*/ 22698 h 101045"/>
                  <a:gd name="connsiteX10" fmla="*/ 44779 w 44778"/>
                  <a:gd name="connsiteY10" fmla="*/ 22698 h 101045"/>
                  <a:gd name="connsiteX11" fmla="*/ 44779 w 44778"/>
                  <a:gd name="connsiteY11" fmla="*/ 33181 h 101045"/>
                  <a:gd name="connsiteX12" fmla="*/ 25449 w 44778"/>
                  <a:gd name="connsiteY12" fmla="*/ 33181 h 101045"/>
                  <a:gd name="connsiteX13" fmla="*/ 25449 w 44778"/>
                  <a:gd name="connsiteY13" fmla="*/ 76385 h 101045"/>
                  <a:gd name="connsiteX14" fmla="*/ 28069 w 44778"/>
                  <a:gd name="connsiteY14" fmla="*/ 87340 h 101045"/>
                  <a:gd name="connsiteX15" fmla="*/ 36764 w 44778"/>
                  <a:gd name="connsiteY15" fmla="*/ 90626 h 101045"/>
                  <a:gd name="connsiteX16" fmla="*/ 44779 w 44778"/>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45">
                    <a:moveTo>
                      <a:pt x="44779" y="98623"/>
                    </a:moveTo>
                    <a:cubicBezTo>
                      <a:pt x="41226" y="100376"/>
                      <a:pt x="37279" y="101197"/>
                      <a:pt x="33321" y="101022"/>
                    </a:cubicBezTo>
                    <a:cubicBezTo>
                      <a:pt x="19879" y="101022"/>
                      <a:pt x="13157" y="93529"/>
                      <a:pt x="13157" y="78555"/>
                    </a:cubicBezTo>
                    <a:lnTo>
                      <a:pt x="13157" y="33181"/>
                    </a:lnTo>
                    <a:lnTo>
                      <a:pt x="0" y="33181"/>
                    </a:lnTo>
                    <a:lnTo>
                      <a:pt x="0" y="22698"/>
                    </a:lnTo>
                    <a:lnTo>
                      <a:pt x="13157" y="22698"/>
                    </a:lnTo>
                    <a:lnTo>
                      <a:pt x="13157" y="3976"/>
                    </a:lnTo>
                    <a:lnTo>
                      <a:pt x="25449" y="0"/>
                    </a:lnTo>
                    <a:lnTo>
                      <a:pt x="25449" y="22698"/>
                    </a:lnTo>
                    <a:lnTo>
                      <a:pt x="44779" y="22698"/>
                    </a:lnTo>
                    <a:lnTo>
                      <a:pt x="44779" y="33181"/>
                    </a:lnTo>
                    <a:lnTo>
                      <a:pt x="25449" y="33181"/>
                    </a:lnTo>
                    <a:lnTo>
                      <a:pt x="25449" y="76385"/>
                    </a:lnTo>
                    <a:cubicBezTo>
                      <a:pt x="25120" y="80220"/>
                      <a:pt x="26040" y="84065"/>
                      <a:pt x="28069" y="87340"/>
                    </a:cubicBezTo>
                    <a:cubicBezTo>
                      <a:pt x="30295" y="89728"/>
                      <a:pt x="33507" y="90944"/>
                      <a:pt x="36764" y="90626"/>
                    </a:cubicBezTo>
                    <a:cubicBezTo>
                      <a:pt x="39647" y="90692"/>
                      <a:pt x="42465" y="89794"/>
                      <a:pt x="44779" y="880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6" name="Freeform: Shape 295">
                <a:extLst>
                  <a:ext uri="{FF2B5EF4-FFF2-40B4-BE49-F238E27FC236}">
                    <a16:creationId xmlns:a16="http://schemas.microsoft.com/office/drawing/2014/main" id="{DB4BFF66-8E5C-0507-1726-B2F297BA3F53}"/>
                  </a:ext>
                </a:extLst>
              </p:cNvPr>
              <p:cNvSpPr/>
              <p:nvPr/>
            </p:nvSpPr>
            <p:spPr>
              <a:xfrm>
                <a:off x="4170212" y="4255106"/>
                <a:ext cx="40042" cy="78048"/>
              </a:xfrm>
              <a:custGeom>
                <a:avLst/>
                <a:gdLst>
                  <a:gd name="connsiteX0" fmla="*/ 40042 w 40042"/>
                  <a:gd name="connsiteY0" fmla="*/ 13789 h 78048"/>
                  <a:gd name="connsiteX1" fmla="*/ 30744 w 40042"/>
                  <a:gd name="connsiteY1" fmla="*/ 11325 h 78048"/>
                  <a:gd name="connsiteX2" fmla="*/ 17587 w 40042"/>
                  <a:gd name="connsiteY2" fmla="*/ 18741 h 78048"/>
                  <a:gd name="connsiteX3" fmla="*/ 12291 w 40042"/>
                  <a:gd name="connsiteY3" fmla="*/ 38952 h 78048"/>
                  <a:gd name="connsiteX4" fmla="*/ 12291 w 40042"/>
                  <a:gd name="connsiteY4" fmla="*/ 78048 h 78048"/>
                  <a:gd name="connsiteX5" fmla="*/ 0 w 40042"/>
                  <a:gd name="connsiteY5" fmla="*/ 78048 h 78048"/>
                  <a:gd name="connsiteX6" fmla="*/ 0 w 40042"/>
                  <a:gd name="connsiteY6" fmla="*/ 1367 h 78048"/>
                  <a:gd name="connsiteX7" fmla="*/ 12302 w 40042"/>
                  <a:gd name="connsiteY7" fmla="*/ 1367 h 78048"/>
                  <a:gd name="connsiteX8" fmla="*/ 12302 w 40042"/>
                  <a:gd name="connsiteY8" fmla="*/ 17163 h 78048"/>
                  <a:gd name="connsiteX9" fmla="*/ 12609 w 40042"/>
                  <a:gd name="connsiteY9" fmla="*/ 17163 h 78048"/>
                  <a:gd name="connsiteX10" fmla="*/ 20624 w 40042"/>
                  <a:gd name="connsiteY10" fmla="*/ 4544 h 78048"/>
                  <a:gd name="connsiteX11" fmla="*/ 32685 w 40042"/>
                  <a:gd name="connsiteY11" fmla="*/ 20 h 78048"/>
                  <a:gd name="connsiteX12" fmla="*/ 40031 w 40042"/>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42" h="78048">
                    <a:moveTo>
                      <a:pt x="40042" y="13789"/>
                    </a:moveTo>
                    <a:cubicBezTo>
                      <a:pt x="37290" y="11971"/>
                      <a:pt x="34034" y="11105"/>
                      <a:pt x="30744" y="11325"/>
                    </a:cubicBezTo>
                    <a:cubicBezTo>
                      <a:pt x="25372" y="11379"/>
                      <a:pt x="20416" y="14184"/>
                      <a:pt x="17587" y="18741"/>
                    </a:cubicBezTo>
                    <a:cubicBezTo>
                      <a:pt x="13760" y="24766"/>
                      <a:pt x="11907" y="31831"/>
                      <a:pt x="12291" y="38952"/>
                    </a:cubicBezTo>
                    <a:lnTo>
                      <a:pt x="12291" y="78048"/>
                    </a:lnTo>
                    <a:lnTo>
                      <a:pt x="0" y="78048"/>
                    </a:lnTo>
                    <a:lnTo>
                      <a:pt x="0" y="1367"/>
                    </a:lnTo>
                    <a:lnTo>
                      <a:pt x="12302" y="1367"/>
                    </a:lnTo>
                    <a:lnTo>
                      <a:pt x="12302" y="17163"/>
                    </a:lnTo>
                    <a:lnTo>
                      <a:pt x="12609" y="17163"/>
                    </a:lnTo>
                    <a:cubicBezTo>
                      <a:pt x="14034" y="12289"/>
                      <a:pt x="16808" y="7907"/>
                      <a:pt x="20624" y="4544"/>
                    </a:cubicBezTo>
                    <a:cubicBezTo>
                      <a:pt x="23957" y="1619"/>
                      <a:pt x="28244" y="20"/>
                      <a:pt x="32685" y="20"/>
                    </a:cubicBezTo>
                    <a:cubicBezTo>
                      <a:pt x="35174" y="-90"/>
                      <a:pt x="37674" y="260"/>
                      <a:pt x="40031" y="10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7" name="Freeform: Shape 296">
                <a:extLst>
                  <a:ext uri="{FF2B5EF4-FFF2-40B4-BE49-F238E27FC236}">
                    <a16:creationId xmlns:a16="http://schemas.microsoft.com/office/drawing/2014/main" id="{3BF1F4A0-6C48-5120-762F-DB6E49E59D30}"/>
                  </a:ext>
                </a:extLst>
              </p:cNvPr>
              <p:cNvSpPr/>
              <p:nvPr/>
            </p:nvSpPr>
            <p:spPr>
              <a:xfrm>
                <a:off x="4218272" y="4254634"/>
                <a:ext cx="75657" cy="80355"/>
              </a:xfrm>
              <a:custGeom>
                <a:avLst/>
                <a:gdLst>
                  <a:gd name="connsiteX0" fmla="*/ 37396 w 75657"/>
                  <a:gd name="connsiteY0" fmla="*/ 80317 h 80355"/>
                  <a:gd name="connsiteX1" fmla="*/ 10237 w 75657"/>
                  <a:gd name="connsiteY1" fmla="*/ 69571 h 80355"/>
                  <a:gd name="connsiteX2" fmla="*/ 73 w 75657"/>
                  <a:gd name="connsiteY2" fmla="*/ 41089 h 80355"/>
                  <a:gd name="connsiteX3" fmla="*/ 10643 w 75657"/>
                  <a:gd name="connsiteY3" fmla="*/ 10909 h 80355"/>
                  <a:gd name="connsiteX4" fmla="*/ 39150 w 75657"/>
                  <a:gd name="connsiteY4" fmla="*/ 53 h 80355"/>
                  <a:gd name="connsiteX5" fmla="*/ 65958 w 75657"/>
                  <a:gd name="connsiteY5" fmla="*/ 10603 h 80355"/>
                  <a:gd name="connsiteX6" fmla="*/ 75585 w 75657"/>
                  <a:gd name="connsiteY6" fmla="*/ 39884 h 80355"/>
                  <a:gd name="connsiteX7" fmla="*/ 65202 w 75657"/>
                  <a:gd name="connsiteY7" fmla="*/ 69275 h 80355"/>
                  <a:gd name="connsiteX8" fmla="*/ 37396 w 75657"/>
                  <a:gd name="connsiteY8" fmla="*/ 80317 h 80355"/>
                  <a:gd name="connsiteX9" fmla="*/ 38295 w 75657"/>
                  <a:gd name="connsiteY9" fmla="*/ 10373 h 80355"/>
                  <a:gd name="connsiteX10" fmla="*/ 19557 w 75657"/>
                  <a:gd name="connsiteY10" fmla="*/ 18424 h 80355"/>
                  <a:gd name="connsiteX11" fmla="*/ 12660 w 75657"/>
                  <a:gd name="connsiteY11" fmla="*/ 40629 h 80355"/>
                  <a:gd name="connsiteX12" fmla="*/ 19634 w 75657"/>
                  <a:gd name="connsiteY12" fmla="*/ 62121 h 80355"/>
                  <a:gd name="connsiteX13" fmla="*/ 38273 w 75657"/>
                  <a:gd name="connsiteY13" fmla="*/ 69976 h 80355"/>
                  <a:gd name="connsiteX14" fmla="*/ 56605 w 75657"/>
                  <a:gd name="connsiteY14" fmla="*/ 62308 h 80355"/>
                  <a:gd name="connsiteX15" fmla="*/ 63009 w 75657"/>
                  <a:gd name="connsiteY15" fmla="*/ 40399 h 80355"/>
                  <a:gd name="connsiteX16" fmla="*/ 56605 w 75657"/>
                  <a:gd name="connsiteY16" fmla="*/ 18238 h 80355"/>
                  <a:gd name="connsiteX17" fmla="*/ 38295 w 75657"/>
                  <a:gd name="connsiteY17" fmla="*/ 10373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7" h="80355">
                    <a:moveTo>
                      <a:pt x="37396" y="80317"/>
                    </a:moveTo>
                    <a:cubicBezTo>
                      <a:pt x="27221" y="80788"/>
                      <a:pt x="17331" y="76866"/>
                      <a:pt x="10237" y="69571"/>
                    </a:cubicBezTo>
                    <a:cubicBezTo>
                      <a:pt x="3231" y="61782"/>
                      <a:pt x="-420" y="51550"/>
                      <a:pt x="73" y="41089"/>
                    </a:cubicBezTo>
                    <a:cubicBezTo>
                      <a:pt x="-585" y="30025"/>
                      <a:pt x="3220" y="19147"/>
                      <a:pt x="10643" y="10909"/>
                    </a:cubicBezTo>
                    <a:cubicBezTo>
                      <a:pt x="18208" y="3471"/>
                      <a:pt x="28547" y="-472"/>
                      <a:pt x="39150" y="53"/>
                    </a:cubicBezTo>
                    <a:cubicBezTo>
                      <a:pt x="49204" y="-505"/>
                      <a:pt x="58996" y="3340"/>
                      <a:pt x="65958" y="10603"/>
                    </a:cubicBezTo>
                    <a:cubicBezTo>
                      <a:pt x="72778" y="18786"/>
                      <a:pt x="76210" y="29258"/>
                      <a:pt x="75585" y="39884"/>
                    </a:cubicBezTo>
                    <a:cubicBezTo>
                      <a:pt x="76111" y="50663"/>
                      <a:pt x="72383" y="61212"/>
                      <a:pt x="65202" y="69275"/>
                    </a:cubicBezTo>
                    <a:cubicBezTo>
                      <a:pt x="57954" y="76768"/>
                      <a:pt x="47823" y="80799"/>
                      <a:pt x="37396" y="80317"/>
                    </a:cubicBezTo>
                    <a:close/>
                    <a:moveTo>
                      <a:pt x="38295" y="10373"/>
                    </a:moveTo>
                    <a:cubicBezTo>
                      <a:pt x="31146" y="10055"/>
                      <a:pt x="24238" y="13024"/>
                      <a:pt x="19557" y="18424"/>
                    </a:cubicBezTo>
                    <a:cubicBezTo>
                      <a:pt x="14645" y="24745"/>
                      <a:pt x="12189" y="32632"/>
                      <a:pt x="12660" y="40629"/>
                    </a:cubicBezTo>
                    <a:cubicBezTo>
                      <a:pt x="12222" y="48406"/>
                      <a:pt x="14710" y="56075"/>
                      <a:pt x="19634" y="62121"/>
                    </a:cubicBezTo>
                    <a:cubicBezTo>
                      <a:pt x="24359" y="67391"/>
                      <a:pt x="31201" y="70272"/>
                      <a:pt x="38273" y="69976"/>
                    </a:cubicBezTo>
                    <a:cubicBezTo>
                      <a:pt x="45246" y="70403"/>
                      <a:pt x="52022" y="67566"/>
                      <a:pt x="56605" y="62308"/>
                    </a:cubicBezTo>
                    <a:cubicBezTo>
                      <a:pt x="61243" y="55976"/>
                      <a:pt x="63513" y="48231"/>
                      <a:pt x="63009" y="40399"/>
                    </a:cubicBezTo>
                    <a:cubicBezTo>
                      <a:pt x="63524" y="32490"/>
                      <a:pt x="61265" y="24657"/>
                      <a:pt x="56605" y="18238"/>
                    </a:cubicBezTo>
                    <a:cubicBezTo>
                      <a:pt x="52077" y="12892"/>
                      <a:pt x="45290" y="9978"/>
                      <a:pt x="38295" y="1037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8" name="Freeform: Shape 297">
                <a:extLst>
                  <a:ext uri="{FF2B5EF4-FFF2-40B4-BE49-F238E27FC236}">
                    <a16:creationId xmlns:a16="http://schemas.microsoft.com/office/drawing/2014/main" id="{C6307A11-EA2A-401E-3DFD-22C522B0B550}"/>
                  </a:ext>
                </a:extLst>
              </p:cNvPr>
              <p:cNvSpPr/>
              <p:nvPr/>
            </p:nvSpPr>
            <p:spPr>
              <a:xfrm>
                <a:off x="4312639" y="4219622"/>
                <a:ext cx="12291" cy="113532"/>
              </a:xfrm>
              <a:custGeom>
                <a:avLst/>
                <a:gdLst>
                  <a:gd name="connsiteX0" fmla="*/ 12291 w 12291"/>
                  <a:gd name="connsiteY0" fmla="*/ 113532 h 113532"/>
                  <a:gd name="connsiteX1" fmla="*/ 0 w 12291"/>
                  <a:gd name="connsiteY1" fmla="*/ 113532 h 113532"/>
                  <a:gd name="connsiteX2" fmla="*/ 0 w 12291"/>
                  <a:gd name="connsiteY2" fmla="*/ 0 h 113532"/>
                  <a:gd name="connsiteX3" fmla="*/ 12291 w 12291"/>
                  <a:gd name="connsiteY3" fmla="*/ 0 h 113532"/>
                </a:gdLst>
                <a:ahLst/>
                <a:cxnLst>
                  <a:cxn ang="0">
                    <a:pos x="connsiteX0" y="connsiteY0"/>
                  </a:cxn>
                  <a:cxn ang="0">
                    <a:pos x="connsiteX1" y="connsiteY1"/>
                  </a:cxn>
                  <a:cxn ang="0">
                    <a:pos x="connsiteX2" y="connsiteY2"/>
                  </a:cxn>
                  <a:cxn ang="0">
                    <a:pos x="connsiteX3" y="connsiteY3"/>
                  </a:cxn>
                </a:cxnLst>
                <a:rect l="l" t="t" r="r" b="b"/>
                <a:pathLst>
                  <a:path w="12291" h="113532">
                    <a:moveTo>
                      <a:pt x="12291" y="113532"/>
                    </a:moveTo>
                    <a:lnTo>
                      <a:pt x="0" y="113532"/>
                    </a:lnTo>
                    <a:lnTo>
                      <a:pt x="0" y="0"/>
                    </a:lnTo>
                    <a:lnTo>
                      <a:pt x="12291"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9" name="Freeform: Shape 298">
                <a:extLst>
                  <a:ext uri="{FF2B5EF4-FFF2-40B4-BE49-F238E27FC236}">
                    <a16:creationId xmlns:a16="http://schemas.microsoft.com/office/drawing/2014/main" id="{A2D86BEE-AC25-E326-6031-29CCCCB8C769}"/>
                  </a:ext>
                </a:extLst>
              </p:cNvPr>
              <p:cNvSpPr/>
              <p:nvPr/>
            </p:nvSpPr>
            <p:spPr>
              <a:xfrm>
                <a:off x="4344436" y="4254747"/>
                <a:ext cx="50880" cy="80194"/>
              </a:xfrm>
              <a:custGeom>
                <a:avLst/>
                <a:gdLst>
                  <a:gd name="connsiteX0" fmla="*/ 0 w 50880"/>
                  <a:gd name="connsiteY0" fmla="*/ 75635 h 80194"/>
                  <a:gd name="connsiteX1" fmla="*/ 0 w 50880"/>
                  <a:gd name="connsiteY1" fmla="*/ 62490 h 80194"/>
                  <a:gd name="connsiteX2" fmla="*/ 22115 w 50880"/>
                  <a:gd name="connsiteY2" fmla="*/ 69895 h 80194"/>
                  <a:gd name="connsiteX3" fmla="*/ 38298 w 50880"/>
                  <a:gd name="connsiteY3" fmla="*/ 59116 h 80194"/>
                  <a:gd name="connsiteX4" fmla="*/ 36917 w 50880"/>
                  <a:gd name="connsiteY4" fmla="*/ 53913 h 80194"/>
                  <a:gd name="connsiteX5" fmla="*/ 33167 w 50880"/>
                  <a:gd name="connsiteY5" fmla="*/ 50133 h 80194"/>
                  <a:gd name="connsiteX6" fmla="*/ 27619 w 50880"/>
                  <a:gd name="connsiteY6" fmla="*/ 47176 h 80194"/>
                  <a:gd name="connsiteX7" fmla="*/ 20766 w 50880"/>
                  <a:gd name="connsiteY7" fmla="*/ 44437 h 80194"/>
                  <a:gd name="connsiteX8" fmla="*/ 11809 w 50880"/>
                  <a:gd name="connsiteY8" fmla="*/ 40362 h 80194"/>
                  <a:gd name="connsiteX9" fmla="*/ 5361 w 50880"/>
                  <a:gd name="connsiteY9" fmla="*/ 35717 h 80194"/>
                  <a:gd name="connsiteX10" fmla="*/ 1469 w 50880"/>
                  <a:gd name="connsiteY10" fmla="*/ 29835 h 80194"/>
                  <a:gd name="connsiteX11" fmla="*/ 153 w 50880"/>
                  <a:gd name="connsiteY11" fmla="*/ 22167 h 80194"/>
                  <a:gd name="connsiteX12" fmla="*/ 2620 w 50880"/>
                  <a:gd name="connsiteY12" fmla="*/ 12614 h 80194"/>
                  <a:gd name="connsiteX13" fmla="*/ 9199 w 50880"/>
                  <a:gd name="connsiteY13" fmla="*/ 5658 h 80194"/>
                  <a:gd name="connsiteX14" fmla="*/ 18606 w 50880"/>
                  <a:gd name="connsiteY14" fmla="*/ 1419 h 80194"/>
                  <a:gd name="connsiteX15" fmla="*/ 29505 w 50880"/>
                  <a:gd name="connsiteY15" fmla="*/ 6 h 80194"/>
                  <a:gd name="connsiteX16" fmla="*/ 47344 w 50880"/>
                  <a:gd name="connsiteY16" fmla="*/ 3446 h 80194"/>
                  <a:gd name="connsiteX17" fmla="*/ 47344 w 50880"/>
                  <a:gd name="connsiteY17" fmla="*/ 15813 h 80194"/>
                  <a:gd name="connsiteX18" fmla="*/ 27860 w 50880"/>
                  <a:gd name="connsiteY18" fmla="*/ 10270 h 80194"/>
                  <a:gd name="connsiteX19" fmla="*/ 21644 w 50880"/>
                  <a:gd name="connsiteY19" fmla="*/ 11059 h 80194"/>
                  <a:gd name="connsiteX20" fmla="*/ 16885 w 50880"/>
                  <a:gd name="connsiteY20" fmla="*/ 13250 h 80194"/>
                  <a:gd name="connsiteX21" fmla="*/ 13815 w 50880"/>
                  <a:gd name="connsiteY21" fmla="*/ 16657 h 80194"/>
                  <a:gd name="connsiteX22" fmla="*/ 12719 w 50880"/>
                  <a:gd name="connsiteY22" fmla="*/ 21038 h 80194"/>
                  <a:gd name="connsiteX23" fmla="*/ 13815 w 50880"/>
                  <a:gd name="connsiteY23" fmla="*/ 26056 h 80194"/>
                  <a:gd name="connsiteX24" fmla="*/ 16995 w 50880"/>
                  <a:gd name="connsiteY24" fmla="*/ 29649 h 80194"/>
                  <a:gd name="connsiteX25" fmla="*/ 22093 w 50880"/>
                  <a:gd name="connsiteY25" fmla="*/ 32497 h 80194"/>
                  <a:gd name="connsiteX26" fmla="*/ 28913 w 50880"/>
                  <a:gd name="connsiteY26" fmla="*/ 35268 h 80194"/>
                  <a:gd name="connsiteX27" fmla="*/ 38057 w 50880"/>
                  <a:gd name="connsiteY27" fmla="*/ 39278 h 80194"/>
                  <a:gd name="connsiteX28" fmla="*/ 44954 w 50880"/>
                  <a:gd name="connsiteY28" fmla="*/ 43922 h 80194"/>
                  <a:gd name="connsiteX29" fmla="*/ 49340 w 50880"/>
                  <a:gd name="connsiteY29" fmla="*/ 49871 h 80194"/>
                  <a:gd name="connsiteX30" fmla="*/ 50875 w 50880"/>
                  <a:gd name="connsiteY30" fmla="*/ 57889 h 80194"/>
                  <a:gd name="connsiteX31" fmla="*/ 48364 w 50880"/>
                  <a:gd name="connsiteY31" fmla="*/ 67748 h 80194"/>
                  <a:gd name="connsiteX32" fmla="*/ 41654 w 50880"/>
                  <a:gd name="connsiteY32" fmla="*/ 74715 h 80194"/>
                  <a:gd name="connsiteX33" fmla="*/ 31983 w 50880"/>
                  <a:gd name="connsiteY33" fmla="*/ 78834 h 80194"/>
                  <a:gd name="connsiteX34" fmla="*/ 20514 w 50880"/>
                  <a:gd name="connsiteY34" fmla="*/ 80182 h 80194"/>
                  <a:gd name="connsiteX35" fmla="*/ 0 w 50880"/>
                  <a:gd name="connsiteY35" fmla="*/ 75635 h 8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80" h="80194">
                    <a:moveTo>
                      <a:pt x="0" y="75635"/>
                    </a:moveTo>
                    <a:lnTo>
                      <a:pt x="0" y="62490"/>
                    </a:lnTo>
                    <a:cubicBezTo>
                      <a:pt x="6359" y="67321"/>
                      <a:pt x="14133" y="69917"/>
                      <a:pt x="22115" y="69895"/>
                    </a:cubicBezTo>
                    <a:cubicBezTo>
                      <a:pt x="32904" y="69895"/>
                      <a:pt x="38298" y="66302"/>
                      <a:pt x="38298" y="59116"/>
                    </a:cubicBezTo>
                    <a:cubicBezTo>
                      <a:pt x="38353" y="57287"/>
                      <a:pt x="37882" y="55479"/>
                      <a:pt x="36917" y="53913"/>
                    </a:cubicBezTo>
                    <a:cubicBezTo>
                      <a:pt x="35919" y="52423"/>
                      <a:pt x="34648" y="51141"/>
                      <a:pt x="33167" y="50133"/>
                    </a:cubicBezTo>
                    <a:cubicBezTo>
                      <a:pt x="31435" y="48939"/>
                      <a:pt x="29571" y="47953"/>
                      <a:pt x="27619" y="47176"/>
                    </a:cubicBezTo>
                    <a:cubicBezTo>
                      <a:pt x="25492" y="46299"/>
                      <a:pt x="23211" y="45390"/>
                      <a:pt x="20766" y="44437"/>
                    </a:cubicBezTo>
                    <a:cubicBezTo>
                      <a:pt x="17707" y="43243"/>
                      <a:pt x="14714" y="41885"/>
                      <a:pt x="11809" y="40362"/>
                    </a:cubicBezTo>
                    <a:cubicBezTo>
                      <a:pt x="9440" y="39135"/>
                      <a:pt x="7269" y="37569"/>
                      <a:pt x="5361" y="35717"/>
                    </a:cubicBezTo>
                    <a:cubicBezTo>
                      <a:pt x="3673" y="34041"/>
                      <a:pt x="2346" y="32048"/>
                      <a:pt x="1469" y="29835"/>
                    </a:cubicBezTo>
                    <a:cubicBezTo>
                      <a:pt x="548" y="27381"/>
                      <a:pt x="99" y="24785"/>
                      <a:pt x="153" y="22167"/>
                    </a:cubicBezTo>
                    <a:cubicBezTo>
                      <a:pt x="88" y="18815"/>
                      <a:pt x="943" y="15517"/>
                      <a:pt x="2620" y="12614"/>
                    </a:cubicBezTo>
                    <a:cubicBezTo>
                      <a:pt x="4276" y="9843"/>
                      <a:pt x="6524" y="7466"/>
                      <a:pt x="9199" y="5658"/>
                    </a:cubicBezTo>
                    <a:cubicBezTo>
                      <a:pt x="12072" y="3730"/>
                      <a:pt x="15251" y="2295"/>
                      <a:pt x="18606" y="1419"/>
                    </a:cubicBezTo>
                    <a:cubicBezTo>
                      <a:pt x="22159" y="477"/>
                      <a:pt x="25821" y="-5"/>
                      <a:pt x="29505" y="6"/>
                    </a:cubicBezTo>
                    <a:cubicBezTo>
                      <a:pt x="35623" y="-93"/>
                      <a:pt x="41697" y="1079"/>
                      <a:pt x="47344" y="3446"/>
                    </a:cubicBezTo>
                    <a:lnTo>
                      <a:pt x="47344" y="15813"/>
                    </a:lnTo>
                    <a:cubicBezTo>
                      <a:pt x="41544" y="12067"/>
                      <a:pt x="34768" y="10139"/>
                      <a:pt x="27860" y="10270"/>
                    </a:cubicBezTo>
                    <a:cubicBezTo>
                      <a:pt x="25766" y="10248"/>
                      <a:pt x="23672" y="10511"/>
                      <a:pt x="21644" y="11059"/>
                    </a:cubicBezTo>
                    <a:cubicBezTo>
                      <a:pt x="19944" y="11508"/>
                      <a:pt x="18332" y="12253"/>
                      <a:pt x="16885" y="13250"/>
                    </a:cubicBezTo>
                    <a:cubicBezTo>
                      <a:pt x="15613" y="14137"/>
                      <a:pt x="14561" y="15298"/>
                      <a:pt x="13815" y="16657"/>
                    </a:cubicBezTo>
                    <a:cubicBezTo>
                      <a:pt x="13080" y="18004"/>
                      <a:pt x="12697" y="19505"/>
                      <a:pt x="12719" y="21038"/>
                    </a:cubicBezTo>
                    <a:cubicBezTo>
                      <a:pt x="12664" y="22780"/>
                      <a:pt x="13037" y="24500"/>
                      <a:pt x="13815" y="26056"/>
                    </a:cubicBezTo>
                    <a:cubicBezTo>
                      <a:pt x="14594" y="27480"/>
                      <a:pt x="15679" y="28707"/>
                      <a:pt x="16995" y="29649"/>
                    </a:cubicBezTo>
                    <a:cubicBezTo>
                      <a:pt x="18574" y="30799"/>
                      <a:pt x="20284" y="31752"/>
                      <a:pt x="22093" y="32497"/>
                    </a:cubicBezTo>
                    <a:cubicBezTo>
                      <a:pt x="24089" y="33351"/>
                      <a:pt x="26358" y="34271"/>
                      <a:pt x="28913" y="35268"/>
                    </a:cubicBezTo>
                    <a:cubicBezTo>
                      <a:pt x="32027" y="36440"/>
                      <a:pt x="35086" y="37777"/>
                      <a:pt x="38057" y="39278"/>
                    </a:cubicBezTo>
                    <a:cubicBezTo>
                      <a:pt x="40557" y="40504"/>
                      <a:pt x="42871" y="42071"/>
                      <a:pt x="44954" y="43922"/>
                    </a:cubicBezTo>
                    <a:cubicBezTo>
                      <a:pt x="46807" y="45587"/>
                      <a:pt x="48298" y="47614"/>
                      <a:pt x="49340" y="49871"/>
                    </a:cubicBezTo>
                    <a:cubicBezTo>
                      <a:pt x="50414" y="52401"/>
                      <a:pt x="50941" y="55140"/>
                      <a:pt x="50875" y="57889"/>
                    </a:cubicBezTo>
                    <a:cubicBezTo>
                      <a:pt x="50952" y="61340"/>
                      <a:pt x="50085" y="64747"/>
                      <a:pt x="48364" y="67748"/>
                    </a:cubicBezTo>
                    <a:cubicBezTo>
                      <a:pt x="46686" y="70553"/>
                      <a:pt x="44395" y="72930"/>
                      <a:pt x="41654" y="74715"/>
                    </a:cubicBezTo>
                    <a:cubicBezTo>
                      <a:pt x="38693" y="76632"/>
                      <a:pt x="35415" y="78024"/>
                      <a:pt x="31983" y="78834"/>
                    </a:cubicBezTo>
                    <a:cubicBezTo>
                      <a:pt x="28233" y="79743"/>
                      <a:pt x="24374" y="80203"/>
                      <a:pt x="20514" y="80182"/>
                    </a:cubicBezTo>
                    <a:cubicBezTo>
                      <a:pt x="13409" y="80357"/>
                      <a:pt x="6359" y="78801"/>
                      <a:pt x="0" y="756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0" name="Freeform: Shape 299">
                <a:extLst>
                  <a:ext uri="{FF2B5EF4-FFF2-40B4-BE49-F238E27FC236}">
                    <a16:creationId xmlns:a16="http://schemas.microsoft.com/office/drawing/2014/main" id="{A5E131B7-A0E5-3D2B-9FD6-59A9621B6481}"/>
                  </a:ext>
                </a:extLst>
              </p:cNvPr>
              <p:cNvSpPr/>
              <p:nvPr/>
            </p:nvSpPr>
            <p:spPr>
              <a:xfrm>
                <a:off x="3249870" y="4554692"/>
                <a:ext cx="101797" cy="111130"/>
              </a:xfrm>
              <a:custGeom>
                <a:avLst/>
                <a:gdLst>
                  <a:gd name="connsiteX0" fmla="*/ 50416 w 101797"/>
                  <a:gd name="connsiteY0" fmla="*/ 111084 h 111130"/>
                  <a:gd name="connsiteX1" fmla="*/ 13828 w 101797"/>
                  <a:gd name="connsiteY1" fmla="*/ 95988 h 111130"/>
                  <a:gd name="connsiteX2" fmla="*/ 79 w 101797"/>
                  <a:gd name="connsiteY2" fmla="*/ 56826 h 111130"/>
                  <a:gd name="connsiteX3" fmla="*/ 14091 w 101797"/>
                  <a:gd name="connsiteY3" fmla="*/ 15484 h 111130"/>
                  <a:gd name="connsiteX4" fmla="*/ 52247 w 101797"/>
                  <a:gd name="connsiteY4" fmla="*/ 60 h 111130"/>
                  <a:gd name="connsiteX5" fmla="*/ 88112 w 101797"/>
                  <a:gd name="connsiteY5" fmla="*/ 15035 h 111130"/>
                  <a:gd name="connsiteX6" fmla="*/ 101708 w 101797"/>
                  <a:gd name="connsiteY6" fmla="*/ 54197 h 111130"/>
                  <a:gd name="connsiteX7" fmla="*/ 87772 w 101797"/>
                  <a:gd name="connsiteY7" fmla="*/ 95758 h 111130"/>
                  <a:gd name="connsiteX8" fmla="*/ 50416 w 101797"/>
                  <a:gd name="connsiteY8" fmla="*/ 111084 h 111130"/>
                  <a:gd name="connsiteX9" fmla="*/ 51315 w 101797"/>
                  <a:gd name="connsiteY9" fmla="*/ 11486 h 111130"/>
                  <a:gd name="connsiteX10" fmla="*/ 23806 w 101797"/>
                  <a:gd name="connsiteY10" fmla="*/ 23689 h 111130"/>
                  <a:gd name="connsiteX11" fmla="*/ 23543 w 101797"/>
                  <a:gd name="connsiteY11" fmla="*/ 87685 h 111130"/>
                  <a:gd name="connsiteX12" fmla="*/ 50416 w 101797"/>
                  <a:gd name="connsiteY12" fmla="*/ 99735 h 111130"/>
                  <a:gd name="connsiteX13" fmla="*/ 78288 w 101797"/>
                  <a:gd name="connsiteY13" fmla="*/ 88200 h 111130"/>
                  <a:gd name="connsiteX14" fmla="*/ 88485 w 101797"/>
                  <a:gd name="connsiteY14" fmla="*/ 55928 h 111130"/>
                  <a:gd name="connsiteX15" fmla="*/ 78617 w 101797"/>
                  <a:gd name="connsiteY15" fmla="*/ 23065 h 111130"/>
                  <a:gd name="connsiteX16" fmla="*/ 51315 w 101797"/>
                  <a:gd name="connsiteY16" fmla="*/ 11486 h 111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97" h="111130">
                    <a:moveTo>
                      <a:pt x="50416" y="111084"/>
                    </a:moveTo>
                    <a:cubicBezTo>
                      <a:pt x="36590" y="111653"/>
                      <a:pt x="23214" y="106143"/>
                      <a:pt x="13828" y="95988"/>
                    </a:cubicBezTo>
                    <a:cubicBezTo>
                      <a:pt x="4377" y="85187"/>
                      <a:pt x="-546" y="71155"/>
                      <a:pt x="79" y="56826"/>
                    </a:cubicBezTo>
                    <a:cubicBezTo>
                      <a:pt x="-700" y="41764"/>
                      <a:pt x="4311" y="26975"/>
                      <a:pt x="14091" y="15484"/>
                    </a:cubicBezTo>
                    <a:cubicBezTo>
                      <a:pt x="23926" y="4990"/>
                      <a:pt x="37873" y="-652"/>
                      <a:pt x="52247" y="60"/>
                    </a:cubicBezTo>
                    <a:cubicBezTo>
                      <a:pt x="65821" y="-466"/>
                      <a:pt x="78946" y="5012"/>
                      <a:pt x="88112" y="15035"/>
                    </a:cubicBezTo>
                    <a:cubicBezTo>
                      <a:pt x="97486" y="25869"/>
                      <a:pt x="102355" y="39891"/>
                      <a:pt x="101708" y="54197"/>
                    </a:cubicBezTo>
                    <a:cubicBezTo>
                      <a:pt x="102541" y="69314"/>
                      <a:pt x="97552" y="84191"/>
                      <a:pt x="87772" y="95758"/>
                    </a:cubicBezTo>
                    <a:cubicBezTo>
                      <a:pt x="78178" y="106099"/>
                      <a:pt x="64517" y="111708"/>
                      <a:pt x="50416" y="111084"/>
                    </a:cubicBezTo>
                    <a:close/>
                    <a:moveTo>
                      <a:pt x="51315" y="11486"/>
                    </a:moveTo>
                    <a:cubicBezTo>
                      <a:pt x="40768" y="11157"/>
                      <a:pt x="30636" y="15648"/>
                      <a:pt x="23806" y="23689"/>
                    </a:cubicBezTo>
                    <a:cubicBezTo>
                      <a:pt x="9804" y="42695"/>
                      <a:pt x="9705" y="68558"/>
                      <a:pt x="23543" y="87685"/>
                    </a:cubicBezTo>
                    <a:cubicBezTo>
                      <a:pt x="30165" y="95616"/>
                      <a:pt x="40077" y="100063"/>
                      <a:pt x="50416" y="99735"/>
                    </a:cubicBezTo>
                    <a:cubicBezTo>
                      <a:pt x="60964" y="100250"/>
                      <a:pt x="71194" y="96021"/>
                      <a:pt x="78288" y="88200"/>
                    </a:cubicBezTo>
                    <a:cubicBezTo>
                      <a:pt x="85568" y="79075"/>
                      <a:pt x="89208" y="67573"/>
                      <a:pt x="88485" y="55928"/>
                    </a:cubicBezTo>
                    <a:cubicBezTo>
                      <a:pt x="89241" y="44141"/>
                      <a:pt x="85743" y="32485"/>
                      <a:pt x="78617" y="23065"/>
                    </a:cubicBezTo>
                    <a:cubicBezTo>
                      <a:pt x="71775" y="15221"/>
                      <a:pt x="61710" y="10949"/>
                      <a:pt x="51315" y="1148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1" name="Freeform: Shape 300">
                <a:extLst>
                  <a:ext uri="{FF2B5EF4-FFF2-40B4-BE49-F238E27FC236}">
                    <a16:creationId xmlns:a16="http://schemas.microsoft.com/office/drawing/2014/main" id="{93740C98-F1D9-1B33-541F-71807EE3B43C}"/>
                  </a:ext>
                </a:extLst>
              </p:cNvPr>
              <p:cNvSpPr/>
              <p:nvPr/>
            </p:nvSpPr>
            <p:spPr>
              <a:xfrm>
                <a:off x="3370908" y="4585445"/>
                <a:ext cx="70671" cy="113785"/>
              </a:xfrm>
              <a:custGeom>
                <a:avLst/>
                <a:gdLst>
                  <a:gd name="connsiteX0" fmla="*/ 12598 w 70671"/>
                  <a:gd name="connsiteY0" fmla="*/ 67426 h 113785"/>
                  <a:gd name="connsiteX1" fmla="*/ 12302 w 70671"/>
                  <a:gd name="connsiteY1" fmla="*/ 67426 h 113785"/>
                  <a:gd name="connsiteX2" fmla="*/ 12302 w 70671"/>
                  <a:gd name="connsiteY2" fmla="*/ 113785 h 113785"/>
                  <a:gd name="connsiteX3" fmla="*/ 0 w 70671"/>
                  <a:gd name="connsiteY3" fmla="*/ 113785 h 113785"/>
                  <a:gd name="connsiteX4" fmla="*/ 0 w 70671"/>
                  <a:gd name="connsiteY4" fmla="*/ 1831 h 113785"/>
                  <a:gd name="connsiteX5" fmla="*/ 12302 w 70671"/>
                  <a:gd name="connsiteY5" fmla="*/ 1831 h 113785"/>
                  <a:gd name="connsiteX6" fmla="*/ 12302 w 70671"/>
                  <a:gd name="connsiteY6" fmla="*/ 15304 h 113785"/>
                  <a:gd name="connsiteX7" fmla="*/ 12598 w 70671"/>
                  <a:gd name="connsiteY7" fmla="*/ 15304 h 113785"/>
                  <a:gd name="connsiteX8" fmla="*/ 39132 w 70671"/>
                  <a:gd name="connsiteY8" fmla="*/ 34 h 113785"/>
                  <a:gd name="connsiteX9" fmla="*/ 62289 w 70671"/>
                  <a:gd name="connsiteY9" fmla="*/ 10331 h 113785"/>
                  <a:gd name="connsiteX10" fmla="*/ 70611 w 70671"/>
                  <a:gd name="connsiteY10" fmla="*/ 37925 h 113785"/>
                  <a:gd name="connsiteX11" fmla="*/ 61236 w 70671"/>
                  <a:gd name="connsiteY11" fmla="*/ 68740 h 113785"/>
                  <a:gd name="connsiteX12" fmla="*/ 35601 w 70671"/>
                  <a:gd name="connsiteY12" fmla="*/ 80308 h 113785"/>
                  <a:gd name="connsiteX13" fmla="*/ 12598 w 70671"/>
                  <a:gd name="connsiteY13" fmla="*/ 67426 h 113785"/>
                  <a:gd name="connsiteX14" fmla="*/ 12302 w 70671"/>
                  <a:gd name="connsiteY14" fmla="*/ 36501 h 113785"/>
                  <a:gd name="connsiteX15" fmla="*/ 12302 w 70671"/>
                  <a:gd name="connsiteY15" fmla="*/ 47204 h 113785"/>
                  <a:gd name="connsiteX16" fmla="*/ 18475 w 70671"/>
                  <a:gd name="connsiteY16" fmla="*/ 63351 h 113785"/>
                  <a:gd name="connsiteX17" fmla="*/ 49669 w 70671"/>
                  <a:gd name="connsiteY17" fmla="*/ 63690 h 113785"/>
                  <a:gd name="connsiteX18" fmla="*/ 51686 w 70671"/>
                  <a:gd name="connsiteY18" fmla="*/ 61434 h 113785"/>
                  <a:gd name="connsiteX19" fmla="*/ 58013 w 70671"/>
                  <a:gd name="connsiteY19" fmla="*/ 37695 h 113785"/>
                  <a:gd name="connsiteX20" fmla="*/ 52092 w 70671"/>
                  <a:gd name="connsiteY20" fmla="*/ 17627 h 113785"/>
                  <a:gd name="connsiteX21" fmla="*/ 36062 w 70671"/>
                  <a:gd name="connsiteY21" fmla="*/ 10364 h 113785"/>
                  <a:gd name="connsiteX22" fmla="*/ 18815 w 70671"/>
                  <a:gd name="connsiteY22" fmla="*/ 17813 h 113785"/>
                  <a:gd name="connsiteX23" fmla="*/ 12302 w 70671"/>
                  <a:gd name="connsiteY23" fmla="*/ 36523 h 11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71" h="113785">
                    <a:moveTo>
                      <a:pt x="12598" y="67426"/>
                    </a:moveTo>
                    <a:lnTo>
                      <a:pt x="12302" y="67426"/>
                    </a:lnTo>
                    <a:lnTo>
                      <a:pt x="12302" y="113785"/>
                    </a:lnTo>
                    <a:lnTo>
                      <a:pt x="0" y="113785"/>
                    </a:lnTo>
                    <a:lnTo>
                      <a:pt x="0" y="1831"/>
                    </a:lnTo>
                    <a:lnTo>
                      <a:pt x="12302" y="1831"/>
                    </a:lnTo>
                    <a:lnTo>
                      <a:pt x="12302" y="15304"/>
                    </a:lnTo>
                    <a:lnTo>
                      <a:pt x="12598" y="15304"/>
                    </a:lnTo>
                    <a:cubicBezTo>
                      <a:pt x="17828" y="5599"/>
                      <a:pt x="28102" y="-317"/>
                      <a:pt x="39132" y="34"/>
                    </a:cubicBezTo>
                    <a:cubicBezTo>
                      <a:pt x="48046" y="-404"/>
                      <a:pt x="56642" y="3419"/>
                      <a:pt x="62289" y="10331"/>
                    </a:cubicBezTo>
                    <a:cubicBezTo>
                      <a:pt x="68187" y="18284"/>
                      <a:pt x="71126" y="28044"/>
                      <a:pt x="70611" y="37925"/>
                    </a:cubicBezTo>
                    <a:cubicBezTo>
                      <a:pt x="71170" y="48979"/>
                      <a:pt x="67859" y="59867"/>
                      <a:pt x="61236" y="68740"/>
                    </a:cubicBezTo>
                    <a:cubicBezTo>
                      <a:pt x="55019" y="76441"/>
                      <a:pt x="45502" y="80735"/>
                      <a:pt x="35601" y="80308"/>
                    </a:cubicBezTo>
                    <a:cubicBezTo>
                      <a:pt x="26139" y="80571"/>
                      <a:pt x="17302" y="75631"/>
                      <a:pt x="12598" y="67426"/>
                    </a:cubicBezTo>
                    <a:close/>
                    <a:moveTo>
                      <a:pt x="12302" y="36501"/>
                    </a:moveTo>
                    <a:lnTo>
                      <a:pt x="12302" y="47204"/>
                    </a:lnTo>
                    <a:cubicBezTo>
                      <a:pt x="12159" y="53185"/>
                      <a:pt x="14374" y="58991"/>
                      <a:pt x="18475" y="63351"/>
                    </a:cubicBezTo>
                    <a:cubicBezTo>
                      <a:pt x="26994" y="72049"/>
                      <a:pt x="40963" y="72202"/>
                      <a:pt x="49669" y="63690"/>
                    </a:cubicBezTo>
                    <a:cubicBezTo>
                      <a:pt x="50392" y="62989"/>
                      <a:pt x="51072" y="62233"/>
                      <a:pt x="51686" y="61434"/>
                    </a:cubicBezTo>
                    <a:cubicBezTo>
                      <a:pt x="56291" y="54401"/>
                      <a:pt x="58506" y="46087"/>
                      <a:pt x="58013" y="37695"/>
                    </a:cubicBezTo>
                    <a:cubicBezTo>
                      <a:pt x="58429" y="30520"/>
                      <a:pt x="56335" y="23422"/>
                      <a:pt x="52092" y="17627"/>
                    </a:cubicBezTo>
                    <a:cubicBezTo>
                      <a:pt x="48199" y="12807"/>
                      <a:pt x="42257" y="10112"/>
                      <a:pt x="36062" y="10364"/>
                    </a:cubicBezTo>
                    <a:cubicBezTo>
                      <a:pt x="29483" y="10123"/>
                      <a:pt x="23146" y="12851"/>
                      <a:pt x="18815" y="17813"/>
                    </a:cubicBezTo>
                    <a:cubicBezTo>
                      <a:pt x="14385" y="23016"/>
                      <a:pt x="12061" y="29688"/>
                      <a:pt x="12302" y="365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2" name="Freeform: Shape 301">
                <a:extLst>
                  <a:ext uri="{FF2B5EF4-FFF2-40B4-BE49-F238E27FC236}">
                    <a16:creationId xmlns:a16="http://schemas.microsoft.com/office/drawing/2014/main" id="{76A11A0E-FD49-8674-528D-AC206DDE5A3A}"/>
                  </a:ext>
                </a:extLst>
              </p:cNvPr>
              <p:cNvSpPr/>
              <p:nvPr/>
            </p:nvSpPr>
            <p:spPr>
              <a:xfrm>
                <a:off x="3455698" y="4585454"/>
                <a:ext cx="67083" cy="80373"/>
              </a:xfrm>
              <a:custGeom>
                <a:avLst/>
                <a:gdLst>
                  <a:gd name="connsiteX0" fmla="*/ 67022 w 67083"/>
                  <a:gd name="connsiteY0" fmla="*/ 43251 h 80373"/>
                  <a:gd name="connsiteX1" fmla="*/ 12825 w 67083"/>
                  <a:gd name="connsiteY1" fmla="*/ 43251 h 80373"/>
                  <a:gd name="connsiteX2" fmla="*/ 19722 w 67083"/>
                  <a:gd name="connsiteY2" fmla="*/ 63024 h 80373"/>
                  <a:gd name="connsiteX3" fmla="*/ 37857 w 67083"/>
                  <a:gd name="connsiteY3" fmla="*/ 69991 h 80373"/>
                  <a:gd name="connsiteX4" fmla="*/ 61694 w 67083"/>
                  <a:gd name="connsiteY4" fmla="*/ 61447 h 80373"/>
                  <a:gd name="connsiteX5" fmla="*/ 61694 w 67083"/>
                  <a:gd name="connsiteY5" fmla="*/ 72982 h 80373"/>
                  <a:gd name="connsiteX6" fmla="*/ 34940 w 67083"/>
                  <a:gd name="connsiteY6" fmla="*/ 80321 h 80373"/>
                  <a:gd name="connsiteX7" fmla="*/ 9383 w 67083"/>
                  <a:gd name="connsiteY7" fmla="*/ 69871 h 80373"/>
                  <a:gd name="connsiteX8" fmla="*/ 85 w 67083"/>
                  <a:gd name="connsiteY8" fmla="*/ 40480 h 80373"/>
                  <a:gd name="connsiteX9" fmla="*/ 10238 w 67083"/>
                  <a:gd name="connsiteY9" fmla="*/ 11319 h 80373"/>
                  <a:gd name="connsiteX10" fmla="*/ 35456 w 67083"/>
                  <a:gd name="connsiteY10" fmla="*/ 47 h 80373"/>
                  <a:gd name="connsiteX11" fmla="*/ 58766 w 67083"/>
                  <a:gd name="connsiteY11" fmla="*/ 9774 h 80373"/>
                  <a:gd name="connsiteX12" fmla="*/ 67011 w 67083"/>
                  <a:gd name="connsiteY12" fmla="*/ 36810 h 80373"/>
                  <a:gd name="connsiteX13" fmla="*/ 54424 w 67083"/>
                  <a:gd name="connsiteY13" fmla="*/ 32845 h 80373"/>
                  <a:gd name="connsiteX14" fmla="*/ 49293 w 67083"/>
                  <a:gd name="connsiteY14" fmla="*/ 16292 h 80373"/>
                  <a:gd name="connsiteX15" fmla="*/ 35236 w 67083"/>
                  <a:gd name="connsiteY15" fmla="*/ 10377 h 80373"/>
                  <a:gd name="connsiteX16" fmla="*/ 20478 w 67083"/>
                  <a:gd name="connsiteY16" fmla="*/ 16588 h 80373"/>
                  <a:gd name="connsiteX17" fmla="*/ 12979 w 67083"/>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73">
                    <a:moveTo>
                      <a:pt x="67022" y="43251"/>
                    </a:moveTo>
                    <a:lnTo>
                      <a:pt x="12825" y="43251"/>
                    </a:lnTo>
                    <a:cubicBezTo>
                      <a:pt x="12551" y="50470"/>
                      <a:pt x="15007" y="57536"/>
                      <a:pt x="19722" y="63024"/>
                    </a:cubicBezTo>
                    <a:cubicBezTo>
                      <a:pt x="24502" y="67822"/>
                      <a:pt x="31092" y="70353"/>
                      <a:pt x="37857" y="69991"/>
                    </a:cubicBezTo>
                    <a:cubicBezTo>
                      <a:pt x="46552" y="69980"/>
                      <a:pt x="54972" y="66957"/>
                      <a:pt x="61694" y="61447"/>
                    </a:cubicBezTo>
                    <a:lnTo>
                      <a:pt x="61694" y="72982"/>
                    </a:lnTo>
                    <a:cubicBezTo>
                      <a:pt x="53788" y="78218"/>
                      <a:pt x="44414" y="80781"/>
                      <a:pt x="34940" y="80321"/>
                    </a:cubicBezTo>
                    <a:cubicBezTo>
                      <a:pt x="25292" y="80814"/>
                      <a:pt x="15917" y="76980"/>
                      <a:pt x="9383" y="69871"/>
                    </a:cubicBezTo>
                    <a:cubicBezTo>
                      <a:pt x="2727" y="61567"/>
                      <a:pt x="-584" y="51095"/>
                      <a:pt x="85" y="40480"/>
                    </a:cubicBezTo>
                    <a:cubicBezTo>
                      <a:pt x="-365" y="29821"/>
                      <a:pt x="3264" y="19392"/>
                      <a:pt x="10238" y="11319"/>
                    </a:cubicBezTo>
                    <a:cubicBezTo>
                      <a:pt x="16553" y="4012"/>
                      <a:pt x="25796" y="-117"/>
                      <a:pt x="35456" y="47"/>
                    </a:cubicBezTo>
                    <a:cubicBezTo>
                      <a:pt x="44304" y="-457"/>
                      <a:pt x="52900" y="3125"/>
                      <a:pt x="58766" y="9774"/>
                    </a:cubicBezTo>
                    <a:cubicBezTo>
                      <a:pt x="64665" y="17508"/>
                      <a:pt x="67592" y="27104"/>
                      <a:pt x="67011" y="36810"/>
                    </a:cubicBezTo>
                    <a:close/>
                    <a:moveTo>
                      <a:pt x="54424" y="32845"/>
                    </a:moveTo>
                    <a:cubicBezTo>
                      <a:pt x="54753" y="26896"/>
                      <a:pt x="52933" y="21025"/>
                      <a:pt x="49293" y="16292"/>
                    </a:cubicBezTo>
                    <a:cubicBezTo>
                      <a:pt x="45751" y="12283"/>
                      <a:pt x="40576" y="10103"/>
                      <a:pt x="35236" y="10377"/>
                    </a:cubicBezTo>
                    <a:cubicBezTo>
                      <a:pt x="29667" y="10278"/>
                      <a:pt x="24305" y="12535"/>
                      <a:pt x="20478" y="16588"/>
                    </a:cubicBezTo>
                    <a:cubicBezTo>
                      <a:pt x="16279" y="21046"/>
                      <a:pt x="13637" y="26754"/>
                      <a:pt x="12979" y="3284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3" name="Freeform: Shape 302">
                <a:extLst>
                  <a:ext uri="{FF2B5EF4-FFF2-40B4-BE49-F238E27FC236}">
                    <a16:creationId xmlns:a16="http://schemas.microsoft.com/office/drawing/2014/main" id="{1D3A3C0C-CF28-6542-45CA-9164DFED9711}"/>
                  </a:ext>
                </a:extLst>
              </p:cNvPr>
              <p:cNvSpPr/>
              <p:nvPr/>
            </p:nvSpPr>
            <p:spPr>
              <a:xfrm>
                <a:off x="3541173" y="4585931"/>
                <a:ext cx="40031" cy="78048"/>
              </a:xfrm>
              <a:custGeom>
                <a:avLst/>
                <a:gdLst>
                  <a:gd name="connsiteX0" fmla="*/ 40031 w 40031"/>
                  <a:gd name="connsiteY0" fmla="*/ 13800 h 78048"/>
                  <a:gd name="connsiteX1" fmla="*/ 30733 w 40031"/>
                  <a:gd name="connsiteY1" fmla="*/ 11325 h 78048"/>
                  <a:gd name="connsiteX2" fmla="*/ 17576 w 40031"/>
                  <a:gd name="connsiteY2" fmla="*/ 18741 h 78048"/>
                  <a:gd name="connsiteX3" fmla="*/ 12291 w 40031"/>
                  <a:gd name="connsiteY3" fmla="*/ 38952 h 78048"/>
                  <a:gd name="connsiteX4" fmla="*/ 12291 w 40031"/>
                  <a:gd name="connsiteY4" fmla="*/ 78048 h 78048"/>
                  <a:gd name="connsiteX5" fmla="*/ 0 w 40031"/>
                  <a:gd name="connsiteY5" fmla="*/ 78048 h 78048"/>
                  <a:gd name="connsiteX6" fmla="*/ 0 w 40031"/>
                  <a:gd name="connsiteY6" fmla="*/ 1367 h 78048"/>
                  <a:gd name="connsiteX7" fmla="*/ 12291 w 40031"/>
                  <a:gd name="connsiteY7" fmla="*/ 1367 h 78048"/>
                  <a:gd name="connsiteX8" fmla="*/ 12291 w 40031"/>
                  <a:gd name="connsiteY8" fmla="*/ 17163 h 78048"/>
                  <a:gd name="connsiteX9" fmla="*/ 12587 w 40031"/>
                  <a:gd name="connsiteY9" fmla="*/ 17163 h 78048"/>
                  <a:gd name="connsiteX10" fmla="*/ 20613 w 40031"/>
                  <a:gd name="connsiteY10" fmla="*/ 4544 h 78048"/>
                  <a:gd name="connsiteX11" fmla="*/ 32674 w 40031"/>
                  <a:gd name="connsiteY11" fmla="*/ 20 h 78048"/>
                  <a:gd name="connsiteX12" fmla="*/ 40020 w 40031"/>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31" h="78048">
                    <a:moveTo>
                      <a:pt x="40031" y="13800"/>
                    </a:moveTo>
                    <a:cubicBezTo>
                      <a:pt x="37290" y="11982"/>
                      <a:pt x="34023" y="11105"/>
                      <a:pt x="30733" y="11325"/>
                    </a:cubicBezTo>
                    <a:cubicBezTo>
                      <a:pt x="25361" y="11379"/>
                      <a:pt x="20405" y="14184"/>
                      <a:pt x="17576" y="18741"/>
                    </a:cubicBezTo>
                    <a:cubicBezTo>
                      <a:pt x="13749" y="24766"/>
                      <a:pt x="11896" y="31831"/>
                      <a:pt x="12291" y="38952"/>
                    </a:cubicBezTo>
                    <a:lnTo>
                      <a:pt x="12291" y="78048"/>
                    </a:lnTo>
                    <a:lnTo>
                      <a:pt x="0" y="78048"/>
                    </a:lnTo>
                    <a:lnTo>
                      <a:pt x="0" y="1367"/>
                    </a:lnTo>
                    <a:lnTo>
                      <a:pt x="12291" y="1367"/>
                    </a:lnTo>
                    <a:lnTo>
                      <a:pt x="12291" y="17163"/>
                    </a:lnTo>
                    <a:lnTo>
                      <a:pt x="12587" y="17163"/>
                    </a:lnTo>
                    <a:cubicBezTo>
                      <a:pt x="14012" y="12278"/>
                      <a:pt x="16798" y="7907"/>
                      <a:pt x="20613" y="4544"/>
                    </a:cubicBezTo>
                    <a:cubicBezTo>
                      <a:pt x="23946" y="1619"/>
                      <a:pt x="28233" y="9"/>
                      <a:pt x="32674" y="20"/>
                    </a:cubicBezTo>
                    <a:cubicBezTo>
                      <a:pt x="35163" y="-90"/>
                      <a:pt x="37652" y="261"/>
                      <a:pt x="40020" y="10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4" name="Freeform: Shape 303">
                <a:extLst>
                  <a:ext uri="{FF2B5EF4-FFF2-40B4-BE49-F238E27FC236}">
                    <a16:creationId xmlns:a16="http://schemas.microsoft.com/office/drawing/2014/main" id="{EA1A8C02-8CB3-97D0-1C72-382808D95894}"/>
                  </a:ext>
                </a:extLst>
              </p:cNvPr>
              <p:cNvSpPr/>
              <p:nvPr/>
            </p:nvSpPr>
            <p:spPr>
              <a:xfrm>
                <a:off x="3588257" y="4585493"/>
                <a:ext cx="60674" cy="80326"/>
              </a:xfrm>
              <a:custGeom>
                <a:avLst/>
                <a:gdLst>
                  <a:gd name="connsiteX0" fmla="*/ 60653 w 60674"/>
                  <a:gd name="connsiteY0" fmla="*/ 78486 h 80326"/>
                  <a:gd name="connsiteX1" fmla="*/ 48362 w 60674"/>
                  <a:gd name="connsiteY1" fmla="*/ 78486 h 80326"/>
                  <a:gd name="connsiteX2" fmla="*/ 48362 w 60674"/>
                  <a:gd name="connsiteY2" fmla="*/ 66502 h 80326"/>
                  <a:gd name="connsiteX3" fmla="*/ 48066 w 60674"/>
                  <a:gd name="connsiteY3" fmla="*/ 66502 h 80326"/>
                  <a:gd name="connsiteX4" fmla="*/ 24459 w 60674"/>
                  <a:gd name="connsiteY4" fmla="*/ 80283 h 80326"/>
                  <a:gd name="connsiteX5" fmla="*/ 6511 w 60674"/>
                  <a:gd name="connsiteY5" fmla="*/ 74214 h 80326"/>
                  <a:gd name="connsiteX6" fmla="*/ 20 w 60674"/>
                  <a:gd name="connsiteY6" fmla="*/ 58111 h 80326"/>
                  <a:gd name="connsiteX7" fmla="*/ 25359 w 60674"/>
                  <a:gd name="connsiteY7" fmla="*/ 33102 h 80326"/>
                  <a:gd name="connsiteX8" fmla="*/ 48384 w 60674"/>
                  <a:gd name="connsiteY8" fmla="*/ 29881 h 80326"/>
                  <a:gd name="connsiteX9" fmla="*/ 32573 w 60674"/>
                  <a:gd name="connsiteY9" fmla="*/ 10339 h 80326"/>
                  <a:gd name="connsiteX10" fmla="*/ 7541 w 60674"/>
                  <a:gd name="connsiteY10" fmla="*/ 19771 h 80326"/>
                  <a:gd name="connsiteX11" fmla="*/ 7541 w 60674"/>
                  <a:gd name="connsiteY11" fmla="*/ 7195 h 80326"/>
                  <a:gd name="connsiteX12" fmla="*/ 33626 w 60674"/>
                  <a:gd name="connsiteY12" fmla="*/ 9 h 80326"/>
                  <a:gd name="connsiteX13" fmla="*/ 60675 w 60674"/>
                  <a:gd name="connsiteY13" fmla="*/ 28611 h 80326"/>
                  <a:gd name="connsiteX14" fmla="*/ 48362 w 60674"/>
                  <a:gd name="connsiteY14" fmla="*/ 39697 h 80326"/>
                  <a:gd name="connsiteX15" fmla="*/ 29854 w 60674"/>
                  <a:gd name="connsiteY15" fmla="*/ 42238 h 80326"/>
                  <a:gd name="connsiteX16" fmla="*/ 16960 w 60674"/>
                  <a:gd name="connsiteY16" fmla="*/ 46467 h 80326"/>
                  <a:gd name="connsiteX17" fmla="*/ 12574 w 60674"/>
                  <a:gd name="connsiteY17" fmla="*/ 57213 h 80326"/>
                  <a:gd name="connsiteX18" fmla="*/ 16587 w 60674"/>
                  <a:gd name="connsiteY18" fmla="*/ 66393 h 80326"/>
                  <a:gd name="connsiteX19" fmla="*/ 27255 w 60674"/>
                  <a:gd name="connsiteY19" fmla="*/ 69953 h 80326"/>
                  <a:gd name="connsiteX20" fmla="*/ 42364 w 60674"/>
                  <a:gd name="connsiteY20" fmla="*/ 63545 h 80326"/>
                  <a:gd name="connsiteX21" fmla="*/ 48318 w 60674"/>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53" y="78486"/>
                    </a:moveTo>
                    <a:lnTo>
                      <a:pt x="48362" y="78486"/>
                    </a:lnTo>
                    <a:lnTo>
                      <a:pt x="48362" y="66502"/>
                    </a:lnTo>
                    <a:lnTo>
                      <a:pt x="48066" y="66502"/>
                    </a:lnTo>
                    <a:cubicBezTo>
                      <a:pt x="43494" y="75233"/>
                      <a:pt x="34327" y="80590"/>
                      <a:pt x="24459" y="80283"/>
                    </a:cubicBezTo>
                    <a:cubicBezTo>
                      <a:pt x="17914" y="80666"/>
                      <a:pt x="11478" y="78486"/>
                      <a:pt x="6511" y="74214"/>
                    </a:cubicBezTo>
                    <a:cubicBezTo>
                      <a:pt x="2125" y="70030"/>
                      <a:pt x="-243" y="64158"/>
                      <a:pt x="20" y="58111"/>
                    </a:cubicBezTo>
                    <a:cubicBezTo>
                      <a:pt x="20" y="43783"/>
                      <a:pt x="8462" y="35446"/>
                      <a:pt x="25359" y="33102"/>
                    </a:cubicBezTo>
                    <a:lnTo>
                      <a:pt x="48384" y="29881"/>
                    </a:lnTo>
                    <a:cubicBezTo>
                      <a:pt x="48384" y="16857"/>
                      <a:pt x="43110" y="10339"/>
                      <a:pt x="32573" y="10339"/>
                    </a:cubicBezTo>
                    <a:cubicBezTo>
                      <a:pt x="23352" y="10328"/>
                      <a:pt x="14460" y="13680"/>
                      <a:pt x="7541" y="19771"/>
                    </a:cubicBezTo>
                    <a:lnTo>
                      <a:pt x="7541" y="7195"/>
                    </a:lnTo>
                    <a:cubicBezTo>
                      <a:pt x="15359" y="2331"/>
                      <a:pt x="24416" y="-167"/>
                      <a:pt x="33626" y="9"/>
                    </a:cubicBezTo>
                    <a:cubicBezTo>
                      <a:pt x="51662" y="9"/>
                      <a:pt x="60675" y="9539"/>
                      <a:pt x="60675" y="28611"/>
                    </a:cubicBezTo>
                    <a:close/>
                    <a:moveTo>
                      <a:pt x="48362" y="39697"/>
                    </a:moveTo>
                    <a:lnTo>
                      <a:pt x="29854" y="42238"/>
                    </a:lnTo>
                    <a:cubicBezTo>
                      <a:pt x="25293" y="42654"/>
                      <a:pt x="20885" y="44100"/>
                      <a:pt x="16960" y="46467"/>
                    </a:cubicBezTo>
                    <a:cubicBezTo>
                      <a:pt x="13780" y="49085"/>
                      <a:pt x="12135" y="53127"/>
                      <a:pt x="12574" y="57213"/>
                    </a:cubicBezTo>
                    <a:cubicBezTo>
                      <a:pt x="12464" y="60718"/>
                      <a:pt x="13945" y="64092"/>
                      <a:pt x="16587" y="66393"/>
                    </a:cubicBezTo>
                    <a:cubicBezTo>
                      <a:pt x="19569" y="68868"/>
                      <a:pt x="23374" y="70139"/>
                      <a:pt x="27255" y="69953"/>
                    </a:cubicBezTo>
                    <a:cubicBezTo>
                      <a:pt x="32979" y="70106"/>
                      <a:pt x="38494" y="67773"/>
                      <a:pt x="42364" y="63545"/>
                    </a:cubicBezTo>
                    <a:cubicBezTo>
                      <a:pt x="46399" y="59130"/>
                      <a:pt x="48537" y="53302"/>
                      <a:pt x="48318" y="473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5" name="Freeform: Shape 304">
                <a:extLst>
                  <a:ext uri="{FF2B5EF4-FFF2-40B4-BE49-F238E27FC236}">
                    <a16:creationId xmlns:a16="http://schemas.microsoft.com/office/drawing/2014/main" id="{E7C33C8F-A8D0-45F5-33BC-4EE590D670CA}"/>
                  </a:ext>
                </a:extLst>
              </p:cNvPr>
              <p:cNvSpPr/>
              <p:nvPr/>
            </p:nvSpPr>
            <p:spPr>
              <a:xfrm>
                <a:off x="3661782" y="4564611"/>
                <a:ext cx="44789" cy="101034"/>
              </a:xfrm>
              <a:custGeom>
                <a:avLst/>
                <a:gdLst>
                  <a:gd name="connsiteX0" fmla="*/ 44789 w 44789"/>
                  <a:gd name="connsiteY0" fmla="*/ 98612 h 101034"/>
                  <a:gd name="connsiteX1" fmla="*/ 33321 w 44789"/>
                  <a:gd name="connsiteY1" fmla="*/ 101011 h 101034"/>
                  <a:gd name="connsiteX2" fmla="*/ 13157 w 44789"/>
                  <a:gd name="connsiteY2" fmla="*/ 78544 h 101034"/>
                  <a:gd name="connsiteX3" fmla="*/ 13157 w 44789"/>
                  <a:gd name="connsiteY3" fmla="*/ 33170 h 101034"/>
                  <a:gd name="connsiteX4" fmla="*/ 0 w 44789"/>
                  <a:gd name="connsiteY4" fmla="*/ 33170 h 101034"/>
                  <a:gd name="connsiteX5" fmla="*/ 0 w 44789"/>
                  <a:gd name="connsiteY5" fmla="*/ 22687 h 101034"/>
                  <a:gd name="connsiteX6" fmla="*/ 13157 w 44789"/>
                  <a:gd name="connsiteY6" fmla="*/ 22687 h 101034"/>
                  <a:gd name="connsiteX7" fmla="*/ 13157 w 44789"/>
                  <a:gd name="connsiteY7" fmla="*/ 3966 h 101034"/>
                  <a:gd name="connsiteX8" fmla="*/ 25459 w 44789"/>
                  <a:gd name="connsiteY8" fmla="*/ 0 h 101034"/>
                  <a:gd name="connsiteX9" fmla="*/ 25459 w 44789"/>
                  <a:gd name="connsiteY9" fmla="*/ 22687 h 101034"/>
                  <a:gd name="connsiteX10" fmla="*/ 44789 w 44789"/>
                  <a:gd name="connsiteY10" fmla="*/ 22687 h 101034"/>
                  <a:gd name="connsiteX11" fmla="*/ 44789 w 44789"/>
                  <a:gd name="connsiteY11" fmla="*/ 33170 h 101034"/>
                  <a:gd name="connsiteX12" fmla="*/ 25459 w 44789"/>
                  <a:gd name="connsiteY12" fmla="*/ 33170 h 101034"/>
                  <a:gd name="connsiteX13" fmla="*/ 25459 w 44789"/>
                  <a:gd name="connsiteY13" fmla="*/ 76375 h 101034"/>
                  <a:gd name="connsiteX14" fmla="*/ 28080 w 44789"/>
                  <a:gd name="connsiteY14" fmla="*/ 87329 h 101034"/>
                  <a:gd name="connsiteX15" fmla="*/ 36775 w 44789"/>
                  <a:gd name="connsiteY15" fmla="*/ 90615 h 101034"/>
                  <a:gd name="connsiteX16" fmla="*/ 44789 w 44789"/>
                  <a:gd name="connsiteY16" fmla="*/ 88063 h 101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34">
                    <a:moveTo>
                      <a:pt x="44789" y="98612"/>
                    </a:moveTo>
                    <a:cubicBezTo>
                      <a:pt x="41226" y="100365"/>
                      <a:pt x="37290" y="101186"/>
                      <a:pt x="33321" y="101011"/>
                    </a:cubicBezTo>
                    <a:cubicBezTo>
                      <a:pt x="19890" y="101011"/>
                      <a:pt x="13168" y="93518"/>
                      <a:pt x="13157" y="78544"/>
                    </a:cubicBezTo>
                    <a:lnTo>
                      <a:pt x="13157" y="33170"/>
                    </a:lnTo>
                    <a:lnTo>
                      <a:pt x="0" y="33170"/>
                    </a:lnTo>
                    <a:lnTo>
                      <a:pt x="0" y="22687"/>
                    </a:lnTo>
                    <a:lnTo>
                      <a:pt x="13157" y="22687"/>
                    </a:lnTo>
                    <a:lnTo>
                      <a:pt x="13157" y="3966"/>
                    </a:lnTo>
                    <a:lnTo>
                      <a:pt x="25459" y="0"/>
                    </a:lnTo>
                    <a:lnTo>
                      <a:pt x="25459" y="22687"/>
                    </a:lnTo>
                    <a:lnTo>
                      <a:pt x="44789" y="22687"/>
                    </a:lnTo>
                    <a:lnTo>
                      <a:pt x="44789" y="33170"/>
                    </a:lnTo>
                    <a:lnTo>
                      <a:pt x="25459" y="33170"/>
                    </a:lnTo>
                    <a:lnTo>
                      <a:pt x="25459" y="76375"/>
                    </a:lnTo>
                    <a:cubicBezTo>
                      <a:pt x="25130" y="80209"/>
                      <a:pt x="26051" y="84054"/>
                      <a:pt x="28080" y="87329"/>
                    </a:cubicBezTo>
                    <a:cubicBezTo>
                      <a:pt x="30306" y="89717"/>
                      <a:pt x="33518" y="90933"/>
                      <a:pt x="36775" y="90615"/>
                    </a:cubicBezTo>
                    <a:cubicBezTo>
                      <a:pt x="39658" y="90681"/>
                      <a:pt x="42476" y="89783"/>
                      <a:pt x="44789" y="8806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6" name="Freeform: Shape 305">
                <a:extLst>
                  <a:ext uri="{FF2B5EF4-FFF2-40B4-BE49-F238E27FC236}">
                    <a16:creationId xmlns:a16="http://schemas.microsoft.com/office/drawing/2014/main" id="{690C4341-8BAE-0D89-427D-F1D6984806AB}"/>
                  </a:ext>
                </a:extLst>
              </p:cNvPr>
              <p:cNvSpPr/>
              <p:nvPr/>
            </p:nvSpPr>
            <p:spPr>
              <a:xfrm>
                <a:off x="3720065" y="4551869"/>
                <a:ext cx="16045" cy="112109"/>
              </a:xfrm>
              <a:custGeom>
                <a:avLst/>
                <a:gdLst>
                  <a:gd name="connsiteX0" fmla="*/ 7942 w 16045"/>
                  <a:gd name="connsiteY0" fmla="*/ 15951 h 112109"/>
                  <a:gd name="connsiteX1" fmla="*/ 2328 w 16045"/>
                  <a:gd name="connsiteY1" fmla="*/ 13706 h 112109"/>
                  <a:gd name="connsiteX2" fmla="*/ 4 w 16045"/>
                  <a:gd name="connsiteY2" fmla="*/ 8020 h 112109"/>
                  <a:gd name="connsiteX3" fmla="*/ 7744 w 16045"/>
                  <a:gd name="connsiteY3" fmla="*/ 2 h 112109"/>
                  <a:gd name="connsiteX4" fmla="*/ 7942 w 16045"/>
                  <a:gd name="connsiteY4" fmla="*/ 2 h 112109"/>
                  <a:gd name="connsiteX5" fmla="*/ 13687 w 16045"/>
                  <a:gd name="connsiteY5" fmla="*/ 2291 h 112109"/>
                  <a:gd name="connsiteX6" fmla="*/ 13709 w 16045"/>
                  <a:gd name="connsiteY6" fmla="*/ 13618 h 112109"/>
                  <a:gd name="connsiteX7" fmla="*/ 13687 w 16045"/>
                  <a:gd name="connsiteY7" fmla="*/ 13640 h 112109"/>
                  <a:gd name="connsiteX8" fmla="*/ 7942 w 16045"/>
                  <a:gd name="connsiteY8" fmla="*/ 15951 h 112109"/>
                  <a:gd name="connsiteX9" fmla="*/ 13939 w 16045"/>
                  <a:gd name="connsiteY9" fmla="*/ 112110 h 112109"/>
                  <a:gd name="connsiteX10" fmla="*/ 1648 w 16045"/>
                  <a:gd name="connsiteY10" fmla="*/ 112110 h 112109"/>
                  <a:gd name="connsiteX11" fmla="*/ 1648 w 16045"/>
                  <a:gd name="connsiteY11" fmla="*/ 35429 h 112109"/>
                  <a:gd name="connsiteX12" fmla="*/ 13939 w 16045"/>
                  <a:gd name="connsiteY12" fmla="*/ 35429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5" h="112109">
                    <a:moveTo>
                      <a:pt x="7942" y="15951"/>
                    </a:moveTo>
                    <a:cubicBezTo>
                      <a:pt x="5847" y="15995"/>
                      <a:pt x="3819" y="15185"/>
                      <a:pt x="2328" y="13706"/>
                    </a:cubicBezTo>
                    <a:cubicBezTo>
                      <a:pt x="782" y="12227"/>
                      <a:pt x="-62" y="10156"/>
                      <a:pt x="4" y="8020"/>
                    </a:cubicBezTo>
                    <a:cubicBezTo>
                      <a:pt x="-73" y="3671"/>
                      <a:pt x="3391" y="78"/>
                      <a:pt x="7744" y="2"/>
                    </a:cubicBezTo>
                    <a:cubicBezTo>
                      <a:pt x="7810" y="2"/>
                      <a:pt x="7876" y="2"/>
                      <a:pt x="7942" y="2"/>
                    </a:cubicBezTo>
                    <a:cubicBezTo>
                      <a:pt x="10091" y="-42"/>
                      <a:pt x="12163" y="790"/>
                      <a:pt x="13687" y="2291"/>
                    </a:cubicBezTo>
                    <a:cubicBezTo>
                      <a:pt x="16823" y="5413"/>
                      <a:pt x="16834" y="10485"/>
                      <a:pt x="13709" y="13618"/>
                    </a:cubicBezTo>
                    <a:cubicBezTo>
                      <a:pt x="13698" y="13629"/>
                      <a:pt x="13698" y="13629"/>
                      <a:pt x="13687" y="13640"/>
                    </a:cubicBezTo>
                    <a:cubicBezTo>
                      <a:pt x="12163" y="15163"/>
                      <a:pt x="10091" y="15995"/>
                      <a:pt x="7942" y="15951"/>
                    </a:cubicBezTo>
                    <a:close/>
                    <a:moveTo>
                      <a:pt x="13939" y="112110"/>
                    </a:moveTo>
                    <a:lnTo>
                      <a:pt x="1648" y="112110"/>
                    </a:lnTo>
                    <a:lnTo>
                      <a:pt x="1648" y="35429"/>
                    </a:lnTo>
                    <a:lnTo>
                      <a:pt x="13939" y="35429"/>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7" name="Freeform: Shape 306">
                <a:extLst>
                  <a:ext uri="{FF2B5EF4-FFF2-40B4-BE49-F238E27FC236}">
                    <a16:creationId xmlns:a16="http://schemas.microsoft.com/office/drawing/2014/main" id="{4484865E-A679-C3EA-6971-80B4079A00B6}"/>
                  </a:ext>
                </a:extLst>
              </p:cNvPr>
              <p:cNvSpPr/>
              <p:nvPr/>
            </p:nvSpPr>
            <p:spPr>
              <a:xfrm>
                <a:off x="3757205" y="4585488"/>
                <a:ext cx="63830" cy="78523"/>
              </a:xfrm>
              <a:custGeom>
                <a:avLst/>
                <a:gdLst>
                  <a:gd name="connsiteX0" fmla="*/ 63736 w 63830"/>
                  <a:gd name="connsiteY0" fmla="*/ 78491 h 78523"/>
                  <a:gd name="connsiteX1" fmla="*/ 51423 w 63830"/>
                  <a:gd name="connsiteY1" fmla="*/ 78491 h 78523"/>
                  <a:gd name="connsiteX2" fmla="*/ 51423 w 63830"/>
                  <a:gd name="connsiteY2" fmla="*/ 34761 h 78523"/>
                  <a:gd name="connsiteX3" fmla="*/ 33584 w 63830"/>
                  <a:gd name="connsiteY3" fmla="*/ 10343 h 78523"/>
                  <a:gd name="connsiteX4" fmla="*/ 18332 w 63830"/>
                  <a:gd name="connsiteY4" fmla="*/ 17266 h 78523"/>
                  <a:gd name="connsiteX5" fmla="*/ 12291 w 63830"/>
                  <a:gd name="connsiteY5" fmla="*/ 34794 h 78523"/>
                  <a:gd name="connsiteX6" fmla="*/ 12291 w 63830"/>
                  <a:gd name="connsiteY6" fmla="*/ 78524 h 78523"/>
                  <a:gd name="connsiteX7" fmla="*/ 0 w 63830"/>
                  <a:gd name="connsiteY7" fmla="*/ 78524 h 78523"/>
                  <a:gd name="connsiteX8" fmla="*/ 0 w 63830"/>
                  <a:gd name="connsiteY8" fmla="*/ 1843 h 78523"/>
                  <a:gd name="connsiteX9" fmla="*/ 12291 w 63830"/>
                  <a:gd name="connsiteY9" fmla="*/ 1843 h 78523"/>
                  <a:gd name="connsiteX10" fmla="*/ 12291 w 63830"/>
                  <a:gd name="connsiteY10" fmla="*/ 14572 h 78523"/>
                  <a:gd name="connsiteX11" fmla="*/ 12598 w 63830"/>
                  <a:gd name="connsiteY11" fmla="*/ 14572 h 78523"/>
                  <a:gd name="connsiteX12" fmla="*/ 37816 w 63830"/>
                  <a:gd name="connsiteY12" fmla="*/ 46 h 78523"/>
                  <a:gd name="connsiteX13" fmla="*/ 57070 w 63830"/>
                  <a:gd name="connsiteY13" fmla="*/ 8163 h 78523"/>
                  <a:gd name="connsiteX14" fmla="*/ 63747 w 63830"/>
                  <a:gd name="connsiteY14" fmla="*/ 31650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30" h="78523">
                    <a:moveTo>
                      <a:pt x="63736" y="78491"/>
                    </a:moveTo>
                    <a:lnTo>
                      <a:pt x="51423" y="78491"/>
                    </a:lnTo>
                    <a:lnTo>
                      <a:pt x="51423" y="34761"/>
                    </a:lnTo>
                    <a:cubicBezTo>
                      <a:pt x="51423" y="18482"/>
                      <a:pt x="45480" y="10343"/>
                      <a:pt x="33584" y="10343"/>
                    </a:cubicBezTo>
                    <a:cubicBezTo>
                      <a:pt x="27707" y="10223"/>
                      <a:pt x="22104" y="12764"/>
                      <a:pt x="18332" y="17266"/>
                    </a:cubicBezTo>
                    <a:cubicBezTo>
                      <a:pt x="14210" y="22152"/>
                      <a:pt x="12050" y="28407"/>
                      <a:pt x="12291" y="34794"/>
                    </a:cubicBezTo>
                    <a:lnTo>
                      <a:pt x="12291" y="78524"/>
                    </a:lnTo>
                    <a:lnTo>
                      <a:pt x="0" y="78524"/>
                    </a:lnTo>
                    <a:lnTo>
                      <a:pt x="0" y="1843"/>
                    </a:lnTo>
                    <a:lnTo>
                      <a:pt x="12291" y="1843"/>
                    </a:lnTo>
                    <a:lnTo>
                      <a:pt x="12291" y="14572"/>
                    </a:lnTo>
                    <a:lnTo>
                      <a:pt x="12598" y="14572"/>
                    </a:lnTo>
                    <a:cubicBezTo>
                      <a:pt x="17576" y="5359"/>
                      <a:pt x="27334" y="-272"/>
                      <a:pt x="37816" y="46"/>
                    </a:cubicBezTo>
                    <a:cubicBezTo>
                      <a:pt x="45151" y="-414"/>
                      <a:pt x="52278" y="2598"/>
                      <a:pt x="57070" y="8163"/>
                    </a:cubicBezTo>
                    <a:cubicBezTo>
                      <a:pt x="61960" y="14977"/>
                      <a:pt x="64317" y="23280"/>
                      <a:pt x="63747" y="3165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8" name="Freeform: Shape 307">
                <a:extLst>
                  <a:ext uri="{FF2B5EF4-FFF2-40B4-BE49-F238E27FC236}">
                    <a16:creationId xmlns:a16="http://schemas.microsoft.com/office/drawing/2014/main" id="{2EA4EFBF-D658-CB98-D5F8-CDE1A6D04EEB}"/>
                  </a:ext>
                </a:extLst>
              </p:cNvPr>
              <p:cNvSpPr/>
              <p:nvPr/>
            </p:nvSpPr>
            <p:spPr>
              <a:xfrm>
                <a:off x="3838647" y="4585518"/>
                <a:ext cx="70853" cy="114570"/>
              </a:xfrm>
              <a:custGeom>
                <a:avLst/>
                <a:gdLst>
                  <a:gd name="connsiteX0" fmla="*/ 70854 w 70853"/>
                  <a:gd name="connsiteY0" fmla="*/ 72315 h 114570"/>
                  <a:gd name="connsiteX1" fmla="*/ 30384 w 70853"/>
                  <a:gd name="connsiteY1" fmla="*/ 114556 h 114570"/>
                  <a:gd name="connsiteX2" fmla="*/ 5495 w 70853"/>
                  <a:gd name="connsiteY2" fmla="*/ 109166 h 114570"/>
                  <a:gd name="connsiteX3" fmla="*/ 5495 w 70853"/>
                  <a:gd name="connsiteY3" fmla="*/ 96930 h 114570"/>
                  <a:gd name="connsiteX4" fmla="*/ 30230 w 70853"/>
                  <a:gd name="connsiteY4" fmla="*/ 104127 h 114570"/>
                  <a:gd name="connsiteX5" fmla="*/ 58563 w 70853"/>
                  <a:gd name="connsiteY5" fmla="*/ 74024 h 114570"/>
                  <a:gd name="connsiteX6" fmla="*/ 58563 w 70853"/>
                  <a:gd name="connsiteY6" fmla="*/ 65633 h 114570"/>
                  <a:gd name="connsiteX7" fmla="*/ 58267 w 70853"/>
                  <a:gd name="connsiteY7" fmla="*/ 65633 h 114570"/>
                  <a:gd name="connsiteX8" fmla="*/ 15517 w 70853"/>
                  <a:gd name="connsiteY8" fmla="*/ 75656 h 114570"/>
                  <a:gd name="connsiteX9" fmla="*/ 8839 w 70853"/>
                  <a:gd name="connsiteY9" fmla="*/ 70092 h 114570"/>
                  <a:gd name="connsiteX10" fmla="*/ 67 w 70853"/>
                  <a:gd name="connsiteY10" fmla="*/ 42640 h 114570"/>
                  <a:gd name="connsiteX11" fmla="*/ 9475 w 70853"/>
                  <a:gd name="connsiteY11" fmla="*/ 11562 h 114570"/>
                  <a:gd name="connsiteX12" fmla="*/ 35219 w 70853"/>
                  <a:gd name="connsiteY12" fmla="*/ 38 h 114570"/>
                  <a:gd name="connsiteX13" fmla="*/ 58244 w 70853"/>
                  <a:gd name="connsiteY13" fmla="*/ 12471 h 114570"/>
                  <a:gd name="connsiteX14" fmla="*/ 58541 w 70853"/>
                  <a:gd name="connsiteY14" fmla="*/ 12471 h 114570"/>
                  <a:gd name="connsiteX15" fmla="*/ 58541 w 70853"/>
                  <a:gd name="connsiteY15" fmla="*/ 1834 h 114570"/>
                  <a:gd name="connsiteX16" fmla="*/ 70854 w 70853"/>
                  <a:gd name="connsiteY16" fmla="*/ 1834 h 114570"/>
                  <a:gd name="connsiteX17" fmla="*/ 58563 w 70853"/>
                  <a:gd name="connsiteY17" fmla="*/ 43834 h 114570"/>
                  <a:gd name="connsiteX18" fmla="*/ 58563 w 70853"/>
                  <a:gd name="connsiteY18" fmla="*/ 32529 h 114570"/>
                  <a:gd name="connsiteX19" fmla="*/ 52379 w 70853"/>
                  <a:gd name="connsiteY19" fmla="*/ 16875 h 114570"/>
                  <a:gd name="connsiteX20" fmla="*/ 37028 w 70853"/>
                  <a:gd name="connsiteY20" fmla="*/ 10357 h 114570"/>
                  <a:gd name="connsiteX21" fmla="*/ 19189 w 70853"/>
                  <a:gd name="connsiteY21" fmla="*/ 18627 h 114570"/>
                  <a:gd name="connsiteX22" fmla="*/ 12742 w 70853"/>
                  <a:gd name="connsiteY22" fmla="*/ 41807 h 114570"/>
                  <a:gd name="connsiteX23" fmla="*/ 18937 w 70853"/>
                  <a:gd name="connsiteY23" fmla="*/ 62292 h 114570"/>
                  <a:gd name="connsiteX24" fmla="*/ 35307 w 70853"/>
                  <a:gd name="connsiteY24" fmla="*/ 69960 h 114570"/>
                  <a:gd name="connsiteX25" fmla="*/ 52138 w 70853"/>
                  <a:gd name="connsiteY25" fmla="*/ 62621 h 114570"/>
                  <a:gd name="connsiteX26" fmla="*/ 58530 w 70853"/>
                  <a:gd name="connsiteY26" fmla="*/ 43790 h 11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0853" h="114570">
                    <a:moveTo>
                      <a:pt x="70854" y="72315"/>
                    </a:moveTo>
                    <a:cubicBezTo>
                      <a:pt x="70854" y="100479"/>
                      <a:pt x="57367" y="114567"/>
                      <a:pt x="30384" y="114556"/>
                    </a:cubicBezTo>
                    <a:cubicBezTo>
                      <a:pt x="21777" y="114753"/>
                      <a:pt x="13247" y="112902"/>
                      <a:pt x="5495" y="109166"/>
                    </a:cubicBezTo>
                    <a:lnTo>
                      <a:pt x="5495" y="96930"/>
                    </a:lnTo>
                    <a:cubicBezTo>
                      <a:pt x="12995" y="101399"/>
                      <a:pt x="21503" y="103875"/>
                      <a:pt x="30230" y="104127"/>
                    </a:cubicBezTo>
                    <a:cubicBezTo>
                      <a:pt x="49122" y="104127"/>
                      <a:pt x="58563" y="94093"/>
                      <a:pt x="58563" y="74024"/>
                    </a:cubicBezTo>
                    <a:lnTo>
                      <a:pt x="58563" y="65633"/>
                    </a:lnTo>
                    <a:lnTo>
                      <a:pt x="58267" y="65633"/>
                    </a:lnTo>
                    <a:cubicBezTo>
                      <a:pt x="49232" y="80192"/>
                      <a:pt x="30088" y="84683"/>
                      <a:pt x="15517" y="75656"/>
                    </a:cubicBezTo>
                    <a:cubicBezTo>
                      <a:pt x="13038" y="74123"/>
                      <a:pt x="10791" y="72250"/>
                      <a:pt x="8839" y="70092"/>
                    </a:cubicBezTo>
                    <a:cubicBezTo>
                      <a:pt x="2677" y="62314"/>
                      <a:pt x="-448" y="52553"/>
                      <a:pt x="67" y="42640"/>
                    </a:cubicBezTo>
                    <a:cubicBezTo>
                      <a:pt x="-525" y="31499"/>
                      <a:pt x="2798" y="20501"/>
                      <a:pt x="9475" y="11562"/>
                    </a:cubicBezTo>
                    <a:cubicBezTo>
                      <a:pt x="15757" y="3872"/>
                      <a:pt x="25297" y="-400"/>
                      <a:pt x="35219" y="38"/>
                    </a:cubicBezTo>
                    <a:cubicBezTo>
                      <a:pt x="44627" y="-477"/>
                      <a:pt x="53530" y="4321"/>
                      <a:pt x="58244" y="12471"/>
                    </a:cubicBezTo>
                    <a:lnTo>
                      <a:pt x="58541" y="12471"/>
                    </a:lnTo>
                    <a:lnTo>
                      <a:pt x="58541" y="1834"/>
                    </a:lnTo>
                    <a:lnTo>
                      <a:pt x="70854" y="1834"/>
                    </a:lnTo>
                    <a:close/>
                    <a:moveTo>
                      <a:pt x="58563" y="43834"/>
                    </a:moveTo>
                    <a:lnTo>
                      <a:pt x="58563" y="32529"/>
                    </a:lnTo>
                    <a:cubicBezTo>
                      <a:pt x="58672" y="26701"/>
                      <a:pt x="56446" y="21059"/>
                      <a:pt x="52379" y="16875"/>
                    </a:cubicBezTo>
                    <a:cubicBezTo>
                      <a:pt x="48431" y="12602"/>
                      <a:pt x="42839" y="10236"/>
                      <a:pt x="37028" y="10357"/>
                    </a:cubicBezTo>
                    <a:cubicBezTo>
                      <a:pt x="30088" y="10050"/>
                      <a:pt x="23444" y="13139"/>
                      <a:pt x="19189" y="18627"/>
                    </a:cubicBezTo>
                    <a:cubicBezTo>
                      <a:pt x="14519" y="25419"/>
                      <a:pt x="12249" y="33580"/>
                      <a:pt x="12742" y="41807"/>
                    </a:cubicBezTo>
                    <a:cubicBezTo>
                      <a:pt x="12370" y="49147"/>
                      <a:pt x="14563" y="56388"/>
                      <a:pt x="18937" y="62292"/>
                    </a:cubicBezTo>
                    <a:cubicBezTo>
                      <a:pt x="22862" y="67309"/>
                      <a:pt x="28937" y="70157"/>
                      <a:pt x="35307" y="69960"/>
                    </a:cubicBezTo>
                    <a:cubicBezTo>
                      <a:pt x="41732" y="70157"/>
                      <a:pt x="47916" y="67463"/>
                      <a:pt x="52138" y="62621"/>
                    </a:cubicBezTo>
                    <a:cubicBezTo>
                      <a:pt x="56556" y="57362"/>
                      <a:pt x="58837" y="50647"/>
                      <a:pt x="58530" y="4379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9" name="Freeform: Shape 308">
                <a:extLst>
                  <a:ext uri="{FF2B5EF4-FFF2-40B4-BE49-F238E27FC236}">
                    <a16:creationId xmlns:a16="http://schemas.microsoft.com/office/drawing/2014/main" id="{D5995D35-9B14-CE95-4C75-151C7F1A6B2C}"/>
                  </a:ext>
                </a:extLst>
              </p:cNvPr>
              <p:cNvSpPr/>
              <p:nvPr/>
            </p:nvSpPr>
            <p:spPr>
              <a:xfrm>
                <a:off x="3971756" y="4585572"/>
                <a:ext cx="50858" cy="80194"/>
              </a:xfrm>
              <a:custGeom>
                <a:avLst/>
                <a:gdLst>
                  <a:gd name="connsiteX0" fmla="*/ 0 w 50858"/>
                  <a:gd name="connsiteY0" fmla="*/ 75635 h 80194"/>
                  <a:gd name="connsiteX1" fmla="*/ 0 w 50858"/>
                  <a:gd name="connsiteY1" fmla="*/ 62490 h 80194"/>
                  <a:gd name="connsiteX2" fmla="*/ 22104 w 50858"/>
                  <a:gd name="connsiteY2" fmla="*/ 69906 h 80194"/>
                  <a:gd name="connsiteX3" fmla="*/ 38299 w 50858"/>
                  <a:gd name="connsiteY3" fmla="*/ 59116 h 80194"/>
                  <a:gd name="connsiteX4" fmla="*/ 36917 w 50858"/>
                  <a:gd name="connsiteY4" fmla="*/ 53913 h 80194"/>
                  <a:gd name="connsiteX5" fmla="*/ 33168 w 50858"/>
                  <a:gd name="connsiteY5" fmla="*/ 50133 h 80194"/>
                  <a:gd name="connsiteX6" fmla="*/ 27619 w 50858"/>
                  <a:gd name="connsiteY6" fmla="*/ 47176 h 80194"/>
                  <a:gd name="connsiteX7" fmla="*/ 20756 w 50858"/>
                  <a:gd name="connsiteY7" fmla="*/ 44437 h 80194"/>
                  <a:gd name="connsiteX8" fmla="*/ 11809 w 50858"/>
                  <a:gd name="connsiteY8" fmla="*/ 40362 h 80194"/>
                  <a:gd name="connsiteX9" fmla="*/ 5362 w 50858"/>
                  <a:gd name="connsiteY9" fmla="*/ 35717 h 80194"/>
                  <a:gd name="connsiteX10" fmla="*/ 1469 w 50858"/>
                  <a:gd name="connsiteY10" fmla="*/ 29835 h 80194"/>
                  <a:gd name="connsiteX11" fmla="*/ 143 w 50858"/>
                  <a:gd name="connsiteY11" fmla="*/ 22167 h 80194"/>
                  <a:gd name="connsiteX12" fmla="*/ 2621 w 50858"/>
                  <a:gd name="connsiteY12" fmla="*/ 12625 h 80194"/>
                  <a:gd name="connsiteX13" fmla="*/ 9199 w 50858"/>
                  <a:gd name="connsiteY13" fmla="*/ 5658 h 80194"/>
                  <a:gd name="connsiteX14" fmla="*/ 18607 w 50858"/>
                  <a:gd name="connsiteY14" fmla="*/ 1430 h 80194"/>
                  <a:gd name="connsiteX15" fmla="*/ 29505 w 50858"/>
                  <a:gd name="connsiteY15" fmla="*/ 6 h 80194"/>
                  <a:gd name="connsiteX16" fmla="*/ 47344 w 50858"/>
                  <a:gd name="connsiteY16" fmla="*/ 3445 h 80194"/>
                  <a:gd name="connsiteX17" fmla="*/ 47344 w 50858"/>
                  <a:gd name="connsiteY17" fmla="*/ 15813 h 80194"/>
                  <a:gd name="connsiteX18" fmla="*/ 27861 w 50858"/>
                  <a:gd name="connsiteY18" fmla="*/ 10270 h 80194"/>
                  <a:gd name="connsiteX19" fmla="*/ 21633 w 50858"/>
                  <a:gd name="connsiteY19" fmla="*/ 11059 h 80194"/>
                  <a:gd name="connsiteX20" fmla="*/ 16885 w 50858"/>
                  <a:gd name="connsiteY20" fmla="*/ 13250 h 80194"/>
                  <a:gd name="connsiteX21" fmla="*/ 13804 w 50858"/>
                  <a:gd name="connsiteY21" fmla="*/ 16656 h 80194"/>
                  <a:gd name="connsiteX22" fmla="*/ 12708 w 50858"/>
                  <a:gd name="connsiteY22" fmla="*/ 21038 h 80194"/>
                  <a:gd name="connsiteX23" fmla="*/ 13804 w 50858"/>
                  <a:gd name="connsiteY23" fmla="*/ 26055 h 80194"/>
                  <a:gd name="connsiteX24" fmla="*/ 16984 w 50858"/>
                  <a:gd name="connsiteY24" fmla="*/ 29660 h 80194"/>
                  <a:gd name="connsiteX25" fmla="*/ 22082 w 50858"/>
                  <a:gd name="connsiteY25" fmla="*/ 32497 h 80194"/>
                  <a:gd name="connsiteX26" fmla="*/ 28902 w 50858"/>
                  <a:gd name="connsiteY26" fmla="*/ 35268 h 80194"/>
                  <a:gd name="connsiteX27" fmla="*/ 38046 w 50858"/>
                  <a:gd name="connsiteY27" fmla="*/ 39277 h 80194"/>
                  <a:gd name="connsiteX28" fmla="*/ 44943 w 50858"/>
                  <a:gd name="connsiteY28" fmla="*/ 43922 h 80194"/>
                  <a:gd name="connsiteX29" fmla="*/ 49329 w 50858"/>
                  <a:gd name="connsiteY29" fmla="*/ 49870 h 80194"/>
                  <a:gd name="connsiteX30" fmla="*/ 50853 w 50858"/>
                  <a:gd name="connsiteY30" fmla="*/ 57889 h 80194"/>
                  <a:gd name="connsiteX31" fmla="*/ 48353 w 50858"/>
                  <a:gd name="connsiteY31" fmla="*/ 67748 h 80194"/>
                  <a:gd name="connsiteX32" fmla="*/ 41643 w 50858"/>
                  <a:gd name="connsiteY32" fmla="*/ 74715 h 80194"/>
                  <a:gd name="connsiteX33" fmla="*/ 31972 w 50858"/>
                  <a:gd name="connsiteY33" fmla="*/ 78834 h 80194"/>
                  <a:gd name="connsiteX34" fmla="*/ 20503 w 50858"/>
                  <a:gd name="connsiteY34" fmla="*/ 80182 h 80194"/>
                  <a:gd name="connsiteX35" fmla="*/ 0 w 50858"/>
                  <a:gd name="connsiteY35" fmla="*/ 75635 h 8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58" h="80194">
                    <a:moveTo>
                      <a:pt x="0" y="75635"/>
                    </a:moveTo>
                    <a:lnTo>
                      <a:pt x="0" y="62490"/>
                    </a:lnTo>
                    <a:cubicBezTo>
                      <a:pt x="6360" y="67321"/>
                      <a:pt x="14122" y="69917"/>
                      <a:pt x="22104" y="69906"/>
                    </a:cubicBezTo>
                    <a:cubicBezTo>
                      <a:pt x="32904" y="69906"/>
                      <a:pt x="38310" y="66313"/>
                      <a:pt x="38299" y="59116"/>
                    </a:cubicBezTo>
                    <a:cubicBezTo>
                      <a:pt x="38354" y="57287"/>
                      <a:pt x="37882" y="55479"/>
                      <a:pt x="36917" y="53913"/>
                    </a:cubicBezTo>
                    <a:cubicBezTo>
                      <a:pt x="35919" y="52423"/>
                      <a:pt x="34648" y="51141"/>
                      <a:pt x="33168" y="50133"/>
                    </a:cubicBezTo>
                    <a:cubicBezTo>
                      <a:pt x="31435" y="48939"/>
                      <a:pt x="29571" y="47953"/>
                      <a:pt x="27619" y="47176"/>
                    </a:cubicBezTo>
                    <a:cubicBezTo>
                      <a:pt x="25492" y="46299"/>
                      <a:pt x="23234" y="45390"/>
                      <a:pt x="20756" y="44437"/>
                    </a:cubicBezTo>
                    <a:cubicBezTo>
                      <a:pt x="17697" y="43243"/>
                      <a:pt x="14714" y="41885"/>
                      <a:pt x="11809" y="40362"/>
                    </a:cubicBezTo>
                    <a:cubicBezTo>
                      <a:pt x="9441" y="39135"/>
                      <a:pt x="7269" y="37568"/>
                      <a:pt x="5362" y="35717"/>
                    </a:cubicBezTo>
                    <a:cubicBezTo>
                      <a:pt x="3673" y="34052"/>
                      <a:pt x="2347" y="32047"/>
                      <a:pt x="1469" y="29835"/>
                    </a:cubicBezTo>
                    <a:cubicBezTo>
                      <a:pt x="537" y="27392"/>
                      <a:pt x="88" y="24785"/>
                      <a:pt x="143" y="22167"/>
                    </a:cubicBezTo>
                    <a:cubicBezTo>
                      <a:pt x="77" y="18825"/>
                      <a:pt x="943" y="15517"/>
                      <a:pt x="2621" y="12625"/>
                    </a:cubicBezTo>
                    <a:cubicBezTo>
                      <a:pt x="4276" y="9843"/>
                      <a:pt x="6524" y="7466"/>
                      <a:pt x="9199" y="5658"/>
                    </a:cubicBezTo>
                    <a:cubicBezTo>
                      <a:pt x="12072" y="3730"/>
                      <a:pt x="15252" y="2295"/>
                      <a:pt x="18607" y="1430"/>
                    </a:cubicBezTo>
                    <a:cubicBezTo>
                      <a:pt x="22159" y="477"/>
                      <a:pt x="25821" y="-5"/>
                      <a:pt x="29505" y="6"/>
                    </a:cubicBezTo>
                    <a:cubicBezTo>
                      <a:pt x="35624" y="-93"/>
                      <a:pt x="41698" y="1079"/>
                      <a:pt x="47344" y="3445"/>
                    </a:cubicBezTo>
                    <a:lnTo>
                      <a:pt x="47344" y="15813"/>
                    </a:lnTo>
                    <a:cubicBezTo>
                      <a:pt x="41544" y="12077"/>
                      <a:pt x="34757" y="10150"/>
                      <a:pt x="27861" y="10270"/>
                    </a:cubicBezTo>
                    <a:cubicBezTo>
                      <a:pt x="25755" y="10248"/>
                      <a:pt x="23661" y="10511"/>
                      <a:pt x="21633" y="11059"/>
                    </a:cubicBezTo>
                    <a:cubicBezTo>
                      <a:pt x="19934" y="11508"/>
                      <a:pt x="18332" y="12253"/>
                      <a:pt x="16885" y="13250"/>
                    </a:cubicBezTo>
                    <a:cubicBezTo>
                      <a:pt x="15613" y="14137"/>
                      <a:pt x="14561" y="15298"/>
                      <a:pt x="13804" y="16656"/>
                    </a:cubicBezTo>
                    <a:cubicBezTo>
                      <a:pt x="13070" y="18004"/>
                      <a:pt x="12686" y="19505"/>
                      <a:pt x="12708" y="21038"/>
                    </a:cubicBezTo>
                    <a:cubicBezTo>
                      <a:pt x="12653" y="22780"/>
                      <a:pt x="13026" y="24500"/>
                      <a:pt x="13804" y="26055"/>
                    </a:cubicBezTo>
                    <a:cubicBezTo>
                      <a:pt x="14594" y="27468"/>
                      <a:pt x="15679" y="28706"/>
                      <a:pt x="16984" y="29660"/>
                    </a:cubicBezTo>
                    <a:cubicBezTo>
                      <a:pt x="18563" y="30799"/>
                      <a:pt x="20273" y="31752"/>
                      <a:pt x="22082" y="32497"/>
                    </a:cubicBezTo>
                    <a:cubicBezTo>
                      <a:pt x="24089" y="33351"/>
                      <a:pt x="26359" y="34271"/>
                      <a:pt x="28902" y="35268"/>
                    </a:cubicBezTo>
                    <a:cubicBezTo>
                      <a:pt x="32016" y="36440"/>
                      <a:pt x="35075" y="37788"/>
                      <a:pt x="38046" y="39277"/>
                    </a:cubicBezTo>
                    <a:cubicBezTo>
                      <a:pt x="40536" y="40515"/>
                      <a:pt x="42860" y="42082"/>
                      <a:pt x="44943" y="43922"/>
                    </a:cubicBezTo>
                    <a:cubicBezTo>
                      <a:pt x="46796" y="45587"/>
                      <a:pt x="48287" y="47603"/>
                      <a:pt x="49329" y="49870"/>
                    </a:cubicBezTo>
                    <a:cubicBezTo>
                      <a:pt x="50403" y="52401"/>
                      <a:pt x="50919" y="55139"/>
                      <a:pt x="50853" y="57889"/>
                    </a:cubicBezTo>
                    <a:cubicBezTo>
                      <a:pt x="50930" y="61340"/>
                      <a:pt x="50075" y="64747"/>
                      <a:pt x="48353" y="67748"/>
                    </a:cubicBezTo>
                    <a:cubicBezTo>
                      <a:pt x="46665" y="70542"/>
                      <a:pt x="44373" y="72930"/>
                      <a:pt x="41643" y="74715"/>
                    </a:cubicBezTo>
                    <a:cubicBezTo>
                      <a:pt x="38683" y="76632"/>
                      <a:pt x="35404" y="78023"/>
                      <a:pt x="31972" y="78834"/>
                    </a:cubicBezTo>
                    <a:cubicBezTo>
                      <a:pt x="28222" y="79743"/>
                      <a:pt x="24363" y="80203"/>
                      <a:pt x="20503" y="80182"/>
                    </a:cubicBezTo>
                    <a:cubicBezTo>
                      <a:pt x="13399" y="80357"/>
                      <a:pt x="6360" y="78801"/>
                      <a:pt x="0" y="756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0" name="Freeform: Shape 309">
                <a:extLst>
                  <a:ext uri="{FF2B5EF4-FFF2-40B4-BE49-F238E27FC236}">
                    <a16:creationId xmlns:a16="http://schemas.microsoft.com/office/drawing/2014/main" id="{698C3ACC-55ED-8100-84C4-5F975B7E2712}"/>
                  </a:ext>
                </a:extLst>
              </p:cNvPr>
              <p:cNvSpPr/>
              <p:nvPr/>
            </p:nvSpPr>
            <p:spPr>
              <a:xfrm>
                <a:off x="4031545" y="4587298"/>
                <a:ext cx="72474" cy="112784"/>
              </a:xfrm>
              <a:custGeom>
                <a:avLst/>
                <a:gdLst>
                  <a:gd name="connsiteX0" fmla="*/ 72475 w 72474"/>
                  <a:gd name="connsiteY0" fmla="*/ 0 h 112784"/>
                  <a:gd name="connsiteX1" fmla="*/ 37169 w 72474"/>
                  <a:gd name="connsiteY1" fmla="*/ 88961 h 112784"/>
                  <a:gd name="connsiteX2" fmla="*/ 10647 w 72474"/>
                  <a:gd name="connsiteY2" fmla="*/ 112776 h 112784"/>
                  <a:gd name="connsiteX3" fmla="*/ 2621 w 72474"/>
                  <a:gd name="connsiteY3" fmla="*/ 111801 h 112784"/>
                  <a:gd name="connsiteX4" fmla="*/ 2621 w 72474"/>
                  <a:gd name="connsiteY4" fmla="*/ 100847 h 112784"/>
                  <a:gd name="connsiteX5" fmla="*/ 9890 w 72474"/>
                  <a:gd name="connsiteY5" fmla="*/ 102194 h 112784"/>
                  <a:gd name="connsiteX6" fmla="*/ 23837 w 72474"/>
                  <a:gd name="connsiteY6" fmla="*/ 91108 h 112784"/>
                  <a:gd name="connsiteX7" fmla="*/ 29977 w 72474"/>
                  <a:gd name="connsiteY7" fmla="*/ 76583 h 112784"/>
                  <a:gd name="connsiteX8" fmla="*/ 0 w 72474"/>
                  <a:gd name="connsiteY8" fmla="*/ 55 h 112784"/>
                  <a:gd name="connsiteX9" fmla="*/ 13640 w 72474"/>
                  <a:gd name="connsiteY9" fmla="*/ 55 h 112784"/>
                  <a:gd name="connsiteX10" fmla="*/ 34406 w 72474"/>
                  <a:gd name="connsiteY10" fmla="*/ 59066 h 112784"/>
                  <a:gd name="connsiteX11" fmla="*/ 35974 w 72474"/>
                  <a:gd name="connsiteY11" fmla="*/ 64905 h 112784"/>
                  <a:gd name="connsiteX12" fmla="*/ 36424 w 72474"/>
                  <a:gd name="connsiteY12" fmla="*/ 64905 h 112784"/>
                  <a:gd name="connsiteX13" fmla="*/ 37926 w 72474"/>
                  <a:gd name="connsiteY13" fmla="*/ 59209 h 112784"/>
                  <a:gd name="connsiteX14" fmla="*/ 59734 w 72474"/>
                  <a:gd name="connsiteY14" fmla="*/ 55 h 11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74" h="112784">
                    <a:moveTo>
                      <a:pt x="72475" y="0"/>
                    </a:moveTo>
                    <a:lnTo>
                      <a:pt x="37169" y="88961"/>
                    </a:lnTo>
                    <a:cubicBezTo>
                      <a:pt x="30876" y="104834"/>
                      <a:pt x="22039" y="112765"/>
                      <a:pt x="10647" y="112776"/>
                    </a:cubicBezTo>
                    <a:cubicBezTo>
                      <a:pt x="7938" y="112842"/>
                      <a:pt x="5230" y="112513"/>
                      <a:pt x="2621" y="111801"/>
                    </a:cubicBezTo>
                    <a:lnTo>
                      <a:pt x="2621" y="100847"/>
                    </a:lnTo>
                    <a:cubicBezTo>
                      <a:pt x="4956" y="101690"/>
                      <a:pt x="7412" y="102139"/>
                      <a:pt x="9890" y="102194"/>
                    </a:cubicBezTo>
                    <a:cubicBezTo>
                      <a:pt x="16458" y="101931"/>
                      <a:pt x="22104" y="97440"/>
                      <a:pt x="23837" y="91108"/>
                    </a:cubicBezTo>
                    <a:lnTo>
                      <a:pt x="29977" y="76583"/>
                    </a:lnTo>
                    <a:lnTo>
                      <a:pt x="0" y="55"/>
                    </a:lnTo>
                    <a:lnTo>
                      <a:pt x="13640" y="55"/>
                    </a:lnTo>
                    <a:lnTo>
                      <a:pt x="34406" y="59066"/>
                    </a:lnTo>
                    <a:cubicBezTo>
                      <a:pt x="34648" y="59800"/>
                      <a:pt x="35174" y="61739"/>
                      <a:pt x="35974" y="64905"/>
                    </a:cubicBezTo>
                    <a:lnTo>
                      <a:pt x="36424" y="64905"/>
                    </a:lnTo>
                    <a:cubicBezTo>
                      <a:pt x="36676" y="63700"/>
                      <a:pt x="37169" y="61805"/>
                      <a:pt x="37926" y="59209"/>
                    </a:cubicBezTo>
                    <a:lnTo>
                      <a:pt x="59734" y="55"/>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1" name="Freeform: Shape 310">
                <a:extLst>
                  <a:ext uri="{FF2B5EF4-FFF2-40B4-BE49-F238E27FC236}">
                    <a16:creationId xmlns:a16="http://schemas.microsoft.com/office/drawing/2014/main" id="{08074AA6-EB1D-6802-1BBA-1A247B41B5C4}"/>
                  </a:ext>
                </a:extLst>
              </p:cNvPr>
              <p:cNvSpPr/>
              <p:nvPr/>
            </p:nvSpPr>
            <p:spPr>
              <a:xfrm>
                <a:off x="4112572" y="4585572"/>
                <a:ext cx="50946" cy="80198"/>
              </a:xfrm>
              <a:custGeom>
                <a:avLst/>
                <a:gdLst>
                  <a:gd name="connsiteX0" fmla="*/ 0 w 50946"/>
                  <a:gd name="connsiteY0" fmla="*/ 75635 h 80198"/>
                  <a:gd name="connsiteX1" fmla="*/ 0 w 50946"/>
                  <a:gd name="connsiteY1" fmla="*/ 62490 h 80198"/>
                  <a:gd name="connsiteX2" fmla="*/ 22104 w 50946"/>
                  <a:gd name="connsiteY2" fmla="*/ 69906 h 80198"/>
                  <a:gd name="connsiteX3" fmla="*/ 38298 w 50946"/>
                  <a:gd name="connsiteY3" fmla="*/ 59116 h 80198"/>
                  <a:gd name="connsiteX4" fmla="*/ 36906 w 50946"/>
                  <a:gd name="connsiteY4" fmla="*/ 53913 h 80198"/>
                  <a:gd name="connsiteX5" fmla="*/ 33156 w 50946"/>
                  <a:gd name="connsiteY5" fmla="*/ 50133 h 80198"/>
                  <a:gd name="connsiteX6" fmla="*/ 27608 w 50946"/>
                  <a:gd name="connsiteY6" fmla="*/ 47176 h 80198"/>
                  <a:gd name="connsiteX7" fmla="*/ 20756 w 50946"/>
                  <a:gd name="connsiteY7" fmla="*/ 44437 h 80198"/>
                  <a:gd name="connsiteX8" fmla="*/ 11798 w 50946"/>
                  <a:gd name="connsiteY8" fmla="*/ 40362 h 80198"/>
                  <a:gd name="connsiteX9" fmla="*/ 5351 w 50946"/>
                  <a:gd name="connsiteY9" fmla="*/ 35717 h 80198"/>
                  <a:gd name="connsiteX10" fmla="*/ 1447 w 50946"/>
                  <a:gd name="connsiteY10" fmla="*/ 29835 h 80198"/>
                  <a:gd name="connsiteX11" fmla="*/ 143 w 50946"/>
                  <a:gd name="connsiteY11" fmla="*/ 22167 h 80198"/>
                  <a:gd name="connsiteX12" fmla="*/ 2620 w 50946"/>
                  <a:gd name="connsiteY12" fmla="*/ 12625 h 80198"/>
                  <a:gd name="connsiteX13" fmla="*/ 9199 w 50946"/>
                  <a:gd name="connsiteY13" fmla="*/ 5658 h 80198"/>
                  <a:gd name="connsiteX14" fmla="*/ 18606 w 50946"/>
                  <a:gd name="connsiteY14" fmla="*/ 1430 h 80198"/>
                  <a:gd name="connsiteX15" fmla="*/ 29571 w 50946"/>
                  <a:gd name="connsiteY15" fmla="*/ 6 h 80198"/>
                  <a:gd name="connsiteX16" fmla="*/ 47410 w 50946"/>
                  <a:gd name="connsiteY16" fmla="*/ 3445 h 80198"/>
                  <a:gd name="connsiteX17" fmla="*/ 47410 w 50946"/>
                  <a:gd name="connsiteY17" fmla="*/ 15813 h 80198"/>
                  <a:gd name="connsiteX18" fmla="*/ 27915 w 50946"/>
                  <a:gd name="connsiteY18" fmla="*/ 10270 h 80198"/>
                  <a:gd name="connsiteX19" fmla="*/ 21699 w 50946"/>
                  <a:gd name="connsiteY19" fmla="*/ 11059 h 80198"/>
                  <a:gd name="connsiteX20" fmla="*/ 16940 w 50946"/>
                  <a:gd name="connsiteY20" fmla="*/ 13250 h 80198"/>
                  <a:gd name="connsiteX21" fmla="*/ 13859 w 50946"/>
                  <a:gd name="connsiteY21" fmla="*/ 16656 h 80198"/>
                  <a:gd name="connsiteX22" fmla="*/ 12763 w 50946"/>
                  <a:gd name="connsiteY22" fmla="*/ 21038 h 80198"/>
                  <a:gd name="connsiteX23" fmla="*/ 13859 w 50946"/>
                  <a:gd name="connsiteY23" fmla="*/ 26055 h 80198"/>
                  <a:gd name="connsiteX24" fmla="*/ 17050 w 50946"/>
                  <a:gd name="connsiteY24" fmla="*/ 29660 h 80198"/>
                  <a:gd name="connsiteX25" fmla="*/ 22148 w 50946"/>
                  <a:gd name="connsiteY25" fmla="*/ 32497 h 80198"/>
                  <a:gd name="connsiteX26" fmla="*/ 28968 w 50946"/>
                  <a:gd name="connsiteY26" fmla="*/ 35268 h 80198"/>
                  <a:gd name="connsiteX27" fmla="*/ 38112 w 50946"/>
                  <a:gd name="connsiteY27" fmla="*/ 39277 h 80198"/>
                  <a:gd name="connsiteX28" fmla="*/ 45009 w 50946"/>
                  <a:gd name="connsiteY28" fmla="*/ 43922 h 80198"/>
                  <a:gd name="connsiteX29" fmla="*/ 49395 w 50946"/>
                  <a:gd name="connsiteY29" fmla="*/ 49870 h 80198"/>
                  <a:gd name="connsiteX30" fmla="*/ 50941 w 50946"/>
                  <a:gd name="connsiteY30" fmla="*/ 57889 h 80198"/>
                  <a:gd name="connsiteX31" fmla="*/ 48430 w 50946"/>
                  <a:gd name="connsiteY31" fmla="*/ 67748 h 80198"/>
                  <a:gd name="connsiteX32" fmla="*/ 41719 w 50946"/>
                  <a:gd name="connsiteY32" fmla="*/ 74715 h 80198"/>
                  <a:gd name="connsiteX33" fmla="*/ 32049 w 50946"/>
                  <a:gd name="connsiteY33" fmla="*/ 78834 h 80198"/>
                  <a:gd name="connsiteX34" fmla="*/ 20591 w 50946"/>
                  <a:gd name="connsiteY34" fmla="*/ 80182 h 80198"/>
                  <a:gd name="connsiteX35" fmla="*/ 0 w 50946"/>
                  <a:gd name="connsiteY35" fmla="*/ 75635 h 8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46" h="80198">
                    <a:moveTo>
                      <a:pt x="0" y="75635"/>
                    </a:moveTo>
                    <a:lnTo>
                      <a:pt x="0" y="62490"/>
                    </a:lnTo>
                    <a:cubicBezTo>
                      <a:pt x="6348" y="67321"/>
                      <a:pt x="14122" y="69928"/>
                      <a:pt x="22104" y="69906"/>
                    </a:cubicBezTo>
                    <a:cubicBezTo>
                      <a:pt x="32893" y="69906"/>
                      <a:pt x="38288" y="66313"/>
                      <a:pt x="38298" y="59116"/>
                    </a:cubicBezTo>
                    <a:cubicBezTo>
                      <a:pt x="38353" y="57287"/>
                      <a:pt x="37871" y="55468"/>
                      <a:pt x="36906" y="53913"/>
                    </a:cubicBezTo>
                    <a:cubicBezTo>
                      <a:pt x="35908" y="52423"/>
                      <a:pt x="34636" y="51141"/>
                      <a:pt x="33156" y="50133"/>
                    </a:cubicBezTo>
                    <a:cubicBezTo>
                      <a:pt x="31424" y="48950"/>
                      <a:pt x="29560" y="47953"/>
                      <a:pt x="27608" y="47176"/>
                    </a:cubicBezTo>
                    <a:cubicBezTo>
                      <a:pt x="25492" y="46299"/>
                      <a:pt x="23222" y="45390"/>
                      <a:pt x="20756" y="44437"/>
                    </a:cubicBezTo>
                    <a:cubicBezTo>
                      <a:pt x="17696" y="43243"/>
                      <a:pt x="14703" y="41885"/>
                      <a:pt x="11798" y="40362"/>
                    </a:cubicBezTo>
                    <a:cubicBezTo>
                      <a:pt x="9429" y="39135"/>
                      <a:pt x="7258" y="37568"/>
                      <a:pt x="5351" y="35717"/>
                    </a:cubicBezTo>
                    <a:cubicBezTo>
                      <a:pt x="3662" y="34041"/>
                      <a:pt x="2335" y="32047"/>
                      <a:pt x="1447" y="29835"/>
                    </a:cubicBezTo>
                    <a:cubicBezTo>
                      <a:pt x="537" y="27381"/>
                      <a:pt x="99" y="24785"/>
                      <a:pt x="143" y="22167"/>
                    </a:cubicBezTo>
                    <a:cubicBezTo>
                      <a:pt x="77" y="18815"/>
                      <a:pt x="932" y="15517"/>
                      <a:pt x="2620" y="12625"/>
                    </a:cubicBezTo>
                    <a:cubicBezTo>
                      <a:pt x="4265" y="9843"/>
                      <a:pt x="6513" y="7466"/>
                      <a:pt x="9199" y="5658"/>
                    </a:cubicBezTo>
                    <a:cubicBezTo>
                      <a:pt x="12072" y="3719"/>
                      <a:pt x="15251" y="2295"/>
                      <a:pt x="18606" y="1430"/>
                    </a:cubicBezTo>
                    <a:cubicBezTo>
                      <a:pt x="22181" y="466"/>
                      <a:pt x="25865" y="-5"/>
                      <a:pt x="29571" y="6"/>
                    </a:cubicBezTo>
                    <a:cubicBezTo>
                      <a:pt x="35689" y="-93"/>
                      <a:pt x="41763" y="1079"/>
                      <a:pt x="47410" y="3445"/>
                    </a:cubicBezTo>
                    <a:lnTo>
                      <a:pt x="47410" y="15813"/>
                    </a:lnTo>
                    <a:cubicBezTo>
                      <a:pt x="41610" y="12077"/>
                      <a:pt x="34823" y="10150"/>
                      <a:pt x="27915" y="10270"/>
                    </a:cubicBezTo>
                    <a:cubicBezTo>
                      <a:pt x="25821" y="10248"/>
                      <a:pt x="23727" y="10511"/>
                      <a:pt x="21699" y="11059"/>
                    </a:cubicBezTo>
                    <a:cubicBezTo>
                      <a:pt x="19999" y="11508"/>
                      <a:pt x="18387" y="12253"/>
                      <a:pt x="16940" y="13250"/>
                    </a:cubicBezTo>
                    <a:cubicBezTo>
                      <a:pt x="15668" y="14137"/>
                      <a:pt x="14615" y="15298"/>
                      <a:pt x="13859" y="16656"/>
                    </a:cubicBezTo>
                    <a:cubicBezTo>
                      <a:pt x="13124" y="18004"/>
                      <a:pt x="12752" y="19505"/>
                      <a:pt x="12763" y="21038"/>
                    </a:cubicBezTo>
                    <a:cubicBezTo>
                      <a:pt x="12708" y="22780"/>
                      <a:pt x="13091" y="24500"/>
                      <a:pt x="13859" y="26055"/>
                    </a:cubicBezTo>
                    <a:cubicBezTo>
                      <a:pt x="14648" y="27480"/>
                      <a:pt x="15734" y="28706"/>
                      <a:pt x="17050" y="29660"/>
                    </a:cubicBezTo>
                    <a:cubicBezTo>
                      <a:pt x="18629" y="30810"/>
                      <a:pt x="20339" y="31763"/>
                      <a:pt x="22148" y="32497"/>
                    </a:cubicBezTo>
                    <a:cubicBezTo>
                      <a:pt x="24144" y="33351"/>
                      <a:pt x="26424" y="34271"/>
                      <a:pt x="28968" y="35268"/>
                    </a:cubicBezTo>
                    <a:cubicBezTo>
                      <a:pt x="32082" y="36451"/>
                      <a:pt x="35130" y="37788"/>
                      <a:pt x="38112" y="39277"/>
                    </a:cubicBezTo>
                    <a:cubicBezTo>
                      <a:pt x="40601" y="40515"/>
                      <a:pt x="42925" y="42082"/>
                      <a:pt x="45009" y="43922"/>
                    </a:cubicBezTo>
                    <a:cubicBezTo>
                      <a:pt x="46873" y="45576"/>
                      <a:pt x="48364" y="47603"/>
                      <a:pt x="49395" y="49870"/>
                    </a:cubicBezTo>
                    <a:cubicBezTo>
                      <a:pt x="50480" y="52401"/>
                      <a:pt x="51006" y="55139"/>
                      <a:pt x="50941" y="57889"/>
                    </a:cubicBezTo>
                    <a:cubicBezTo>
                      <a:pt x="51028" y="61340"/>
                      <a:pt x="50151" y="64758"/>
                      <a:pt x="48430" y="67748"/>
                    </a:cubicBezTo>
                    <a:cubicBezTo>
                      <a:pt x="46752" y="70542"/>
                      <a:pt x="44449" y="72930"/>
                      <a:pt x="41719" y="74715"/>
                    </a:cubicBezTo>
                    <a:cubicBezTo>
                      <a:pt x="38759" y="76632"/>
                      <a:pt x="35481" y="78023"/>
                      <a:pt x="32049" y="78834"/>
                    </a:cubicBezTo>
                    <a:cubicBezTo>
                      <a:pt x="28299" y="79743"/>
                      <a:pt x="24450" y="80192"/>
                      <a:pt x="20591" y="80182"/>
                    </a:cubicBezTo>
                    <a:cubicBezTo>
                      <a:pt x="13453" y="80379"/>
                      <a:pt x="6381" y="78812"/>
                      <a:pt x="0" y="756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2" name="Freeform: Shape 311">
                <a:extLst>
                  <a:ext uri="{FF2B5EF4-FFF2-40B4-BE49-F238E27FC236}">
                    <a16:creationId xmlns:a16="http://schemas.microsoft.com/office/drawing/2014/main" id="{6BFDAF4C-4F26-18E1-62E5-3D16AE9AE21D}"/>
                  </a:ext>
                </a:extLst>
              </p:cNvPr>
              <p:cNvSpPr/>
              <p:nvPr/>
            </p:nvSpPr>
            <p:spPr>
              <a:xfrm>
                <a:off x="4173622" y="4564611"/>
                <a:ext cx="44789" cy="101034"/>
              </a:xfrm>
              <a:custGeom>
                <a:avLst/>
                <a:gdLst>
                  <a:gd name="connsiteX0" fmla="*/ 44789 w 44789"/>
                  <a:gd name="connsiteY0" fmla="*/ 98612 h 101034"/>
                  <a:gd name="connsiteX1" fmla="*/ 33321 w 44789"/>
                  <a:gd name="connsiteY1" fmla="*/ 101011 h 101034"/>
                  <a:gd name="connsiteX2" fmla="*/ 13157 w 44789"/>
                  <a:gd name="connsiteY2" fmla="*/ 78544 h 101034"/>
                  <a:gd name="connsiteX3" fmla="*/ 13157 w 44789"/>
                  <a:gd name="connsiteY3" fmla="*/ 33170 h 101034"/>
                  <a:gd name="connsiteX4" fmla="*/ 0 w 44789"/>
                  <a:gd name="connsiteY4" fmla="*/ 33170 h 101034"/>
                  <a:gd name="connsiteX5" fmla="*/ 0 w 44789"/>
                  <a:gd name="connsiteY5" fmla="*/ 22687 h 101034"/>
                  <a:gd name="connsiteX6" fmla="*/ 13157 w 44789"/>
                  <a:gd name="connsiteY6" fmla="*/ 22687 h 101034"/>
                  <a:gd name="connsiteX7" fmla="*/ 13157 w 44789"/>
                  <a:gd name="connsiteY7" fmla="*/ 3966 h 101034"/>
                  <a:gd name="connsiteX8" fmla="*/ 25448 w 44789"/>
                  <a:gd name="connsiteY8" fmla="*/ 0 h 101034"/>
                  <a:gd name="connsiteX9" fmla="*/ 25448 w 44789"/>
                  <a:gd name="connsiteY9" fmla="*/ 22687 h 101034"/>
                  <a:gd name="connsiteX10" fmla="*/ 44789 w 44789"/>
                  <a:gd name="connsiteY10" fmla="*/ 22687 h 101034"/>
                  <a:gd name="connsiteX11" fmla="*/ 44789 w 44789"/>
                  <a:gd name="connsiteY11" fmla="*/ 33170 h 101034"/>
                  <a:gd name="connsiteX12" fmla="*/ 25448 w 44789"/>
                  <a:gd name="connsiteY12" fmla="*/ 33170 h 101034"/>
                  <a:gd name="connsiteX13" fmla="*/ 25448 w 44789"/>
                  <a:gd name="connsiteY13" fmla="*/ 76375 h 101034"/>
                  <a:gd name="connsiteX14" fmla="*/ 28069 w 44789"/>
                  <a:gd name="connsiteY14" fmla="*/ 87329 h 101034"/>
                  <a:gd name="connsiteX15" fmla="*/ 36764 w 44789"/>
                  <a:gd name="connsiteY15" fmla="*/ 90615 h 101034"/>
                  <a:gd name="connsiteX16" fmla="*/ 44789 w 44789"/>
                  <a:gd name="connsiteY16" fmla="*/ 88063 h 101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34">
                    <a:moveTo>
                      <a:pt x="44789" y="98612"/>
                    </a:moveTo>
                    <a:cubicBezTo>
                      <a:pt x="41226" y="100354"/>
                      <a:pt x="37279" y="101186"/>
                      <a:pt x="33321" y="101011"/>
                    </a:cubicBezTo>
                    <a:cubicBezTo>
                      <a:pt x="19868" y="101011"/>
                      <a:pt x="13146" y="93518"/>
                      <a:pt x="13157" y="78544"/>
                    </a:cubicBezTo>
                    <a:lnTo>
                      <a:pt x="13157" y="33170"/>
                    </a:lnTo>
                    <a:lnTo>
                      <a:pt x="0" y="33170"/>
                    </a:lnTo>
                    <a:lnTo>
                      <a:pt x="0" y="22687"/>
                    </a:lnTo>
                    <a:lnTo>
                      <a:pt x="13157" y="22687"/>
                    </a:lnTo>
                    <a:lnTo>
                      <a:pt x="13157" y="3966"/>
                    </a:lnTo>
                    <a:lnTo>
                      <a:pt x="25448" y="0"/>
                    </a:lnTo>
                    <a:lnTo>
                      <a:pt x="25448" y="22687"/>
                    </a:lnTo>
                    <a:lnTo>
                      <a:pt x="44789" y="22687"/>
                    </a:lnTo>
                    <a:lnTo>
                      <a:pt x="44789" y="33170"/>
                    </a:lnTo>
                    <a:lnTo>
                      <a:pt x="25448" y="33170"/>
                    </a:lnTo>
                    <a:lnTo>
                      <a:pt x="25448" y="76375"/>
                    </a:lnTo>
                    <a:cubicBezTo>
                      <a:pt x="25119" y="80209"/>
                      <a:pt x="26040" y="84054"/>
                      <a:pt x="28069" y="87329"/>
                    </a:cubicBezTo>
                    <a:cubicBezTo>
                      <a:pt x="30295" y="89717"/>
                      <a:pt x="33507" y="90933"/>
                      <a:pt x="36764" y="90615"/>
                    </a:cubicBezTo>
                    <a:cubicBezTo>
                      <a:pt x="39647" y="90681"/>
                      <a:pt x="42476" y="89783"/>
                      <a:pt x="44789" y="8806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3" name="Freeform: Shape 312">
                <a:extLst>
                  <a:ext uri="{FF2B5EF4-FFF2-40B4-BE49-F238E27FC236}">
                    <a16:creationId xmlns:a16="http://schemas.microsoft.com/office/drawing/2014/main" id="{5E784E92-C737-29D0-1A9A-6B9857B1FC23}"/>
                  </a:ext>
                </a:extLst>
              </p:cNvPr>
              <p:cNvSpPr/>
              <p:nvPr/>
            </p:nvSpPr>
            <p:spPr>
              <a:xfrm>
                <a:off x="4228063" y="4585454"/>
                <a:ext cx="67083" cy="80373"/>
              </a:xfrm>
              <a:custGeom>
                <a:avLst/>
                <a:gdLst>
                  <a:gd name="connsiteX0" fmla="*/ 67022 w 67083"/>
                  <a:gd name="connsiteY0" fmla="*/ 43251 h 80373"/>
                  <a:gd name="connsiteX1" fmla="*/ 12836 w 67083"/>
                  <a:gd name="connsiteY1" fmla="*/ 43251 h 80373"/>
                  <a:gd name="connsiteX2" fmla="*/ 19733 w 67083"/>
                  <a:gd name="connsiteY2" fmla="*/ 63024 h 80373"/>
                  <a:gd name="connsiteX3" fmla="*/ 37868 w 67083"/>
                  <a:gd name="connsiteY3" fmla="*/ 69991 h 80373"/>
                  <a:gd name="connsiteX4" fmla="*/ 61705 w 67083"/>
                  <a:gd name="connsiteY4" fmla="*/ 61447 h 80373"/>
                  <a:gd name="connsiteX5" fmla="*/ 61705 w 67083"/>
                  <a:gd name="connsiteY5" fmla="*/ 72982 h 80373"/>
                  <a:gd name="connsiteX6" fmla="*/ 34941 w 67083"/>
                  <a:gd name="connsiteY6" fmla="*/ 80321 h 80373"/>
                  <a:gd name="connsiteX7" fmla="*/ 9382 w 67083"/>
                  <a:gd name="connsiteY7" fmla="*/ 69871 h 80373"/>
                  <a:gd name="connsiteX8" fmla="*/ 85 w 67083"/>
                  <a:gd name="connsiteY8" fmla="*/ 40480 h 80373"/>
                  <a:gd name="connsiteX9" fmla="*/ 10238 w 67083"/>
                  <a:gd name="connsiteY9" fmla="*/ 11319 h 80373"/>
                  <a:gd name="connsiteX10" fmla="*/ 35456 w 67083"/>
                  <a:gd name="connsiteY10" fmla="*/ 47 h 80373"/>
                  <a:gd name="connsiteX11" fmla="*/ 58766 w 67083"/>
                  <a:gd name="connsiteY11" fmla="*/ 9774 h 80373"/>
                  <a:gd name="connsiteX12" fmla="*/ 67011 w 67083"/>
                  <a:gd name="connsiteY12" fmla="*/ 36810 h 80373"/>
                  <a:gd name="connsiteX13" fmla="*/ 54435 w 67083"/>
                  <a:gd name="connsiteY13" fmla="*/ 32845 h 80373"/>
                  <a:gd name="connsiteX14" fmla="*/ 49293 w 67083"/>
                  <a:gd name="connsiteY14" fmla="*/ 16292 h 80373"/>
                  <a:gd name="connsiteX15" fmla="*/ 35247 w 67083"/>
                  <a:gd name="connsiteY15" fmla="*/ 10377 h 80373"/>
                  <a:gd name="connsiteX16" fmla="*/ 20479 w 67083"/>
                  <a:gd name="connsiteY16" fmla="*/ 16588 h 80373"/>
                  <a:gd name="connsiteX17" fmla="*/ 12979 w 67083"/>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73">
                    <a:moveTo>
                      <a:pt x="67022" y="43251"/>
                    </a:moveTo>
                    <a:lnTo>
                      <a:pt x="12836" y="43251"/>
                    </a:lnTo>
                    <a:cubicBezTo>
                      <a:pt x="12551" y="50481"/>
                      <a:pt x="15018" y="57547"/>
                      <a:pt x="19733" y="63024"/>
                    </a:cubicBezTo>
                    <a:cubicBezTo>
                      <a:pt x="24503" y="67822"/>
                      <a:pt x="31103" y="70364"/>
                      <a:pt x="37868" y="69991"/>
                    </a:cubicBezTo>
                    <a:cubicBezTo>
                      <a:pt x="46563" y="69969"/>
                      <a:pt x="54984" y="66957"/>
                      <a:pt x="61705" y="61447"/>
                    </a:cubicBezTo>
                    <a:lnTo>
                      <a:pt x="61705" y="72982"/>
                    </a:lnTo>
                    <a:cubicBezTo>
                      <a:pt x="53788" y="78218"/>
                      <a:pt x="44414" y="80781"/>
                      <a:pt x="34941" y="80321"/>
                    </a:cubicBezTo>
                    <a:cubicBezTo>
                      <a:pt x="25292" y="80814"/>
                      <a:pt x="15917" y="76980"/>
                      <a:pt x="9382" y="69871"/>
                    </a:cubicBezTo>
                    <a:cubicBezTo>
                      <a:pt x="2727" y="61567"/>
                      <a:pt x="-584" y="51095"/>
                      <a:pt x="85" y="40480"/>
                    </a:cubicBezTo>
                    <a:cubicBezTo>
                      <a:pt x="-365" y="29821"/>
                      <a:pt x="3264" y="19392"/>
                      <a:pt x="10238" y="11319"/>
                    </a:cubicBezTo>
                    <a:cubicBezTo>
                      <a:pt x="16553" y="4012"/>
                      <a:pt x="25796" y="-117"/>
                      <a:pt x="35456" y="47"/>
                    </a:cubicBezTo>
                    <a:cubicBezTo>
                      <a:pt x="44304" y="-457"/>
                      <a:pt x="52900" y="3125"/>
                      <a:pt x="58766" y="9774"/>
                    </a:cubicBezTo>
                    <a:cubicBezTo>
                      <a:pt x="64665" y="17508"/>
                      <a:pt x="67593" y="27104"/>
                      <a:pt x="67011" y="36810"/>
                    </a:cubicBezTo>
                    <a:close/>
                    <a:moveTo>
                      <a:pt x="54435" y="32845"/>
                    </a:moveTo>
                    <a:cubicBezTo>
                      <a:pt x="54742" y="26896"/>
                      <a:pt x="52922" y="21025"/>
                      <a:pt x="49293" y="16292"/>
                    </a:cubicBezTo>
                    <a:cubicBezTo>
                      <a:pt x="45763" y="12283"/>
                      <a:pt x="40587" y="10103"/>
                      <a:pt x="35247" y="10377"/>
                    </a:cubicBezTo>
                    <a:cubicBezTo>
                      <a:pt x="29667" y="10278"/>
                      <a:pt x="24305" y="12535"/>
                      <a:pt x="20479" y="16588"/>
                    </a:cubicBezTo>
                    <a:cubicBezTo>
                      <a:pt x="16279" y="21046"/>
                      <a:pt x="13648" y="26754"/>
                      <a:pt x="12979" y="3284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4" name="Freeform: Shape 313">
                <a:extLst>
                  <a:ext uri="{FF2B5EF4-FFF2-40B4-BE49-F238E27FC236}">
                    <a16:creationId xmlns:a16="http://schemas.microsoft.com/office/drawing/2014/main" id="{FCEF4B8E-7A85-7735-3A65-BA7C5EDE5F16}"/>
                  </a:ext>
                </a:extLst>
              </p:cNvPr>
              <p:cNvSpPr/>
              <p:nvPr/>
            </p:nvSpPr>
            <p:spPr>
              <a:xfrm>
                <a:off x="4313538" y="4585491"/>
                <a:ext cx="108975" cy="78488"/>
              </a:xfrm>
              <a:custGeom>
                <a:avLst/>
                <a:gdLst>
                  <a:gd name="connsiteX0" fmla="*/ 108975 w 108975"/>
                  <a:gd name="connsiteY0" fmla="*/ 78489 h 78488"/>
                  <a:gd name="connsiteX1" fmla="*/ 96684 w 108975"/>
                  <a:gd name="connsiteY1" fmla="*/ 78489 h 78488"/>
                  <a:gd name="connsiteX2" fmla="*/ 96684 w 108975"/>
                  <a:gd name="connsiteY2" fmla="*/ 34452 h 78488"/>
                  <a:gd name="connsiteX3" fmla="*/ 92748 w 108975"/>
                  <a:gd name="connsiteY3" fmla="*/ 16037 h 78488"/>
                  <a:gd name="connsiteX4" fmla="*/ 79525 w 108975"/>
                  <a:gd name="connsiteY4" fmla="*/ 10341 h 78488"/>
                  <a:gd name="connsiteX5" fmla="*/ 66137 w 108975"/>
                  <a:gd name="connsiteY5" fmla="*/ 17527 h 78488"/>
                  <a:gd name="connsiteX6" fmla="*/ 60655 w 108975"/>
                  <a:gd name="connsiteY6" fmla="*/ 34758 h 78488"/>
                  <a:gd name="connsiteX7" fmla="*/ 60655 w 108975"/>
                  <a:gd name="connsiteY7" fmla="*/ 78489 h 78488"/>
                  <a:gd name="connsiteX8" fmla="*/ 48364 w 108975"/>
                  <a:gd name="connsiteY8" fmla="*/ 78489 h 78488"/>
                  <a:gd name="connsiteX9" fmla="*/ 48364 w 108975"/>
                  <a:gd name="connsiteY9" fmla="*/ 32962 h 78488"/>
                  <a:gd name="connsiteX10" fmla="*/ 30898 w 108975"/>
                  <a:gd name="connsiteY10" fmla="*/ 10341 h 78488"/>
                  <a:gd name="connsiteX11" fmla="*/ 17554 w 108975"/>
                  <a:gd name="connsiteY11" fmla="*/ 17122 h 78488"/>
                  <a:gd name="connsiteX12" fmla="*/ 12313 w 108975"/>
                  <a:gd name="connsiteY12" fmla="*/ 34758 h 78488"/>
                  <a:gd name="connsiteX13" fmla="*/ 12313 w 108975"/>
                  <a:gd name="connsiteY13" fmla="*/ 78489 h 78488"/>
                  <a:gd name="connsiteX14" fmla="*/ 0 w 108975"/>
                  <a:gd name="connsiteY14" fmla="*/ 78489 h 78488"/>
                  <a:gd name="connsiteX15" fmla="*/ 0 w 108975"/>
                  <a:gd name="connsiteY15" fmla="*/ 1807 h 78488"/>
                  <a:gd name="connsiteX16" fmla="*/ 12291 w 108975"/>
                  <a:gd name="connsiteY16" fmla="*/ 1807 h 78488"/>
                  <a:gd name="connsiteX17" fmla="*/ 12291 w 108975"/>
                  <a:gd name="connsiteY17" fmla="*/ 13934 h 78488"/>
                  <a:gd name="connsiteX18" fmla="*/ 12587 w 108975"/>
                  <a:gd name="connsiteY18" fmla="*/ 13934 h 78488"/>
                  <a:gd name="connsiteX19" fmla="*/ 36424 w 108975"/>
                  <a:gd name="connsiteY19" fmla="*/ 11 h 78488"/>
                  <a:gd name="connsiteX20" fmla="*/ 58155 w 108975"/>
                  <a:gd name="connsiteY20" fmla="*/ 15884 h 78488"/>
                  <a:gd name="connsiteX21" fmla="*/ 83647 w 108975"/>
                  <a:gd name="connsiteY21" fmla="*/ 11 h 78488"/>
                  <a:gd name="connsiteX22" fmla="*/ 108975 w 108975"/>
                  <a:gd name="connsiteY22" fmla="*/ 31231 h 7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975" h="78488">
                    <a:moveTo>
                      <a:pt x="108975" y="78489"/>
                    </a:moveTo>
                    <a:lnTo>
                      <a:pt x="96684" y="78489"/>
                    </a:lnTo>
                    <a:lnTo>
                      <a:pt x="96684" y="34452"/>
                    </a:lnTo>
                    <a:cubicBezTo>
                      <a:pt x="97177" y="28065"/>
                      <a:pt x="95807" y="21668"/>
                      <a:pt x="92748" y="16037"/>
                    </a:cubicBezTo>
                    <a:cubicBezTo>
                      <a:pt x="89612" y="11995"/>
                      <a:pt x="84623" y="9848"/>
                      <a:pt x="79525" y="10341"/>
                    </a:cubicBezTo>
                    <a:cubicBezTo>
                      <a:pt x="74152" y="10406"/>
                      <a:pt x="69164" y="13090"/>
                      <a:pt x="66137" y="17527"/>
                    </a:cubicBezTo>
                    <a:cubicBezTo>
                      <a:pt x="62421" y="22489"/>
                      <a:pt x="60491" y="28558"/>
                      <a:pt x="60655" y="34758"/>
                    </a:cubicBezTo>
                    <a:lnTo>
                      <a:pt x="60655" y="78489"/>
                    </a:lnTo>
                    <a:lnTo>
                      <a:pt x="48364" y="78489"/>
                    </a:lnTo>
                    <a:lnTo>
                      <a:pt x="48364" y="32962"/>
                    </a:lnTo>
                    <a:cubicBezTo>
                      <a:pt x="48364" y="17877"/>
                      <a:pt x="42542" y="10341"/>
                      <a:pt x="30898" y="10341"/>
                    </a:cubicBezTo>
                    <a:cubicBezTo>
                      <a:pt x="25613" y="10286"/>
                      <a:pt x="20624" y="12816"/>
                      <a:pt x="17554" y="17122"/>
                    </a:cubicBezTo>
                    <a:cubicBezTo>
                      <a:pt x="13870" y="22248"/>
                      <a:pt x="12017" y="28460"/>
                      <a:pt x="12313" y="34758"/>
                    </a:cubicBezTo>
                    <a:lnTo>
                      <a:pt x="12313" y="78489"/>
                    </a:lnTo>
                    <a:lnTo>
                      <a:pt x="0" y="78489"/>
                    </a:lnTo>
                    <a:lnTo>
                      <a:pt x="0" y="1807"/>
                    </a:lnTo>
                    <a:lnTo>
                      <a:pt x="12291" y="1807"/>
                    </a:lnTo>
                    <a:lnTo>
                      <a:pt x="12291" y="13934"/>
                    </a:lnTo>
                    <a:lnTo>
                      <a:pt x="12587" y="13934"/>
                    </a:lnTo>
                    <a:cubicBezTo>
                      <a:pt x="17214" y="5126"/>
                      <a:pt x="26468" y="-274"/>
                      <a:pt x="36424" y="11"/>
                    </a:cubicBezTo>
                    <a:cubicBezTo>
                      <a:pt x="46423" y="-208"/>
                      <a:pt x="55327" y="6298"/>
                      <a:pt x="58155" y="15884"/>
                    </a:cubicBezTo>
                    <a:cubicBezTo>
                      <a:pt x="62738" y="6003"/>
                      <a:pt x="72749" y="-230"/>
                      <a:pt x="83647" y="11"/>
                    </a:cubicBezTo>
                    <a:cubicBezTo>
                      <a:pt x="100533" y="11"/>
                      <a:pt x="108975" y="10417"/>
                      <a:pt x="108975" y="3123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5" name="Freeform: Shape 314">
                <a:extLst>
                  <a:ext uri="{FF2B5EF4-FFF2-40B4-BE49-F238E27FC236}">
                    <a16:creationId xmlns:a16="http://schemas.microsoft.com/office/drawing/2014/main" id="{ABBA7FE7-CB32-5068-6448-91E643D2CBDA}"/>
                  </a:ext>
                </a:extLst>
              </p:cNvPr>
              <p:cNvSpPr/>
              <p:nvPr/>
            </p:nvSpPr>
            <p:spPr>
              <a:xfrm>
                <a:off x="3256955" y="4887374"/>
                <a:ext cx="65783" cy="107430"/>
              </a:xfrm>
              <a:custGeom>
                <a:avLst/>
                <a:gdLst>
                  <a:gd name="connsiteX0" fmla="*/ 12598 w 65783"/>
                  <a:gd name="connsiteY0" fmla="*/ 66833 h 107430"/>
                  <a:gd name="connsiteX1" fmla="*/ 12598 w 65783"/>
                  <a:gd name="connsiteY1" fmla="*/ 107430 h 107430"/>
                  <a:gd name="connsiteX2" fmla="*/ 0 w 65783"/>
                  <a:gd name="connsiteY2" fmla="*/ 107430 h 107430"/>
                  <a:gd name="connsiteX3" fmla="*/ 0 w 65783"/>
                  <a:gd name="connsiteY3" fmla="*/ 76 h 107430"/>
                  <a:gd name="connsiteX4" fmla="*/ 29538 w 65783"/>
                  <a:gd name="connsiteY4" fmla="*/ 76 h 107430"/>
                  <a:gd name="connsiteX5" fmla="*/ 56258 w 65783"/>
                  <a:gd name="connsiteY5" fmla="*/ 8456 h 107430"/>
                  <a:gd name="connsiteX6" fmla="*/ 65731 w 65783"/>
                  <a:gd name="connsiteY6" fmla="*/ 32129 h 107430"/>
                  <a:gd name="connsiteX7" fmla="*/ 55206 w 65783"/>
                  <a:gd name="connsiteY7" fmla="*/ 57138 h 107430"/>
                  <a:gd name="connsiteX8" fmla="*/ 26764 w 65783"/>
                  <a:gd name="connsiteY8" fmla="*/ 66866 h 107430"/>
                  <a:gd name="connsiteX9" fmla="*/ 12598 w 65783"/>
                  <a:gd name="connsiteY9" fmla="*/ 11425 h 107430"/>
                  <a:gd name="connsiteX10" fmla="*/ 12598 w 65783"/>
                  <a:gd name="connsiteY10" fmla="*/ 55451 h 107430"/>
                  <a:gd name="connsiteX11" fmla="*/ 25755 w 65783"/>
                  <a:gd name="connsiteY11" fmla="*/ 55451 h 107430"/>
                  <a:gd name="connsiteX12" fmla="*/ 45656 w 65783"/>
                  <a:gd name="connsiteY12" fmla="*/ 49503 h 107430"/>
                  <a:gd name="connsiteX13" fmla="*/ 52508 w 65783"/>
                  <a:gd name="connsiteY13" fmla="*/ 32688 h 107430"/>
                  <a:gd name="connsiteX14" fmla="*/ 27290 w 65783"/>
                  <a:gd name="connsiteY14" fmla="*/ 11425 h 107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83" h="107430">
                    <a:moveTo>
                      <a:pt x="12598" y="66833"/>
                    </a:moveTo>
                    <a:lnTo>
                      <a:pt x="12598" y="107430"/>
                    </a:lnTo>
                    <a:lnTo>
                      <a:pt x="0" y="107430"/>
                    </a:lnTo>
                    <a:lnTo>
                      <a:pt x="0" y="76"/>
                    </a:lnTo>
                    <a:lnTo>
                      <a:pt x="29538" y="76"/>
                    </a:lnTo>
                    <a:cubicBezTo>
                      <a:pt x="39176" y="-526"/>
                      <a:pt x="48693" y="2453"/>
                      <a:pt x="56258" y="8456"/>
                    </a:cubicBezTo>
                    <a:cubicBezTo>
                      <a:pt x="62782" y="14547"/>
                      <a:pt x="66258" y="23223"/>
                      <a:pt x="65731" y="32129"/>
                    </a:cubicBezTo>
                    <a:cubicBezTo>
                      <a:pt x="66028" y="41594"/>
                      <a:pt x="62190" y="50730"/>
                      <a:pt x="55206" y="57138"/>
                    </a:cubicBezTo>
                    <a:cubicBezTo>
                      <a:pt x="47333" y="63930"/>
                      <a:pt x="37147" y="67413"/>
                      <a:pt x="26764" y="66866"/>
                    </a:cubicBezTo>
                    <a:close/>
                    <a:moveTo>
                      <a:pt x="12598" y="11425"/>
                    </a:moveTo>
                    <a:lnTo>
                      <a:pt x="12598" y="55451"/>
                    </a:lnTo>
                    <a:lnTo>
                      <a:pt x="25755" y="55451"/>
                    </a:lnTo>
                    <a:cubicBezTo>
                      <a:pt x="32893" y="55944"/>
                      <a:pt x="39965" y="53830"/>
                      <a:pt x="45656" y="49503"/>
                    </a:cubicBezTo>
                    <a:cubicBezTo>
                      <a:pt x="50359" y="45219"/>
                      <a:pt x="52881" y="39041"/>
                      <a:pt x="52508" y="32688"/>
                    </a:cubicBezTo>
                    <a:cubicBezTo>
                      <a:pt x="52508" y="18513"/>
                      <a:pt x="44099" y="11425"/>
                      <a:pt x="27290" y="1142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6" name="Freeform: Shape 315">
                <a:extLst>
                  <a:ext uri="{FF2B5EF4-FFF2-40B4-BE49-F238E27FC236}">
                    <a16:creationId xmlns:a16="http://schemas.microsoft.com/office/drawing/2014/main" id="{F43688FC-23C5-2A62-82F5-8326BF82F1F7}"/>
                  </a:ext>
                </a:extLst>
              </p:cNvPr>
              <p:cNvSpPr/>
              <p:nvPr/>
            </p:nvSpPr>
            <p:spPr>
              <a:xfrm>
                <a:off x="3338913" y="4881272"/>
                <a:ext cx="63746" cy="113532"/>
              </a:xfrm>
              <a:custGeom>
                <a:avLst/>
                <a:gdLst>
                  <a:gd name="connsiteX0" fmla="*/ 63714 w 63746"/>
                  <a:gd name="connsiteY0" fmla="*/ 113532 h 113532"/>
                  <a:gd name="connsiteX1" fmla="*/ 51412 w 63746"/>
                  <a:gd name="connsiteY1" fmla="*/ 113532 h 113532"/>
                  <a:gd name="connsiteX2" fmla="*/ 51412 w 63746"/>
                  <a:gd name="connsiteY2" fmla="*/ 69342 h 113532"/>
                  <a:gd name="connsiteX3" fmla="*/ 33573 w 63746"/>
                  <a:gd name="connsiteY3" fmla="*/ 45384 h 113532"/>
                  <a:gd name="connsiteX4" fmla="*/ 18442 w 63746"/>
                  <a:gd name="connsiteY4" fmla="*/ 52308 h 113532"/>
                  <a:gd name="connsiteX5" fmla="*/ 12291 w 63746"/>
                  <a:gd name="connsiteY5" fmla="*/ 70098 h 113532"/>
                  <a:gd name="connsiteX6" fmla="*/ 12291 w 63746"/>
                  <a:gd name="connsiteY6" fmla="*/ 113532 h 113532"/>
                  <a:gd name="connsiteX7" fmla="*/ 0 w 63746"/>
                  <a:gd name="connsiteY7" fmla="*/ 113532 h 113532"/>
                  <a:gd name="connsiteX8" fmla="*/ 0 w 63746"/>
                  <a:gd name="connsiteY8" fmla="*/ 0 h 113532"/>
                  <a:gd name="connsiteX9" fmla="*/ 12291 w 63746"/>
                  <a:gd name="connsiteY9" fmla="*/ 0 h 113532"/>
                  <a:gd name="connsiteX10" fmla="*/ 12291 w 63746"/>
                  <a:gd name="connsiteY10" fmla="*/ 49580 h 113532"/>
                  <a:gd name="connsiteX11" fmla="*/ 12587 w 63746"/>
                  <a:gd name="connsiteY11" fmla="*/ 49580 h 113532"/>
                  <a:gd name="connsiteX12" fmla="*/ 37805 w 63746"/>
                  <a:gd name="connsiteY12" fmla="*/ 35043 h 113532"/>
                  <a:gd name="connsiteX13" fmla="*/ 63747 w 63746"/>
                  <a:gd name="connsiteY13" fmla="*/ 66275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46" h="113532">
                    <a:moveTo>
                      <a:pt x="63714" y="113532"/>
                    </a:moveTo>
                    <a:lnTo>
                      <a:pt x="51412" y="113532"/>
                    </a:lnTo>
                    <a:lnTo>
                      <a:pt x="51412" y="69342"/>
                    </a:lnTo>
                    <a:cubicBezTo>
                      <a:pt x="51412" y="53370"/>
                      <a:pt x="45469" y="45384"/>
                      <a:pt x="33573" y="45384"/>
                    </a:cubicBezTo>
                    <a:cubicBezTo>
                      <a:pt x="27751" y="45308"/>
                      <a:pt x="22192" y="47849"/>
                      <a:pt x="18442" y="52308"/>
                    </a:cubicBezTo>
                    <a:cubicBezTo>
                      <a:pt x="14221" y="57248"/>
                      <a:pt x="12028" y="63602"/>
                      <a:pt x="12291" y="70098"/>
                    </a:cubicBezTo>
                    <a:lnTo>
                      <a:pt x="12291" y="113532"/>
                    </a:lnTo>
                    <a:lnTo>
                      <a:pt x="0" y="113532"/>
                    </a:lnTo>
                    <a:lnTo>
                      <a:pt x="0" y="0"/>
                    </a:lnTo>
                    <a:lnTo>
                      <a:pt x="12291" y="0"/>
                    </a:lnTo>
                    <a:lnTo>
                      <a:pt x="12291" y="49580"/>
                    </a:lnTo>
                    <a:lnTo>
                      <a:pt x="12587" y="49580"/>
                    </a:lnTo>
                    <a:cubicBezTo>
                      <a:pt x="17598" y="40389"/>
                      <a:pt x="27334" y="34781"/>
                      <a:pt x="37805" y="35043"/>
                    </a:cubicBezTo>
                    <a:cubicBezTo>
                      <a:pt x="55096" y="35043"/>
                      <a:pt x="63736" y="45450"/>
                      <a:pt x="63747" y="6627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7" name="Freeform: Shape 316">
                <a:extLst>
                  <a:ext uri="{FF2B5EF4-FFF2-40B4-BE49-F238E27FC236}">
                    <a16:creationId xmlns:a16="http://schemas.microsoft.com/office/drawing/2014/main" id="{65B63A43-51FC-159F-CF69-E860EA06F112}"/>
                  </a:ext>
                </a:extLst>
              </p:cNvPr>
              <p:cNvSpPr/>
              <p:nvPr/>
            </p:nvSpPr>
            <p:spPr>
              <a:xfrm>
                <a:off x="3412254" y="4918123"/>
                <a:ext cx="72485" cy="112773"/>
              </a:xfrm>
              <a:custGeom>
                <a:avLst/>
                <a:gdLst>
                  <a:gd name="connsiteX0" fmla="*/ 72486 w 72485"/>
                  <a:gd name="connsiteY0" fmla="*/ 0 h 112773"/>
                  <a:gd name="connsiteX1" fmla="*/ 37180 w 72485"/>
                  <a:gd name="connsiteY1" fmla="*/ 88961 h 112773"/>
                  <a:gd name="connsiteX2" fmla="*/ 10647 w 72485"/>
                  <a:gd name="connsiteY2" fmla="*/ 112765 h 112773"/>
                  <a:gd name="connsiteX3" fmla="*/ 2632 w 72485"/>
                  <a:gd name="connsiteY3" fmla="*/ 111801 h 112773"/>
                  <a:gd name="connsiteX4" fmla="*/ 2632 w 72485"/>
                  <a:gd name="connsiteY4" fmla="*/ 100847 h 112773"/>
                  <a:gd name="connsiteX5" fmla="*/ 9901 w 72485"/>
                  <a:gd name="connsiteY5" fmla="*/ 102194 h 112773"/>
                  <a:gd name="connsiteX6" fmla="*/ 23837 w 72485"/>
                  <a:gd name="connsiteY6" fmla="*/ 91108 h 112773"/>
                  <a:gd name="connsiteX7" fmla="*/ 29988 w 72485"/>
                  <a:gd name="connsiteY7" fmla="*/ 76583 h 112773"/>
                  <a:gd name="connsiteX8" fmla="*/ 0 w 72485"/>
                  <a:gd name="connsiteY8" fmla="*/ 55 h 112773"/>
                  <a:gd name="connsiteX9" fmla="*/ 13651 w 72485"/>
                  <a:gd name="connsiteY9" fmla="*/ 55 h 112773"/>
                  <a:gd name="connsiteX10" fmla="*/ 34406 w 72485"/>
                  <a:gd name="connsiteY10" fmla="*/ 59055 h 112773"/>
                  <a:gd name="connsiteX11" fmla="*/ 35985 w 72485"/>
                  <a:gd name="connsiteY11" fmla="*/ 64894 h 112773"/>
                  <a:gd name="connsiteX12" fmla="*/ 36435 w 72485"/>
                  <a:gd name="connsiteY12" fmla="*/ 64894 h 112773"/>
                  <a:gd name="connsiteX13" fmla="*/ 37926 w 72485"/>
                  <a:gd name="connsiteY13" fmla="*/ 59209 h 112773"/>
                  <a:gd name="connsiteX14" fmla="*/ 59745 w 72485"/>
                  <a:gd name="connsiteY14" fmla="*/ 55 h 11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85" h="112773">
                    <a:moveTo>
                      <a:pt x="72486" y="0"/>
                    </a:moveTo>
                    <a:lnTo>
                      <a:pt x="37180" y="88961"/>
                    </a:lnTo>
                    <a:cubicBezTo>
                      <a:pt x="30887" y="104834"/>
                      <a:pt x="22038" y="112765"/>
                      <a:pt x="10647" y="112765"/>
                    </a:cubicBezTo>
                    <a:cubicBezTo>
                      <a:pt x="7938" y="112831"/>
                      <a:pt x="5241" y="112502"/>
                      <a:pt x="2632" y="111801"/>
                    </a:cubicBezTo>
                    <a:lnTo>
                      <a:pt x="2632" y="100847"/>
                    </a:lnTo>
                    <a:cubicBezTo>
                      <a:pt x="4967" y="101690"/>
                      <a:pt x="7423" y="102140"/>
                      <a:pt x="9901" y="102194"/>
                    </a:cubicBezTo>
                    <a:cubicBezTo>
                      <a:pt x="16469" y="101931"/>
                      <a:pt x="22115" y="97440"/>
                      <a:pt x="23837" y="91108"/>
                    </a:cubicBezTo>
                    <a:lnTo>
                      <a:pt x="29988" y="76583"/>
                    </a:lnTo>
                    <a:lnTo>
                      <a:pt x="0" y="55"/>
                    </a:lnTo>
                    <a:lnTo>
                      <a:pt x="13651" y="55"/>
                    </a:lnTo>
                    <a:lnTo>
                      <a:pt x="34406" y="59055"/>
                    </a:lnTo>
                    <a:cubicBezTo>
                      <a:pt x="34658" y="59811"/>
                      <a:pt x="35185" y="61750"/>
                      <a:pt x="35985" y="64894"/>
                    </a:cubicBezTo>
                    <a:lnTo>
                      <a:pt x="36435" y="64894"/>
                    </a:lnTo>
                    <a:cubicBezTo>
                      <a:pt x="36687" y="63700"/>
                      <a:pt x="37191" y="61805"/>
                      <a:pt x="37926" y="59209"/>
                    </a:cubicBezTo>
                    <a:lnTo>
                      <a:pt x="59745" y="55"/>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8" name="Freeform: Shape 317">
                <a:extLst>
                  <a:ext uri="{FF2B5EF4-FFF2-40B4-BE49-F238E27FC236}">
                    <a16:creationId xmlns:a16="http://schemas.microsoft.com/office/drawing/2014/main" id="{72A983E5-C8B3-1435-3472-1150A678CD01}"/>
                  </a:ext>
                </a:extLst>
              </p:cNvPr>
              <p:cNvSpPr/>
              <p:nvPr/>
            </p:nvSpPr>
            <p:spPr>
              <a:xfrm>
                <a:off x="3493281" y="4916397"/>
                <a:ext cx="50880" cy="80184"/>
              </a:xfrm>
              <a:custGeom>
                <a:avLst/>
                <a:gdLst>
                  <a:gd name="connsiteX0" fmla="*/ 0 w 50880"/>
                  <a:gd name="connsiteY0" fmla="*/ 75636 h 80184"/>
                  <a:gd name="connsiteX1" fmla="*/ 0 w 50880"/>
                  <a:gd name="connsiteY1" fmla="*/ 62490 h 80184"/>
                  <a:gd name="connsiteX2" fmla="*/ 22115 w 50880"/>
                  <a:gd name="connsiteY2" fmla="*/ 69906 h 80184"/>
                  <a:gd name="connsiteX3" fmla="*/ 38299 w 50880"/>
                  <a:gd name="connsiteY3" fmla="*/ 59127 h 80184"/>
                  <a:gd name="connsiteX4" fmla="*/ 36917 w 50880"/>
                  <a:gd name="connsiteY4" fmla="*/ 53924 h 80184"/>
                  <a:gd name="connsiteX5" fmla="*/ 33167 w 50880"/>
                  <a:gd name="connsiteY5" fmla="*/ 50145 h 80184"/>
                  <a:gd name="connsiteX6" fmla="*/ 27619 w 50880"/>
                  <a:gd name="connsiteY6" fmla="*/ 47187 h 80184"/>
                  <a:gd name="connsiteX7" fmla="*/ 20767 w 50880"/>
                  <a:gd name="connsiteY7" fmla="*/ 44448 h 80184"/>
                  <a:gd name="connsiteX8" fmla="*/ 11809 w 50880"/>
                  <a:gd name="connsiteY8" fmla="*/ 40362 h 80184"/>
                  <a:gd name="connsiteX9" fmla="*/ 5362 w 50880"/>
                  <a:gd name="connsiteY9" fmla="*/ 35728 h 80184"/>
                  <a:gd name="connsiteX10" fmla="*/ 1458 w 50880"/>
                  <a:gd name="connsiteY10" fmla="*/ 29846 h 80184"/>
                  <a:gd name="connsiteX11" fmla="*/ 154 w 50880"/>
                  <a:gd name="connsiteY11" fmla="*/ 22178 h 80184"/>
                  <a:gd name="connsiteX12" fmla="*/ 2620 w 50880"/>
                  <a:gd name="connsiteY12" fmla="*/ 12625 h 80184"/>
                  <a:gd name="connsiteX13" fmla="*/ 9199 w 50880"/>
                  <a:gd name="connsiteY13" fmla="*/ 5669 h 80184"/>
                  <a:gd name="connsiteX14" fmla="*/ 18607 w 50880"/>
                  <a:gd name="connsiteY14" fmla="*/ 1430 h 80184"/>
                  <a:gd name="connsiteX15" fmla="*/ 29505 w 50880"/>
                  <a:gd name="connsiteY15" fmla="*/ 6 h 80184"/>
                  <a:gd name="connsiteX16" fmla="*/ 47344 w 50880"/>
                  <a:gd name="connsiteY16" fmla="*/ 3456 h 80184"/>
                  <a:gd name="connsiteX17" fmla="*/ 47344 w 50880"/>
                  <a:gd name="connsiteY17" fmla="*/ 15813 h 80184"/>
                  <a:gd name="connsiteX18" fmla="*/ 27861 w 50880"/>
                  <a:gd name="connsiteY18" fmla="*/ 10270 h 80184"/>
                  <a:gd name="connsiteX19" fmla="*/ 21644 w 50880"/>
                  <a:gd name="connsiteY19" fmla="*/ 11059 h 80184"/>
                  <a:gd name="connsiteX20" fmla="*/ 16885 w 50880"/>
                  <a:gd name="connsiteY20" fmla="*/ 13250 h 80184"/>
                  <a:gd name="connsiteX21" fmla="*/ 13804 w 50880"/>
                  <a:gd name="connsiteY21" fmla="*/ 16657 h 80184"/>
                  <a:gd name="connsiteX22" fmla="*/ 12708 w 50880"/>
                  <a:gd name="connsiteY22" fmla="*/ 21038 h 80184"/>
                  <a:gd name="connsiteX23" fmla="*/ 13804 w 50880"/>
                  <a:gd name="connsiteY23" fmla="*/ 26056 h 80184"/>
                  <a:gd name="connsiteX24" fmla="*/ 16995 w 50880"/>
                  <a:gd name="connsiteY24" fmla="*/ 29649 h 80184"/>
                  <a:gd name="connsiteX25" fmla="*/ 22093 w 50880"/>
                  <a:gd name="connsiteY25" fmla="*/ 32497 h 80184"/>
                  <a:gd name="connsiteX26" fmla="*/ 28913 w 50880"/>
                  <a:gd name="connsiteY26" fmla="*/ 35268 h 80184"/>
                  <a:gd name="connsiteX27" fmla="*/ 38057 w 50880"/>
                  <a:gd name="connsiteY27" fmla="*/ 39278 h 80184"/>
                  <a:gd name="connsiteX28" fmla="*/ 44954 w 50880"/>
                  <a:gd name="connsiteY28" fmla="*/ 43922 h 80184"/>
                  <a:gd name="connsiteX29" fmla="*/ 49340 w 50880"/>
                  <a:gd name="connsiteY29" fmla="*/ 49871 h 80184"/>
                  <a:gd name="connsiteX30" fmla="*/ 50875 w 50880"/>
                  <a:gd name="connsiteY30" fmla="*/ 57878 h 80184"/>
                  <a:gd name="connsiteX31" fmla="*/ 48364 w 50880"/>
                  <a:gd name="connsiteY31" fmla="*/ 67737 h 80184"/>
                  <a:gd name="connsiteX32" fmla="*/ 41654 w 50880"/>
                  <a:gd name="connsiteY32" fmla="*/ 74704 h 80184"/>
                  <a:gd name="connsiteX33" fmla="*/ 31983 w 50880"/>
                  <a:gd name="connsiteY33" fmla="*/ 78823 h 80184"/>
                  <a:gd name="connsiteX34" fmla="*/ 20514 w 50880"/>
                  <a:gd name="connsiteY34" fmla="*/ 80171 h 80184"/>
                  <a:gd name="connsiteX35" fmla="*/ 0 w 50880"/>
                  <a:gd name="connsiteY35" fmla="*/ 75636 h 8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80" h="80184">
                    <a:moveTo>
                      <a:pt x="0" y="75636"/>
                    </a:moveTo>
                    <a:lnTo>
                      <a:pt x="0" y="62490"/>
                    </a:lnTo>
                    <a:cubicBezTo>
                      <a:pt x="6359" y="67321"/>
                      <a:pt x="14133" y="69928"/>
                      <a:pt x="22115" y="69906"/>
                    </a:cubicBezTo>
                    <a:cubicBezTo>
                      <a:pt x="32904" y="69906"/>
                      <a:pt x="38299" y="66313"/>
                      <a:pt x="38299" y="59127"/>
                    </a:cubicBezTo>
                    <a:cubicBezTo>
                      <a:pt x="38353" y="57298"/>
                      <a:pt x="37882" y="55490"/>
                      <a:pt x="36917" y="53924"/>
                    </a:cubicBezTo>
                    <a:cubicBezTo>
                      <a:pt x="35919" y="52434"/>
                      <a:pt x="34648" y="51152"/>
                      <a:pt x="33167" y="50145"/>
                    </a:cubicBezTo>
                    <a:cubicBezTo>
                      <a:pt x="31435" y="48951"/>
                      <a:pt x="29571" y="47965"/>
                      <a:pt x="27619" y="47187"/>
                    </a:cubicBezTo>
                    <a:cubicBezTo>
                      <a:pt x="25492" y="46311"/>
                      <a:pt x="23234" y="45390"/>
                      <a:pt x="20767" y="44448"/>
                    </a:cubicBezTo>
                    <a:cubicBezTo>
                      <a:pt x="17708" y="43254"/>
                      <a:pt x="14714" y="41896"/>
                      <a:pt x="11809" y="40362"/>
                    </a:cubicBezTo>
                    <a:cubicBezTo>
                      <a:pt x="9440" y="39146"/>
                      <a:pt x="7269" y="37580"/>
                      <a:pt x="5362" y="35728"/>
                    </a:cubicBezTo>
                    <a:cubicBezTo>
                      <a:pt x="3673" y="34052"/>
                      <a:pt x="2346" y="32048"/>
                      <a:pt x="1458" y="29846"/>
                    </a:cubicBezTo>
                    <a:cubicBezTo>
                      <a:pt x="548" y="27392"/>
                      <a:pt x="110" y="24796"/>
                      <a:pt x="154" y="22178"/>
                    </a:cubicBezTo>
                    <a:cubicBezTo>
                      <a:pt x="88" y="18826"/>
                      <a:pt x="943" y="15528"/>
                      <a:pt x="2620" y="12625"/>
                    </a:cubicBezTo>
                    <a:cubicBezTo>
                      <a:pt x="4276" y="9854"/>
                      <a:pt x="6513" y="7477"/>
                      <a:pt x="9199" y="5669"/>
                    </a:cubicBezTo>
                    <a:cubicBezTo>
                      <a:pt x="12072" y="3741"/>
                      <a:pt x="15252" y="2306"/>
                      <a:pt x="18607" y="1430"/>
                    </a:cubicBezTo>
                    <a:cubicBezTo>
                      <a:pt x="22159" y="477"/>
                      <a:pt x="25821" y="6"/>
                      <a:pt x="29505" y="6"/>
                    </a:cubicBezTo>
                    <a:cubicBezTo>
                      <a:pt x="35623" y="-93"/>
                      <a:pt x="41709" y="1080"/>
                      <a:pt x="47344" y="3456"/>
                    </a:cubicBezTo>
                    <a:lnTo>
                      <a:pt x="47344" y="15813"/>
                    </a:lnTo>
                    <a:cubicBezTo>
                      <a:pt x="41544" y="12067"/>
                      <a:pt x="34757" y="10139"/>
                      <a:pt x="27861" y="10270"/>
                    </a:cubicBezTo>
                    <a:cubicBezTo>
                      <a:pt x="25766" y="10248"/>
                      <a:pt x="23672" y="10511"/>
                      <a:pt x="21644" y="11059"/>
                    </a:cubicBezTo>
                    <a:cubicBezTo>
                      <a:pt x="19944" y="11508"/>
                      <a:pt x="18332" y="12242"/>
                      <a:pt x="16885" y="13250"/>
                    </a:cubicBezTo>
                    <a:cubicBezTo>
                      <a:pt x="15613" y="14137"/>
                      <a:pt x="14561" y="15309"/>
                      <a:pt x="13804" y="16657"/>
                    </a:cubicBezTo>
                    <a:cubicBezTo>
                      <a:pt x="13070" y="18004"/>
                      <a:pt x="12697" y="19505"/>
                      <a:pt x="12708" y="21038"/>
                    </a:cubicBezTo>
                    <a:cubicBezTo>
                      <a:pt x="12653" y="22780"/>
                      <a:pt x="13026" y="24500"/>
                      <a:pt x="13804" y="26056"/>
                    </a:cubicBezTo>
                    <a:cubicBezTo>
                      <a:pt x="14594" y="27480"/>
                      <a:pt x="15679" y="28707"/>
                      <a:pt x="16995" y="29649"/>
                    </a:cubicBezTo>
                    <a:cubicBezTo>
                      <a:pt x="18574" y="30799"/>
                      <a:pt x="20284" y="31752"/>
                      <a:pt x="22093" y="32497"/>
                    </a:cubicBezTo>
                    <a:cubicBezTo>
                      <a:pt x="24089" y="33351"/>
                      <a:pt x="26358" y="34272"/>
                      <a:pt x="28913" y="35268"/>
                    </a:cubicBezTo>
                    <a:cubicBezTo>
                      <a:pt x="32027" y="36441"/>
                      <a:pt x="35086" y="37777"/>
                      <a:pt x="38057" y="39278"/>
                    </a:cubicBezTo>
                    <a:cubicBezTo>
                      <a:pt x="40557" y="40515"/>
                      <a:pt x="42871" y="42071"/>
                      <a:pt x="44954" y="43922"/>
                    </a:cubicBezTo>
                    <a:cubicBezTo>
                      <a:pt x="46807" y="45587"/>
                      <a:pt x="48298" y="47614"/>
                      <a:pt x="49340" y="49871"/>
                    </a:cubicBezTo>
                    <a:cubicBezTo>
                      <a:pt x="50414" y="52401"/>
                      <a:pt x="50941" y="55129"/>
                      <a:pt x="50875" y="57878"/>
                    </a:cubicBezTo>
                    <a:cubicBezTo>
                      <a:pt x="50952" y="61329"/>
                      <a:pt x="50085" y="64736"/>
                      <a:pt x="48364" y="67737"/>
                    </a:cubicBezTo>
                    <a:cubicBezTo>
                      <a:pt x="46686" y="70531"/>
                      <a:pt x="44384" y="72919"/>
                      <a:pt x="41654" y="74704"/>
                    </a:cubicBezTo>
                    <a:cubicBezTo>
                      <a:pt x="38693" y="76622"/>
                      <a:pt x="35415" y="78013"/>
                      <a:pt x="31983" y="78823"/>
                    </a:cubicBezTo>
                    <a:cubicBezTo>
                      <a:pt x="28233" y="79733"/>
                      <a:pt x="24374" y="80182"/>
                      <a:pt x="20514" y="80171"/>
                    </a:cubicBezTo>
                    <a:cubicBezTo>
                      <a:pt x="13410" y="80346"/>
                      <a:pt x="6370" y="78790"/>
                      <a:pt x="0" y="7563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9" name="Freeform: Shape 318">
                <a:extLst>
                  <a:ext uri="{FF2B5EF4-FFF2-40B4-BE49-F238E27FC236}">
                    <a16:creationId xmlns:a16="http://schemas.microsoft.com/office/drawing/2014/main" id="{5C3E7BF6-3678-3235-7BC5-5A6A2B4B2452}"/>
                  </a:ext>
                </a:extLst>
              </p:cNvPr>
              <p:cNvSpPr/>
              <p:nvPr/>
            </p:nvSpPr>
            <p:spPr>
              <a:xfrm>
                <a:off x="3559798" y="4882694"/>
                <a:ext cx="16030" cy="112109"/>
              </a:xfrm>
              <a:custGeom>
                <a:avLst/>
                <a:gdLst>
                  <a:gd name="connsiteX0" fmla="*/ 7942 w 16030"/>
                  <a:gd name="connsiteY0" fmla="*/ 15951 h 112109"/>
                  <a:gd name="connsiteX1" fmla="*/ 2328 w 16030"/>
                  <a:gd name="connsiteY1" fmla="*/ 13706 h 112109"/>
                  <a:gd name="connsiteX2" fmla="*/ 4 w 16030"/>
                  <a:gd name="connsiteY2" fmla="*/ 8020 h 112109"/>
                  <a:gd name="connsiteX3" fmla="*/ 7744 w 16030"/>
                  <a:gd name="connsiteY3" fmla="*/ 2 h 112109"/>
                  <a:gd name="connsiteX4" fmla="*/ 7942 w 16030"/>
                  <a:gd name="connsiteY4" fmla="*/ 2 h 112109"/>
                  <a:gd name="connsiteX5" fmla="*/ 13687 w 16030"/>
                  <a:gd name="connsiteY5" fmla="*/ 2291 h 112109"/>
                  <a:gd name="connsiteX6" fmla="*/ 13687 w 16030"/>
                  <a:gd name="connsiteY6" fmla="*/ 13629 h 112109"/>
                  <a:gd name="connsiteX7" fmla="*/ 7942 w 16030"/>
                  <a:gd name="connsiteY7" fmla="*/ 15951 h 112109"/>
                  <a:gd name="connsiteX8" fmla="*/ 13939 w 16030"/>
                  <a:gd name="connsiteY8" fmla="*/ 112110 h 112109"/>
                  <a:gd name="connsiteX9" fmla="*/ 1648 w 16030"/>
                  <a:gd name="connsiteY9" fmla="*/ 112110 h 112109"/>
                  <a:gd name="connsiteX10" fmla="*/ 1648 w 16030"/>
                  <a:gd name="connsiteY10" fmla="*/ 35429 h 112109"/>
                  <a:gd name="connsiteX11" fmla="*/ 13939 w 16030"/>
                  <a:gd name="connsiteY11" fmla="*/ 35429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30" h="112109">
                    <a:moveTo>
                      <a:pt x="7942" y="15951"/>
                    </a:moveTo>
                    <a:cubicBezTo>
                      <a:pt x="5848" y="15995"/>
                      <a:pt x="3819" y="15185"/>
                      <a:pt x="2328" y="13706"/>
                    </a:cubicBezTo>
                    <a:cubicBezTo>
                      <a:pt x="782" y="12227"/>
                      <a:pt x="-62" y="10156"/>
                      <a:pt x="4" y="8020"/>
                    </a:cubicBezTo>
                    <a:cubicBezTo>
                      <a:pt x="-73" y="3672"/>
                      <a:pt x="3392" y="79"/>
                      <a:pt x="7744" y="2"/>
                    </a:cubicBezTo>
                    <a:cubicBezTo>
                      <a:pt x="7810" y="2"/>
                      <a:pt x="7876" y="2"/>
                      <a:pt x="7942" y="2"/>
                    </a:cubicBezTo>
                    <a:cubicBezTo>
                      <a:pt x="10091" y="-42"/>
                      <a:pt x="12163" y="780"/>
                      <a:pt x="13687" y="2291"/>
                    </a:cubicBezTo>
                    <a:cubicBezTo>
                      <a:pt x="16812" y="5424"/>
                      <a:pt x="16812" y="10496"/>
                      <a:pt x="13687" y="13629"/>
                    </a:cubicBezTo>
                    <a:cubicBezTo>
                      <a:pt x="12163" y="15152"/>
                      <a:pt x="10091" y="15984"/>
                      <a:pt x="7942" y="15951"/>
                    </a:cubicBezTo>
                    <a:close/>
                    <a:moveTo>
                      <a:pt x="13939" y="112110"/>
                    </a:moveTo>
                    <a:lnTo>
                      <a:pt x="1648" y="112110"/>
                    </a:lnTo>
                    <a:lnTo>
                      <a:pt x="1648" y="35429"/>
                    </a:lnTo>
                    <a:lnTo>
                      <a:pt x="13939" y="35429"/>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0" name="Freeform: Shape 319">
                <a:extLst>
                  <a:ext uri="{FF2B5EF4-FFF2-40B4-BE49-F238E27FC236}">
                    <a16:creationId xmlns:a16="http://schemas.microsoft.com/office/drawing/2014/main" id="{1EFF93CE-A96C-F711-42D1-5624B16DBDE2}"/>
                  </a:ext>
                </a:extLst>
              </p:cNvPr>
              <p:cNvSpPr/>
              <p:nvPr/>
            </p:nvSpPr>
            <p:spPr>
              <a:xfrm>
                <a:off x="3591914" y="4916276"/>
                <a:ext cx="57763" cy="80353"/>
              </a:xfrm>
              <a:custGeom>
                <a:avLst/>
                <a:gdLst>
                  <a:gd name="connsiteX0" fmla="*/ 57610 w 57763"/>
                  <a:gd name="connsiteY0" fmla="*/ 75001 h 80353"/>
                  <a:gd name="connsiteX1" fmla="*/ 36624 w 57763"/>
                  <a:gd name="connsiteY1" fmla="*/ 80325 h 80353"/>
                  <a:gd name="connsiteX2" fmla="*/ 10134 w 57763"/>
                  <a:gd name="connsiteY2" fmla="*/ 69644 h 80353"/>
                  <a:gd name="connsiteX3" fmla="*/ 47 w 57763"/>
                  <a:gd name="connsiteY3" fmla="*/ 41984 h 80353"/>
                  <a:gd name="connsiteX4" fmla="*/ 10913 w 57763"/>
                  <a:gd name="connsiteY4" fmla="*/ 11541 h 80353"/>
                  <a:gd name="connsiteX5" fmla="*/ 39925 w 57763"/>
                  <a:gd name="connsiteY5" fmla="*/ 39 h 80353"/>
                  <a:gd name="connsiteX6" fmla="*/ 57764 w 57763"/>
                  <a:gd name="connsiteY6" fmla="*/ 3786 h 80353"/>
                  <a:gd name="connsiteX7" fmla="*/ 57764 w 57763"/>
                  <a:gd name="connsiteY7" fmla="*/ 16372 h 80353"/>
                  <a:gd name="connsiteX8" fmla="*/ 39475 w 57763"/>
                  <a:gd name="connsiteY8" fmla="*/ 10380 h 80353"/>
                  <a:gd name="connsiteX9" fmla="*/ 20178 w 57763"/>
                  <a:gd name="connsiteY9" fmla="*/ 18804 h 80353"/>
                  <a:gd name="connsiteX10" fmla="*/ 12634 w 57763"/>
                  <a:gd name="connsiteY10" fmla="*/ 40932 h 80353"/>
                  <a:gd name="connsiteX11" fmla="*/ 19728 w 57763"/>
                  <a:gd name="connsiteY11" fmla="*/ 62195 h 80353"/>
                  <a:gd name="connsiteX12" fmla="*/ 38719 w 57763"/>
                  <a:gd name="connsiteY12" fmla="*/ 69983 h 80353"/>
                  <a:gd name="connsiteX13" fmla="*/ 57610 w 57763"/>
                  <a:gd name="connsiteY13" fmla="*/ 63323 h 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53">
                    <a:moveTo>
                      <a:pt x="57610" y="75001"/>
                    </a:moveTo>
                    <a:cubicBezTo>
                      <a:pt x="51240" y="78670"/>
                      <a:pt x="43981" y="80522"/>
                      <a:pt x="36624" y="80325"/>
                    </a:cubicBezTo>
                    <a:cubicBezTo>
                      <a:pt x="26669" y="80730"/>
                      <a:pt x="17020" y="76841"/>
                      <a:pt x="10134" y="69644"/>
                    </a:cubicBezTo>
                    <a:cubicBezTo>
                      <a:pt x="3249" y="62118"/>
                      <a:pt x="-370" y="52171"/>
                      <a:pt x="47" y="41984"/>
                    </a:cubicBezTo>
                    <a:cubicBezTo>
                      <a:pt x="-479" y="30799"/>
                      <a:pt x="3424" y="19867"/>
                      <a:pt x="10913" y="11541"/>
                    </a:cubicBezTo>
                    <a:cubicBezTo>
                      <a:pt x="18489" y="3731"/>
                      <a:pt x="29048" y="-454"/>
                      <a:pt x="39925" y="39"/>
                    </a:cubicBezTo>
                    <a:cubicBezTo>
                      <a:pt x="46076" y="-92"/>
                      <a:pt x="52183" y="1189"/>
                      <a:pt x="57764" y="3786"/>
                    </a:cubicBezTo>
                    <a:lnTo>
                      <a:pt x="57764" y="16372"/>
                    </a:lnTo>
                    <a:cubicBezTo>
                      <a:pt x="52446" y="12505"/>
                      <a:pt x="46054" y="10402"/>
                      <a:pt x="39475" y="10380"/>
                    </a:cubicBezTo>
                    <a:cubicBezTo>
                      <a:pt x="32107" y="10172"/>
                      <a:pt x="25035" y="13261"/>
                      <a:pt x="20178" y="18804"/>
                    </a:cubicBezTo>
                    <a:cubicBezTo>
                      <a:pt x="14959" y="24960"/>
                      <a:pt x="12261" y="32870"/>
                      <a:pt x="12634" y="40932"/>
                    </a:cubicBezTo>
                    <a:cubicBezTo>
                      <a:pt x="12207" y="48666"/>
                      <a:pt x="14739" y="56268"/>
                      <a:pt x="19728" y="62195"/>
                    </a:cubicBezTo>
                    <a:cubicBezTo>
                      <a:pt x="24607" y="67453"/>
                      <a:pt x="31548" y="70301"/>
                      <a:pt x="38719" y="69983"/>
                    </a:cubicBezTo>
                    <a:cubicBezTo>
                      <a:pt x="45582" y="69940"/>
                      <a:pt x="52238" y="67595"/>
                      <a:pt x="57610" y="633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1" name="Freeform: Shape 320">
                <a:extLst>
                  <a:ext uri="{FF2B5EF4-FFF2-40B4-BE49-F238E27FC236}">
                    <a16:creationId xmlns:a16="http://schemas.microsoft.com/office/drawing/2014/main" id="{BCE2FF31-CE0E-3816-102B-7C91923F4614}"/>
                  </a:ext>
                </a:extLst>
              </p:cNvPr>
              <p:cNvSpPr/>
              <p:nvPr/>
            </p:nvSpPr>
            <p:spPr>
              <a:xfrm>
                <a:off x="3662815" y="4916307"/>
                <a:ext cx="60664" cy="80337"/>
              </a:xfrm>
              <a:custGeom>
                <a:avLst/>
                <a:gdLst>
                  <a:gd name="connsiteX0" fmla="*/ 60653 w 60664"/>
                  <a:gd name="connsiteY0" fmla="*/ 78498 h 80337"/>
                  <a:gd name="connsiteX1" fmla="*/ 48362 w 60664"/>
                  <a:gd name="connsiteY1" fmla="*/ 78498 h 80337"/>
                  <a:gd name="connsiteX2" fmla="*/ 48362 w 60664"/>
                  <a:gd name="connsiteY2" fmla="*/ 66513 h 80337"/>
                  <a:gd name="connsiteX3" fmla="*/ 48066 w 60664"/>
                  <a:gd name="connsiteY3" fmla="*/ 66513 h 80337"/>
                  <a:gd name="connsiteX4" fmla="*/ 24449 w 60664"/>
                  <a:gd name="connsiteY4" fmla="*/ 80294 h 80337"/>
                  <a:gd name="connsiteX5" fmla="*/ 6500 w 60664"/>
                  <a:gd name="connsiteY5" fmla="*/ 74225 h 80337"/>
                  <a:gd name="connsiteX6" fmla="*/ 20 w 60664"/>
                  <a:gd name="connsiteY6" fmla="*/ 58122 h 80337"/>
                  <a:gd name="connsiteX7" fmla="*/ 25348 w 60664"/>
                  <a:gd name="connsiteY7" fmla="*/ 33113 h 80337"/>
                  <a:gd name="connsiteX8" fmla="*/ 48373 w 60664"/>
                  <a:gd name="connsiteY8" fmla="*/ 29892 h 80337"/>
                  <a:gd name="connsiteX9" fmla="*/ 32562 w 60664"/>
                  <a:gd name="connsiteY9" fmla="*/ 10350 h 80337"/>
                  <a:gd name="connsiteX10" fmla="*/ 7530 w 60664"/>
                  <a:gd name="connsiteY10" fmla="*/ 19781 h 80337"/>
                  <a:gd name="connsiteX11" fmla="*/ 7530 w 60664"/>
                  <a:gd name="connsiteY11" fmla="*/ 7206 h 80337"/>
                  <a:gd name="connsiteX12" fmla="*/ 33604 w 60664"/>
                  <a:gd name="connsiteY12" fmla="*/ 9 h 80337"/>
                  <a:gd name="connsiteX13" fmla="*/ 60664 w 60664"/>
                  <a:gd name="connsiteY13" fmla="*/ 28622 h 80337"/>
                  <a:gd name="connsiteX14" fmla="*/ 48362 w 60664"/>
                  <a:gd name="connsiteY14" fmla="*/ 39708 h 80337"/>
                  <a:gd name="connsiteX15" fmla="*/ 29854 w 60664"/>
                  <a:gd name="connsiteY15" fmla="*/ 42249 h 80337"/>
                  <a:gd name="connsiteX16" fmla="*/ 16960 w 60664"/>
                  <a:gd name="connsiteY16" fmla="*/ 46478 h 80337"/>
                  <a:gd name="connsiteX17" fmla="*/ 12574 w 60664"/>
                  <a:gd name="connsiteY17" fmla="*/ 57224 h 80337"/>
                  <a:gd name="connsiteX18" fmla="*/ 16587 w 60664"/>
                  <a:gd name="connsiteY18" fmla="*/ 66404 h 80337"/>
                  <a:gd name="connsiteX19" fmla="*/ 27266 w 60664"/>
                  <a:gd name="connsiteY19" fmla="*/ 69953 h 80337"/>
                  <a:gd name="connsiteX20" fmla="*/ 42364 w 60664"/>
                  <a:gd name="connsiteY20" fmla="*/ 63555 h 80337"/>
                  <a:gd name="connsiteX21" fmla="*/ 48329 w 60664"/>
                  <a:gd name="connsiteY21" fmla="*/ 47343 h 80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4" h="80337">
                    <a:moveTo>
                      <a:pt x="60653" y="78498"/>
                    </a:moveTo>
                    <a:lnTo>
                      <a:pt x="48362" y="78498"/>
                    </a:lnTo>
                    <a:lnTo>
                      <a:pt x="48362" y="66513"/>
                    </a:lnTo>
                    <a:lnTo>
                      <a:pt x="48066" y="66513"/>
                    </a:lnTo>
                    <a:cubicBezTo>
                      <a:pt x="43483" y="75244"/>
                      <a:pt x="34316" y="80601"/>
                      <a:pt x="24449" y="80294"/>
                    </a:cubicBezTo>
                    <a:cubicBezTo>
                      <a:pt x="17903" y="80677"/>
                      <a:pt x="11467" y="78498"/>
                      <a:pt x="6500" y="74225"/>
                    </a:cubicBezTo>
                    <a:cubicBezTo>
                      <a:pt x="2114" y="70041"/>
                      <a:pt x="-243" y="64169"/>
                      <a:pt x="20" y="58122"/>
                    </a:cubicBezTo>
                    <a:cubicBezTo>
                      <a:pt x="20" y="43794"/>
                      <a:pt x="8463" y="35457"/>
                      <a:pt x="25348" y="33113"/>
                    </a:cubicBezTo>
                    <a:lnTo>
                      <a:pt x="48373" y="29892"/>
                    </a:lnTo>
                    <a:cubicBezTo>
                      <a:pt x="48373" y="16868"/>
                      <a:pt x="43099" y="10361"/>
                      <a:pt x="32562" y="10350"/>
                    </a:cubicBezTo>
                    <a:cubicBezTo>
                      <a:pt x="23341" y="10339"/>
                      <a:pt x="14438" y="13691"/>
                      <a:pt x="7530" y="19781"/>
                    </a:cubicBezTo>
                    <a:lnTo>
                      <a:pt x="7530" y="7206"/>
                    </a:lnTo>
                    <a:cubicBezTo>
                      <a:pt x="15337" y="2331"/>
                      <a:pt x="24394" y="-167"/>
                      <a:pt x="33604" y="9"/>
                    </a:cubicBezTo>
                    <a:cubicBezTo>
                      <a:pt x="51640" y="9"/>
                      <a:pt x="60664" y="9550"/>
                      <a:pt x="60664" y="28622"/>
                    </a:cubicBezTo>
                    <a:close/>
                    <a:moveTo>
                      <a:pt x="48362" y="39708"/>
                    </a:moveTo>
                    <a:lnTo>
                      <a:pt x="29854" y="42249"/>
                    </a:lnTo>
                    <a:cubicBezTo>
                      <a:pt x="25293" y="42665"/>
                      <a:pt x="20885" y="44111"/>
                      <a:pt x="16960" y="46478"/>
                    </a:cubicBezTo>
                    <a:cubicBezTo>
                      <a:pt x="13780" y="49085"/>
                      <a:pt x="12125" y="53127"/>
                      <a:pt x="12574" y="57224"/>
                    </a:cubicBezTo>
                    <a:cubicBezTo>
                      <a:pt x="12475" y="60729"/>
                      <a:pt x="13945" y="64092"/>
                      <a:pt x="16587" y="66404"/>
                    </a:cubicBezTo>
                    <a:cubicBezTo>
                      <a:pt x="19580" y="68880"/>
                      <a:pt x="23385" y="70150"/>
                      <a:pt x="27266" y="69953"/>
                    </a:cubicBezTo>
                    <a:cubicBezTo>
                      <a:pt x="32990" y="70106"/>
                      <a:pt x="38494" y="67773"/>
                      <a:pt x="42364" y="63555"/>
                    </a:cubicBezTo>
                    <a:cubicBezTo>
                      <a:pt x="46399" y="59141"/>
                      <a:pt x="48537" y="53313"/>
                      <a:pt x="48329" y="4734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2" name="Freeform: Shape 321">
                <a:extLst>
                  <a:ext uri="{FF2B5EF4-FFF2-40B4-BE49-F238E27FC236}">
                    <a16:creationId xmlns:a16="http://schemas.microsoft.com/office/drawing/2014/main" id="{33636226-4C73-B31C-ACBE-7E5778B1E9EC}"/>
                  </a:ext>
                </a:extLst>
              </p:cNvPr>
              <p:cNvSpPr/>
              <p:nvPr/>
            </p:nvSpPr>
            <p:spPr>
              <a:xfrm>
                <a:off x="3745615" y="4881272"/>
                <a:ext cx="12291" cy="113532"/>
              </a:xfrm>
              <a:custGeom>
                <a:avLst/>
                <a:gdLst>
                  <a:gd name="connsiteX0" fmla="*/ 12291 w 12291"/>
                  <a:gd name="connsiteY0" fmla="*/ 113532 h 113532"/>
                  <a:gd name="connsiteX1" fmla="*/ 0 w 12291"/>
                  <a:gd name="connsiteY1" fmla="*/ 113532 h 113532"/>
                  <a:gd name="connsiteX2" fmla="*/ 0 w 12291"/>
                  <a:gd name="connsiteY2" fmla="*/ 0 h 113532"/>
                  <a:gd name="connsiteX3" fmla="*/ 12291 w 12291"/>
                  <a:gd name="connsiteY3" fmla="*/ 0 h 113532"/>
                </a:gdLst>
                <a:ahLst/>
                <a:cxnLst>
                  <a:cxn ang="0">
                    <a:pos x="connsiteX0" y="connsiteY0"/>
                  </a:cxn>
                  <a:cxn ang="0">
                    <a:pos x="connsiteX1" y="connsiteY1"/>
                  </a:cxn>
                  <a:cxn ang="0">
                    <a:pos x="connsiteX2" y="connsiteY2"/>
                  </a:cxn>
                  <a:cxn ang="0">
                    <a:pos x="connsiteX3" y="connsiteY3"/>
                  </a:cxn>
                </a:cxnLst>
                <a:rect l="l" t="t" r="r" b="b"/>
                <a:pathLst>
                  <a:path w="12291" h="113532">
                    <a:moveTo>
                      <a:pt x="12291" y="113532"/>
                    </a:moveTo>
                    <a:lnTo>
                      <a:pt x="0" y="113532"/>
                    </a:lnTo>
                    <a:lnTo>
                      <a:pt x="0" y="0"/>
                    </a:lnTo>
                    <a:lnTo>
                      <a:pt x="12291"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3" name="Freeform: Shape 322">
                <a:extLst>
                  <a:ext uri="{FF2B5EF4-FFF2-40B4-BE49-F238E27FC236}">
                    <a16:creationId xmlns:a16="http://schemas.microsoft.com/office/drawing/2014/main" id="{C66AE98B-03CF-2ADD-2DA8-EF3398C76C34}"/>
                  </a:ext>
                </a:extLst>
              </p:cNvPr>
              <p:cNvSpPr/>
              <p:nvPr/>
            </p:nvSpPr>
            <p:spPr>
              <a:xfrm>
                <a:off x="3824833" y="4881272"/>
                <a:ext cx="63757" cy="113532"/>
              </a:xfrm>
              <a:custGeom>
                <a:avLst/>
                <a:gdLst>
                  <a:gd name="connsiteX0" fmla="*/ 63714 w 63757"/>
                  <a:gd name="connsiteY0" fmla="*/ 113532 h 113532"/>
                  <a:gd name="connsiteX1" fmla="*/ 51423 w 63757"/>
                  <a:gd name="connsiteY1" fmla="*/ 113532 h 113532"/>
                  <a:gd name="connsiteX2" fmla="*/ 51423 w 63757"/>
                  <a:gd name="connsiteY2" fmla="*/ 69342 h 113532"/>
                  <a:gd name="connsiteX3" fmla="*/ 33584 w 63757"/>
                  <a:gd name="connsiteY3" fmla="*/ 45384 h 113532"/>
                  <a:gd name="connsiteX4" fmla="*/ 18442 w 63757"/>
                  <a:gd name="connsiteY4" fmla="*/ 52308 h 113532"/>
                  <a:gd name="connsiteX5" fmla="*/ 12291 w 63757"/>
                  <a:gd name="connsiteY5" fmla="*/ 70098 h 113532"/>
                  <a:gd name="connsiteX6" fmla="*/ 12291 w 63757"/>
                  <a:gd name="connsiteY6" fmla="*/ 113532 h 113532"/>
                  <a:gd name="connsiteX7" fmla="*/ 0 w 63757"/>
                  <a:gd name="connsiteY7" fmla="*/ 113532 h 113532"/>
                  <a:gd name="connsiteX8" fmla="*/ 0 w 63757"/>
                  <a:gd name="connsiteY8" fmla="*/ 0 h 113532"/>
                  <a:gd name="connsiteX9" fmla="*/ 12302 w 63757"/>
                  <a:gd name="connsiteY9" fmla="*/ 0 h 113532"/>
                  <a:gd name="connsiteX10" fmla="*/ 12302 w 63757"/>
                  <a:gd name="connsiteY10" fmla="*/ 49580 h 113532"/>
                  <a:gd name="connsiteX11" fmla="*/ 12609 w 63757"/>
                  <a:gd name="connsiteY11" fmla="*/ 49580 h 113532"/>
                  <a:gd name="connsiteX12" fmla="*/ 37827 w 63757"/>
                  <a:gd name="connsiteY12" fmla="*/ 35043 h 113532"/>
                  <a:gd name="connsiteX13" fmla="*/ 63758 w 63757"/>
                  <a:gd name="connsiteY13" fmla="*/ 66275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57" h="113532">
                    <a:moveTo>
                      <a:pt x="63714" y="113532"/>
                    </a:moveTo>
                    <a:lnTo>
                      <a:pt x="51423" y="113532"/>
                    </a:lnTo>
                    <a:lnTo>
                      <a:pt x="51423" y="69342"/>
                    </a:lnTo>
                    <a:cubicBezTo>
                      <a:pt x="51423" y="53370"/>
                      <a:pt x="45480" y="45384"/>
                      <a:pt x="33584" y="45384"/>
                    </a:cubicBezTo>
                    <a:cubicBezTo>
                      <a:pt x="27751" y="45308"/>
                      <a:pt x="22192" y="47849"/>
                      <a:pt x="18442" y="52308"/>
                    </a:cubicBezTo>
                    <a:cubicBezTo>
                      <a:pt x="14232" y="57259"/>
                      <a:pt x="12028" y="63602"/>
                      <a:pt x="12291" y="70098"/>
                    </a:cubicBezTo>
                    <a:lnTo>
                      <a:pt x="12291" y="113532"/>
                    </a:lnTo>
                    <a:lnTo>
                      <a:pt x="0" y="113532"/>
                    </a:lnTo>
                    <a:lnTo>
                      <a:pt x="0" y="0"/>
                    </a:lnTo>
                    <a:lnTo>
                      <a:pt x="12302" y="0"/>
                    </a:lnTo>
                    <a:lnTo>
                      <a:pt x="12302" y="49580"/>
                    </a:lnTo>
                    <a:lnTo>
                      <a:pt x="12609" y="49580"/>
                    </a:lnTo>
                    <a:cubicBezTo>
                      <a:pt x="17620" y="40389"/>
                      <a:pt x="27356" y="34781"/>
                      <a:pt x="37827" y="35043"/>
                    </a:cubicBezTo>
                    <a:cubicBezTo>
                      <a:pt x="55118" y="35043"/>
                      <a:pt x="63758" y="45450"/>
                      <a:pt x="63758" y="6627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4" name="Freeform: Shape 323">
                <a:extLst>
                  <a:ext uri="{FF2B5EF4-FFF2-40B4-BE49-F238E27FC236}">
                    <a16:creationId xmlns:a16="http://schemas.microsoft.com/office/drawing/2014/main" id="{5B2B70C6-7BCD-7996-7116-7C8F18C48E4B}"/>
                  </a:ext>
                </a:extLst>
              </p:cNvPr>
              <p:cNvSpPr/>
              <p:nvPr/>
            </p:nvSpPr>
            <p:spPr>
              <a:xfrm>
                <a:off x="3906006" y="4916273"/>
                <a:ext cx="75703" cy="80368"/>
              </a:xfrm>
              <a:custGeom>
                <a:avLst/>
                <a:gdLst>
                  <a:gd name="connsiteX0" fmla="*/ 37407 w 75703"/>
                  <a:gd name="connsiteY0" fmla="*/ 80328 h 80368"/>
                  <a:gd name="connsiteX1" fmla="*/ 10226 w 75703"/>
                  <a:gd name="connsiteY1" fmla="*/ 69581 h 80368"/>
                  <a:gd name="connsiteX2" fmla="*/ 73 w 75703"/>
                  <a:gd name="connsiteY2" fmla="*/ 41100 h 80368"/>
                  <a:gd name="connsiteX3" fmla="*/ 10643 w 75703"/>
                  <a:gd name="connsiteY3" fmla="*/ 10920 h 80368"/>
                  <a:gd name="connsiteX4" fmla="*/ 39205 w 75703"/>
                  <a:gd name="connsiteY4" fmla="*/ 53 h 80368"/>
                  <a:gd name="connsiteX5" fmla="*/ 65991 w 75703"/>
                  <a:gd name="connsiteY5" fmla="*/ 10613 h 80368"/>
                  <a:gd name="connsiteX6" fmla="*/ 75629 w 75703"/>
                  <a:gd name="connsiteY6" fmla="*/ 39895 h 80368"/>
                  <a:gd name="connsiteX7" fmla="*/ 65245 w 75703"/>
                  <a:gd name="connsiteY7" fmla="*/ 69286 h 80368"/>
                  <a:gd name="connsiteX8" fmla="*/ 37407 w 75703"/>
                  <a:gd name="connsiteY8" fmla="*/ 80328 h 80368"/>
                  <a:gd name="connsiteX9" fmla="*/ 38306 w 75703"/>
                  <a:gd name="connsiteY9" fmla="*/ 10383 h 80368"/>
                  <a:gd name="connsiteX10" fmla="*/ 19568 w 75703"/>
                  <a:gd name="connsiteY10" fmla="*/ 18435 h 80368"/>
                  <a:gd name="connsiteX11" fmla="*/ 12671 w 75703"/>
                  <a:gd name="connsiteY11" fmla="*/ 40639 h 80368"/>
                  <a:gd name="connsiteX12" fmla="*/ 19645 w 75703"/>
                  <a:gd name="connsiteY12" fmla="*/ 62121 h 80368"/>
                  <a:gd name="connsiteX13" fmla="*/ 38284 w 75703"/>
                  <a:gd name="connsiteY13" fmla="*/ 69987 h 80368"/>
                  <a:gd name="connsiteX14" fmla="*/ 56606 w 75703"/>
                  <a:gd name="connsiteY14" fmla="*/ 62318 h 80368"/>
                  <a:gd name="connsiteX15" fmla="*/ 63020 w 75703"/>
                  <a:gd name="connsiteY15" fmla="*/ 40409 h 80368"/>
                  <a:gd name="connsiteX16" fmla="*/ 56606 w 75703"/>
                  <a:gd name="connsiteY16" fmla="*/ 18249 h 80368"/>
                  <a:gd name="connsiteX17" fmla="*/ 38306 w 75703"/>
                  <a:gd name="connsiteY17" fmla="*/ 10383 h 80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703" h="80368">
                    <a:moveTo>
                      <a:pt x="37407" y="80328"/>
                    </a:moveTo>
                    <a:cubicBezTo>
                      <a:pt x="27221" y="80788"/>
                      <a:pt x="17331" y="76877"/>
                      <a:pt x="10226" y="69581"/>
                    </a:cubicBezTo>
                    <a:cubicBezTo>
                      <a:pt x="3231" y="61793"/>
                      <a:pt x="-420" y="51561"/>
                      <a:pt x="73" y="41100"/>
                    </a:cubicBezTo>
                    <a:cubicBezTo>
                      <a:pt x="-585" y="30036"/>
                      <a:pt x="3220" y="19169"/>
                      <a:pt x="10643" y="10920"/>
                    </a:cubicBezTo>
                    <a:cubicBezTo>
                      <a:pt x="18219" y="3460"/>
                      <a:pt x="28581" y="-473"/>
                      <a:pt x="39205" y="53"/>
                    </a:cubicBezTo>
                    <a:cubicBezTo>
                      <a:pt x="49248" y="-505"/>
                      <a:pt x="59039" y="3351"/>
                      <a:pt x="65991" y="10613"/>
                    </a:cubicBezTo>
                    <a:cubicBezTo>
                      <a:pt x="72811" y="18796"/>
                      <a:pt x="76265" y="29269"/>
                      <a:pt x="75629" y="39895"/>
                    </a:cubicBezTo>
                    <a:cubicBezTo>
                      <a:pt x="76155" y="50674"/>
                      <a:pt x="72427" y="61223"/>
                      <a:pt x="65245" y="69286"/>
                    </a:cubicBezTo>
                    <a:cubicBezTo>
                      <a:pt x="57987" y="76789"/>
                      <a:pt x="47845" y="80820"/>
                      <a:pt x="37407" y="80328"/>
                    </a:cubicBezTo>
                    <a:close/>
                    <a:moveTo>
                      <a:pt x="38306" y="10383"/>
                    </a:moveTo>
                    <a:cubicBezTo>
                      <a:pt x="31157" y="10055"/>
                      <a:pt x="24249" y="13023"/>
                      <a:pt x="19568" y="18435"/>
                    </a:cubicBezTo>
                    <a:cubicBezTo>
                      <a:pt x="14645" y="24756"/>
                      <a:pt x="12200" y="32643"/>
                      <a:pt x="12671" y="40639"/>
                    </a:cubicBezTo>
                    <a:cubicBezTo>
                      <a:pt x="12233" y="48417"/>
                      <a:pt x="14721" y="56085"/>
                      <a:pt x="19645" y="62121"/>
                    </a:cubicBezTo>
                    <a:cubicBezTo>
                      <a:pt x="24370" y="67401"/>
                      <a:pt x="31201" y="70283"/>
                      <a:pt x="38284" y="69987"/>
                    </a:cubicBezTo>
                    <a:cubicBezTo>
                      <a:pt x="45246" y="70414"/>
                      <a:pt x="52022" y="67577"/>
                      <a:pt x="56606" y="62318"/>
                    </a:cubicBezTo>
                    <a:cubicBezTo>
                      <a:pt x="61244" y="55987"/>
                      <a:pt x="63513" y="48242"/>
                      <a:pt x="63020" y="40409"/>
                    </a:cubicBezTo>
                    <a:cubicBezTo>
                      <a:pt x="63524" y="32500"/>
                      <a:pt x="61254" y="24668"/>
                      <a:pt x="56606" y="18249"/>
                    </a:cubicBezTo>
                    <a:cubicBezTo>
                      <a:pt x="52077" y="12914"/>
                      <a:pt x="45301" y="10000"/>
                      <a:pt x="38306" y="1038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5" name="Freeform: Shape 324">
                <a:extLst>
                  <a:ext uri="{FF2B5EF4-FFF2-40B4-BE49-F238E27FC236}">
                    <a16:creationId xmlns:a16="http://schemas.microsoft.com/office/drawing/2014/main" id="{CFB6A1C3-737F-E413-F457-12075511A325}"/>
                  </a:ext>
                </a:extLst>
              </p:cNvPr>
              <p:cNvSpPr/>
              <p:nvPr/>
            </p:nvSpPr>
            <p:spPr>
              <a:xfrm>
                <a:off x="3995505" y="4916397"/>
                <a:ext cx="50923" cy="80185"/>
              </a:xfrm>
              <a:custGeom>
                <a:avLst/>
                <a:gdLst>
                  <a:gd name="connsiteX0" fmla="*/ 0 w 50923"/>
                  <a:gd name="connsiteY0" fmla="*/ 75636 h 80185"/>
                  <a:gd name="connsiteX1" fmla="*/ 0 w 50923"/>
                  <a:gd name="connsiteY1" fmla="*/ 62490 h 80185"/>
                  <a:gd name="connsiteX2" fmla="*/ 22104 w 50923"/>
                  <a:gd name="connsiteY2" fmla="*/ 69906 h 80185"/>
                  <a:gd name="connsiteX3" fmla="*/ 38298 w 50923"/>
                  <a:gd name="connsiteY3" fmla="*/ 59127 h 80185"/>
                  <a:gd name="connsiteX4" fmla="*/ 36906 w 50923"/>
                  <a:gd name="connsiteY4" fmla="*/ 53924 h 80185"/>
                  <a:gd name="connsiteX5" fmla="*/ 33156 w 50923"/>
                  <a:gd name="connsiteY5" fmla="*/ 50145 h 80185"/>
                  <a:gd name="connsiteX6" fmla="*/ 27608 w 50923"/>
                  <a:gd name="connsiteY6" fmla="*/ 47187 h 80185"/>
                  <a:gd name="connsiteX7" fmla="*/ 20756 w 50923"/>
                  <a:gd name="connsiteY7" fmla="*/ 44448 h 80185"/>
                  <a:gd name="connsiteX8" fmla="*/ 11798 w 50923"/>
                  <a:gd name="connsiteY8" fmla="*/ 40362 h 80185"/>
                  <a:gd name="connsiteX9" fmla="*/ 5351 w 50923"/>
                  <a:gd name="connsiteY9" fmla="*/ 35728 h 80185"/>
                  <a:gd name="connsiteX10" fmla="*/ 1458 w 50923"/>
                  <a:gd name="connsiteY10" fmla="*/ 29846 h 80185"/>
                  <a:gd name="connsiteX11" fmla="*/ 143 w 50923"/>
                  <a:gd name="connsiteY11" fmla="*/ 22178 h 80185"/>
                  <a:gd name="connsiteX12" fmla="*/ 2620 w 50923"/>
                  <a:gd name="connsiteY12" fmla="*/ 12625 h 80185"/>
                  <a:gd name="connsiteX13" fmla="*/ 9199 w 50923"/>
                  <a:gd name="connsiteY13" fmla="*/ 5669 h 80185"/>
                  <a:gd name="connsiteX14" fmla="*/ 18595 w 50923"/>
                  <a:gd name="connsiteY14" fmla="*/ 1430 h 80185"/>
                  <a:gd name="connsiteX15" fmla="*/ 29560 w 50923"/>
                  <a:gd name="connsiteY15" fmla="*/ 6 h 80185"/>
                  <a:gd name="connsiteX16" fmla="*/ 47399 w 50923"/>
                  <a:gd name="connsiteY16" fmla="*/ 3456 h 80185"/>
                  <a:gd name="connsiteX17" fmla="*/ 47399 w 50923"/>
                  <a:gd name="connsiteY17" fmla="*/ 15813 h 80185"/>
                  <a:gd name="connsiteX18" fmla="*/ 27915 w 50923"/>
                  <a:gd name="connsiteY18" fmla="*/ 10270 h 80185"/>
                  <a:gd name="connsiteX19" fmla="*/ 21688 w 50923"/>
                  <a:gd name="connsiteY19" fmla="*/ 11059 h 80185"/>
                  <a:gd name="connsiteX20" fmla="*/ 16929 w 50923"/>
                  <a:gd name="connsiteY20" fmla="*/ 13250 h 80185"/>
                  <a:gd name="connsiteX21" fmla="*/ 13848 w 50923"/>
                  <a:gd name="connsiteY21" fmla="*/ 16657 h 80185"/>
                  <a:gd name="connsiteX22" fmla="*/ 12752 w 50923"/>
                  <a:gd name="connsiteY22" fmla="*/ 21038 h 80185"/>
                  <a:gd name="connsiteX23" fmla="*/ 13848 w 50923"/>
                  <a:gd name="connsiteY23" fmla="*/ 26056 h 80185"/>
                  <a:gd name="connsiteX24" fmla="*/ 17050 w 50923"/>
                  <a:gd name="connsiteY24" fmla="*/ 29649 h 80185"/>
                  <a:gd name="connsiteX25" fmla="*/ 22137 w 50923"/>
                  <a:gd name="connsiteY25" fmla="*/ 32497 h 80185"/>
                  <a:gd name="connsiteX26" fmla="*/ 28957 w 50923"/>
                  <a:gd name="connsiteY26" fmla="*/ 35268 h 80185"/>
                  <a:gd name="connsiteX27" fmla="*/ 38101 w 50923"/>
                  <a:gd name="connsiteY27" fmla="*/ 39278 h 80185"/>
                  <a:gd name="connsiteX28" fmla="*/ 44998 w 50923"/>
                  <a:gd name="connsiteY28" fmla="*/ 43922 h 80185"/>
                  <a:gd name="connsiteX29" fmla="*/ 49384 w 50923"/>
                  <a:gd name="connsiteY29" fmla="*/ 49871 h 80185"/>
                  <a:gd name="connsiteX30" fmla="*/ 50918 w 50923"/>
                  <a:gd name="connsiteY30" fmla="*/ 57878 h 80185"/>
                  <a:gd name="connsiteX31" fmla="*/ 48408 w 50923"/>
                  <a:gd name="connsiteY31" fmla="*/ 67737 h 80185"/>
                  <a:gd name="connsiteX32" fmla="*/ 41708 w 50923"/>
                  <a:gd name="connsiteY32" fmla="*/ 74704 h 80185"/>
                  <a:gd name="connsiteX33" fmla="*/ 32038 w 50923"/>
                  <a:gd name="connsiteY33" fmla="*/ 78823 h 80185"/>
                  <a:gd name="connsiteX34" fmla="*/ 20569 w 50923"/>
                  <a:gd name="connsiteY34" fmla="*/ 80171 h 80185"/>
                  <a:gd name="connsiteX35" fmla="*/ 0 w 50923"/>
                  <a:gd name="connsiteY35" fmla="*/ 75636 h 8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23" h="80185">
                    <a:moveTo>
                      <a:pt x="0" y="75636"/>
                    </a:moveTo>
                    <a:lnTo>
                      <a:pt x="0" y="62490"/>
                    </a:lnTo>
                    <a:cubicBezTo>
                      <a:pt x="6348" y="67321"/>
                      <a:pt x="14122" y="69928"/>
                      <a:pt x="22104" y="69906"/>
                    </a:cubicBezTo>
                    <a:cubicBezTo>
                      <a:pt x="32904" y="69906"/>
                      <a:pt x="38309" y="66313"/>
                      <a:pt x="38298" y="59127"/>
                    </a:cubicBezTo>
                    <a:cubicBezTo>
                      <a:pt x="38353" y="57298"/>
                      <a:pt x="37871" y="55479"/>
                      <a:pt x="36906" y="53924"/>
                    </a:cubicBezTo>
                    <a:cubicBezTo>
                      <a:pt x="35919" y="52434"/>
                      <a:pt x="34648" y="51141"/>
                      <a:pt x="33156" y="50145"/>
                    </a:cubicBezTo>
                    <a:cubicBezTo>
                      <a:pt x="31424" y="48951"/>
                      <a:pt x="29560" y="47954"/>
                      <a:pt x="27608" y="47187"/>
                    </a:cubicBezTo>
                    <a:cubicBezTo>
                      <a:pt x="25492" y="46311"/>
                      <a:pt x="23222" y="45390"/>
                      <a:pt x="20756" y="44448"/>
                    </a:cubicBezTo>
                    <a:cubicBezTo>
                      <a:pt x="17696" y="43254"/>
                      <a:pt x="14703" y="41896"/>
                      <a:pt x="11798" y="40362"/>
                    </a:cubicBezTo>
                    <a:cubicBezTo>
                      <a:pt x="9429" y="39146"/>
                      <a:pt x="7258" y="37580"/>
                      <a:pt x="5351" y="35728"/>
                    </a:cubicBezTo>
                    <a:cubicBezTo>
                      <a:pt x="3662" y="34052"/>
                      <a:pt x="2335" y="32048"/>
                      <a:pt x="1458" y="29846"/>
                    </a:cubicBezTo>
                    <a:cubicBezTo>
                      <a:pt x="537" y="27392"/>
                      <a:pt x="88" y="24796"/>
                      <a:pt x="143" y="22178"/>
                    </a:cubicBezTo>
                    <a:cubicBezTo>
                      <a:pt x="88" y="18826"/>
                      <a:pt x="943" y="15528"/>
                      <a:pt x="2620" y="12625"/>
                    </a:cubicBezTo>
                    <a:cubicBezTo>
                      <a:pt x="4265" y="9843"/>
                      <a:pt x="6513" y="7466"/>
                      <a:pt x="9199" y="5669"/>
                    </a:cubicBezTo>
                    <a:cubicBezTo>
                      <a:pt x="12072" y="3741"/>
                      <a:pt x="15251" y="2306"/>
                      <a:pt x="18595" y="1430"/>
                    </a:cubicBezTo>
                    <a:cubicBezTo>
                      <a:pt x="22170" y="477"/>
                      <a:pt x="25854" y="-5"/>
                      <a:pt x="29560" y="6"/>
                    </a:cubicBezTo>
                    <a:cubicBezTo>
                      <a:pt x="35678" y="-93"/>
                      <a:pt x="41763" y="1080"/>
                      <a:pt x="47399" y="3456"/>
                    </a:cubicBezTo>
                    <a:lnTo>
                      <a:pt x="47399" y="15813"/>
                    </a:lnTo>
                    <a:cubicBezTo>
                      <a:pt x="41599" y="12067"/>
                      <a:pt x="34812" y="10139"/>
                      <a:pt x="27915" y="10270"/>
                    </a:cubicBezTo>
                    <a:cubicBezTo>
                      <a:pt x="25810" y="10248"/>
                      <a:pt x="23716" y="10511"/>
                      <a:pt x="21688" y="11059"/>
                    </a:cubicBezTo>
                    <a:cubicBezTo>
                      <a:pt x="19988" y="11508"/>
                      <a:pt x="18376" y="12253"/>
                      <a:pt x="16929" y="13250"/>
                    </a:cubicBezTo>
                    <a:cubicBezTo>
                      <a:pt x="15668" y="14148"/>
                      <a:pt x="14616" y="15309"/>
                      <a:pt x="13848" y="16657"/>
                    </a:cubicBezTo>
                    <a:cubicBezTo>
                      <a:pt x="13124" y="18004"/>
                      <a:pt x="12740" y="19505"/>
                      <a:pt x="12752" y="21038"/>
                    </a:cubicBezTo>
                    <a:cubicBezTo>
                      <a:pt x="12708" y="22780"/>
                      <a:pt x="13080" y="24500"/>
                      <a:pt x="13848" y="26056"/>
                    </a:cubicBezTo>
                    <a:cubicBezTo>
                      <a:pt x="14637" y="27469"/>
                      <a:pt x="15734" y="28696"/>
                      <a:pt x="17050" y="29649"/>
                    </a:cubicBezTo>
                    <a:cubicBezTo>
                      <a:pt x="18629" y="30799"/>
                      <a:pt x="20328" y="31763"/>
                      <a:pt x="22137" y="32497"/>
                    </a:cubicBezTo>
                    <a:cubicBezTo>
                      <a:pt x="24133" y="33351"/>
                      <a:pt x="26413" y="34272"/>
                      <a:pt x="28957" y="35268"/>
                    </a:cubicBezTo>
                    <a:cubicBezTo>
                      <a:pt x="32071" y="36441"/>
                      <a:pt x="35130" y="37777"/>
                      <a:pt x="38101" y="39278"/>
                    </a:cubicBezTo>
                    <a:cubicBezTo>
                      <a:pt x="40601" y="40515"/>
                      <a:pt x="42915" y="42071"/>
                      <a:pt x="44998" y="43922"/>
                    </a:cubicBezTo>
                    <a:cubicBezTo>
                      <a:pt x="46851" y="45587"/>
                      <a:pt x="48342" y="47603"/>
                      <a:pt x="49384" y="49871"/>
                    </a:cubicBezTo>
                    <a:cubicBezTo>
                      <a:pt x="50458" y="52401"/>
                      <a:pt x="50984" y="55129"/>
                      <a:pt x="50918" y="57878"/>
                    </a:cubicBezTo>
                    <a:cubicBezTo>
                      <a:pt x="50995" y="61329"/>
                      <a:pt x="50129" y="64747"/>
                      <a:pt x="48408" y="67737"/>
                    </a:cubicBezTo>
                    <a:cubicBezTo>
                      <a:pt x="46730" y="70531"/>
                      <a:pt x="44438" y="72919"/>
                      <a:pt x="41708" y="74704"/>
                    </a:cubicBezTo>
                    <a:cubicBezTo>
                      <a:pt x="38748" y="76622"/>
                      <a:pt x="35470" y="78013"/>
                      <a:pt x="32038" y="78823"/>
                    </a:cubicBezTo>
                    <a:cubicBezTo>
                      <a:pt x="28288" y="79733"/>
                      <a:pt x="24429" y="80182"/>
                      <a:pt x="20569" y="80171"/>
                    </a:cubicBezTo>
                    <a:cubicBezTo>
                      <a:pt x="13442" y="80357"/>
                      <a:pt x="6381" y="78802"/>
                      <a:pt x="0" y="7563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6" name="Freeform: Shape 325">
                <a:extLst>
                  <a:ext uri="{FF2B5EF4-FFF2-40B4-BE49-F238E27FC236}">
                    <a16:creationId xmlns:a16="http://schemas.microsoft.com/office/drawing/2014/main" id="{F8F0AA93-76EA-BAA3-31D9-BD5FA6AF7F0E}"/>
                  </a:ext>
                </a:extLst>
              </p:cNvPr>
              <p:cNvSpPr/>
              <p:nvPr/>
            </p:nvSpPr>
            <p:spPr>
              <a:xfrm>
                <a:off x="4056588" y="4895425"/>
                <a:ext cx="44789" cy="101044"/>
              </a:xfrm>
              <a:custGeom>
                <a:avLst/>
                <a:gdLst>
                  <a:gd name="connsiteX0" fmla="*/ 44790 w 44789"/>
                  <a:gd name="connsiteY0" fmla="*/ 98623 h 101044"/>
                  <a:gd name="connsiteX1" fmla="*/ 33321 w 44789"/>
                  <a:gd name="connsiteY1" fmla="*/ 101022 h 101044"/>
                  <a:gd name="connsiteX2" fmla="*/ 13157 w 44789"/>
                  <a:gd name="connsiteY2" fmla="*/ 78554 h 101044"/>
                  <a:gd name="connsiteX3" fmla="*/ 13157 w 44789"/>
                  <a:gd name="connsiteY3" fmla="*/ 33181 h 101044"/>
                  <a:gd name="connsiteX4" fmla="*/ 0 w 44789"/>
                  <a:gd name="connsiteY4" fmla="*/ 33181 h 101044"/>
                  <a:gd name="connsiteX5" fmla="*/ 0 w 44789"/>
                  <a:gd name="connsiteY5" fmla="*/ 22698 h 101044"/>
                  <a:gd name="connsiteX6" fmla="*/ 13157 w 44789"/>
                  <a:gd name="connsiteY6" fmla="*/ 22698 h 101044"/>
                  <a:gd name="connsiteX7" fmla="*/ 13157 w 44789"/>
                  <a:gd name="connsiteY7" fmla="*/ 3976 h 101044"/>
                  <a:gd name="connsiteX8" fmla="*/ 25449 w 44789"/>
                  <a:gd name="connsiteY8" fmla="*/ 0 h 101044"/>
                  <a:gd name="connsiteX9" fmla="*/ 25449 w 44789"/>
                  <a:gd name="connsiteY9" fmla="*/ 22698 h 101044"/>
                  <a:gd name="connsiteX10" fmla="*/ 44790 w 44789"/>
                  <a:gd name="connsiteY10" fmla="*/ 22698 h 101044"/>
                  <a:gd name="connsiteX11" fmla="*/ 44790 w 44789"/>
                  <a:gd name="connsiteY11" fmla="*/ 33181 h 101044"/>
                  <a:gd name="connsiteX12" fmla="*/ 25449 w 44789"/>
                  <a:gd name="connsiteY12" fmla="*/ 33181 h 101044"/>
                  <a:gd name="connsiteX13" fmla="*/ 25449 w 44789"/>
                  <a:gd name="connsiteY13" fmla="*/ 76385 h 101044"/>
                  <a:gd name="connsiteX14" fmla="*/ 28080 w 44789"/>
                  <a:gd name="connsiteY14" fmla="*/ 87340 h 101044"/>
                  <a:gd name="connsiteX15" fmla="*/ 36775 w 44789"/>
                  <a:gd name="connsiteY15" fmla="*/ 90626 h 101044"/>
                  <a:gd name="connsiteX16" fmla="*/ 44790 w 44789"/>
                  <a:gd name="connsiteY16" fmla="*/ 88074 h 10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4">
                    <a:moveTo>
                      <a:pt x="44790" y="98623"/>
                    </a:moveTo>
                    <a:cubicBezTo>
                      <a:pt x="41226" y="100365"/>
                      <a:pt x="37290" y="101197"/>
                      <a:pt x="33321" y="101022"/>
                    </a:cubicBezTo>
                    <a:cubicBezTo>
                      <a:pt x="19879" y="101022"/>
                      <a:pt x="13157" y="93529"/>
                      <a:pt x="13157" y="78554"/>
                    </a:cubicBezTo>
                    <a:lnTo>
                      <a:pt x="13157" y="33181"/>
                    </a:lnTo>
                    <a:lnTo>
                      <a:pt x="0" y="33181"/>
                    </a:lnTo>
                    <a:lnTo>
                      <a:pt x="0" y="22698"/>
                    </a:lnTo>
                    <a:lnTo>
                      <a:pt x="13157" y="22698"/>
                    </a:lnTo>
                    <a:lnTo>
                      <a:pt x="13157" y="3976"/>
                    </a:lnTo>
                    <a:lnTo>
                      <a:pt x="25449" y="0"/>
                    </a:lnTo>
                    <a:lnTo>
                      <a:pt x="25449" y="22698"/>
                    </a:lnTo>
                    <a:lnTo>
                      <a:pt x="44790" y="22698"/>
                    </a:lnTo>
                    <a:lnTo>
                      <a:pt x="44790" y="33181"/>
                    </a:lnTo>
                    <a:lnTo>
                      <a:pt x="25449" y="33181"/>
                    </a:lnTo>
                    <a:lnTo>
                      <a:pt x="25449" y="76385"/>
                    </a:lnTo>
                    <a:cubicBezTo>
                      <a:pt x="25120" y="80230"/>
                      <a:pt x="26040" y="84064"/>
                      <a:pt x="28080" y="87340"/>
                    </a:cubicBezTo>
                    <a:cubicBezTo>
                      <a:pt x="30306" y="89728"/>
                      <a:pt x="33518" y="90944"/>
                      <a:pt x="36775" y="90626"/>
                    </a:cubicBezTo>
                    <a:cubicBezTo>
                      <a:pt x="39658" y="90692"/>
                      <a:pt x="42476" y="89794"/>
                      <a:pt x="44790" y="880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7" name="Freeform: Shape 326">
                <a:extLst>
                  <a:ext uri="{FF2B5EF4-FFF2-40B4-BE49-F238E27FC236}">
                    <a16:creationId xmlns:a16="http://schemas.microsoft.com/office/drawing/2014/main" id="{E1C9F38B-876C-5B03-9713-85FC65378F6F}"/>
                  </a:ext>
                </a:extLst>
              </p:cNvPr>
              <p:cNvSpPr/>
              <p:nvPr/>
            </p:nvSpPr>
            <p:spPr>
              <a:xfrm>
                <a:off x="4114238" y="4916397"/>
                <a:ext cx="50871" cy="80184"/>
              </a:xfrm>
              <a:custGeom>
                <a:avLst/>
                <a:gdLst>
                  <a:gd name="connsiteX0" fmla="*/ 0 w 50871"/>
                  <a:gd name="connsiteY0" fmla="*/ 75636 h 80184"/>
                  <a:gd name="connsiteX1" fmla="*/ 0 w 50871"/>
                  <a:gd name="connsiteY1" fmla="*/ 62490 h 80184"/>
                  <a:gd name="connsiteX2" fmla="*/ 22104 w 50871"/>
                  <a:gd name="connsiteY2" fmla="*/ 69906 h 80184"/>
                  <a:gd name="connsiteX3" fmla="*/ 38299 w 50871"/>
                  <a:gd name="connsiteY3" fmla="*/ 59127 h 80184"/>
                  <a:gd name="connsiteX4" fmla="*/ 36906 w 50871"/>
                  <a:gd name="connsiteY4" fmla="*/ 53924 h 80184"/>
                  <a:gd name="connsiteX5" fmla="*/ 33157 w 50871"/>
                  <a:gd name="connsiteY5" fmla="*/ 50145 h 80184"/>
                  <a:gd name="connsiteX6" fmla="*/ 27608 w 50871"/>
                  <a:gd name="connsiteY6" fmla="*/ 47187 h 80184"/>
                  <a:gd name="connsiteX7" fmla="*/ 20756 w 50871"/>
                  <a:gd name="connsiteY7" fmla="*/ 44448 h 80184"/>
                  <a:gd name="connsiteX8" fmla="*/ 11798 w 50871"/>
                  <a:gd name="connsiteY8" fmla="*/ 40362 h 80184"/>
                  <a:gd name="connsiteX9" fmla="*/ 5351 w 50871"/>
                  <a:gd name="connsiteY9" fmla="*/ 35728 h 80184"/>
                  <a:gd name="connsiteX10" fmla="*/ 1459 w 50871"/>
                  <a:gd name="connsiteY10" fmla="*/ 29846 h 80184"/>
                  <a:gd name="connsiteX11" fmla="*/ 154 w 50871"/>
                  <a:gd name="connsiteY11" fmla="*/ 22178 h 80184"/>
                  <a:gd name="connsiteX12" fmla="*/ 2621 w 50871"/>
                  <a:gd name="connsiteY12" fmla="*/ 12625 h 80184"/>
                  <a:gd name="connsiteX13" fmla="*/ 9199 w 50871"/>
                  <a:gd name="connsiteY13" fmla="*/ 5669 h 80184"/>
                  <a:gd name="connsiteX14" fmla="*/ 18596 w 50871"/>
                  <a:gd name="connsiteY14" fmla="*/ 1430 h 80184"/>
                  <a:gd name="connsiteX15" fmla="*/ 29505 w 50871"/>
                  <a:gd name="connsiteY15" fmla="*/ 6 h 80184"/>
                  <a:gd name="connsiteX16" fmla="*/ 47344 w 50871"/>
                  <a:gd name="connsiteY16" fmla="*/ 3456 h 80184"/>
                  <a:gd name="connsiteX17" fmla="*/ 47344 w 50871"/>
                  <a:gd name="connsiteY17" fmla="*/ 15813 h 80184"/>
                  <a:gd name="connsiteX18" fmla="*/ 27861 w 50871"/>
                  <a:gd name="connsiteY18" fmla="*/ 10270 h 80184"/>
                  <a:gd name="connsiteX19" fmla="*/ 21633 w 50871"/>
                  <a:gd name="connsiteY19" fmla="*/ 11059 h 80184"/>
                  <a:gd name="connsiteX20" fmla="*/ 16874 w 50871"/>
                  <a:gd name="connsiteY20" fmla="*/ 13250 h 80184"/>
                  <a:gd name="connsiteX21" fmla="*/ 13804 w 50871"/>
                  <a:gd name="connsiteY21" fmla="*/ 16657 h 80184"/>
                  <a:gd name="connsiteX22" fmla="*/ 12708 w 50871"/>
                  <a:gd name="connsiteY22" fmla="*/ 21038 h 80184"/>
                  <a:gd name="connsiteX23" fmla="*/ 13804 w 50871"/>
                  <a:gd name="connsiteY23" fmla="*/ 26056 h 80184"/>
                  <a:gd name="connsiteX24" fmla="*/ 16995 w 50871"/>
                  <a:gd name="connsiteY24" fmla="*/ 29649 h 80184"/>
                  <a:gd name="connsiteX25" fmla="*/ 22082 w 50871"/>
                  <a:gd name="connsiteY25" fmla="*/ 32497 h 80184"/>
                  <a:gd name="connsiteX26" fmla="*/ 28913 w 50871"/>
                  <a:gd name="connsiteY26" fmla="*/ 35268 h 80184"/>
                  <a:gd name="connsiteX27" fmla="*/ 38057 w 50871"/>
                  <a:gd name="connsiteY27" fmla="*/ 39278 h 80184"/>
                  <a:gd name="connsiteX28" fmla="*/ 44943 w 50871"/>
                  <a:gd name="connsiteY28" fmla="*/ 43922 h 80184"/>
                  <a:gd name="connsiteX29" fmla="*/ 49329 w 50871"/>
                  <a:gd name="connsiteY29" fmla="*/ 49871 h 80184"/>
                  <a:gd name="connsiteX30" fmla="*/ 50864 w 50871"/>
                  <a:gd name="connsiteY30" fmla="*/ 57878 h 80184"/>
                  <a:gd name="connsiteX31" fmla="*/ 48353 w 50871"/>
                  <a:gd name="connsiteY31" fmla="*/ 67737 h 80184"/>
                  <a:gd name="connsiteX32" fmla="*/ 41654 w 50871"/>
                  <a:gd name="connsiteY32" fmla="*/ 74704 h 80184"/>
                  <a:gd name="connsiteX33" fmla="*/ 31983 w 50871"/>
                  <a:gd name="connsiteY33" fmla="*/ 78823 h 80184"/>
                  <a:gd name="connsiteX34" fmla="*/ 20514 w 50871"/>
                  <a:gd name="connsiteY34" fmla="*/ 80171 h 80184"/>
                  <a:gd name="connsiteX35" fmla="*/ 0 w 50871"/>
                  <a:gd name="connsiteY35" fmla="*/ 75636 h 8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71" h="80184">
                    <a:moveTo>
                      <a:pt x="0" y="75636"/>
                    </a:moveTo>
                    <a:lnTo>
                      <a:pt x="0" y="62490"/>
                    </a:lnTo>
                    <a:cubicBezTo>
                      <a:pt x="6348" y="67321"/>
                      <a:pt x="14122" y="69928"/>
                      <a:pt x="22104" y="69906"/>
                    </a:cubicBezTo>
                    <a:cubicBezTo>
                      <a:pt x="32904" y="69906"/>
                      <a:pt x="38310" y="66313"/>
                      <a:pt x="38299" y="59127"/>
                    </a:cubicBezTo>
                    <a:cubicBezTo>
                      <a:pt x="38354" y="57298"/>
                      <a:pt x="37871" y="55479"/>
                      <a:pt x="36906" y="53924"/>
                    </a:cubicBezTo>
                    <a:cubicBezTo>
                      <a:pt x="35919" y="52434"/>
                      <a:pt x="34648" y="51141"/>
                      <a:pt x="33157" y="50145"/>
                    </a:cubicBezTo>
                    <a:cubicBezTo>
                      <a:pt x="31424" y="48951"/>
                      <a:pt x="29560" y="47954"/>
                      <a:pt x="27608" y="47187"/>
                    </a:cubicBezTo>
                    <a:cubicBezTo>
                      <a:pt x="25492" y="46311"/>
                      <a:pt x="23223" y="45390"/>
                      <a:pt x="20756" y="44448"/>
                    </a:cubicBezTo>
                    <a:cubicBezTo>
                      <a:pt x="17697" y="43254"/>
                      <a:pt x="14703" y="41896"/>
                      <a:pt x="11798" y="40362"/>
                    </a:cubicBezTo>
                    <a:cubicBezTo>
                      <a:pt x="9430" y="39146"/>
                      <a:pt x="7259" y="37580"/>
                      <a:pt x="5351" y="35728"/>
                    </a:cubicBezTo>
                    <a:cubicBezTo>
                      <a:pt x="3662" y="34052"/>
                      <a:pt x="2336" y="32048"/>
                      <a:pt x="1459" y="29846"/>
                    </a:cubicBezTo>
                    <a:cubicBezTo>
                      <a:pt x="548" y="27392"/>
                      <a:pt x="110" y="24796"/>
                      <a:pt x="154" y="22178"/>
                    </a:cubicBezTo>
                    <a:cubicBezTo>
                      <a:pt x="88" y="18826"/>
                      <a:pt x="943" y="15528"/>
                      <a:pt x="2621" y="12625"/>
                    </a:cubicBezTo>
                    <a:cubicBezTo>
                      <a:pt x="4265" y="9843"/>
                      <a:pt x="6513" y="7466"/>
                      <a:pt x="9199" y="5669"/>
                    </a:cubicBezTo>
                    <a:cubicBezTo>
                      <a:pt x="12072" y="3741"/>
                      <a:pt x="15252" y="2306"/>
                      <a:pt x="18596" y="1430"/>
                    </a:cubicBezTo>
                    <a:cubicBezTo>
                      <a:pt x="22159" y="477"/>
                      <a:pt x="25821" y="6"/>
                      <a:pt x="29505" y="6"/>
                    </a:cubicBezTo>
                    <a:cubicBezTo>
                      <a:pt x="35624" y="-93"/>
                      <a:pt x="41709" y="1080"/>
                      <a:pt x="47344" y="3456"/>
                    </a:cubicBezTo>
                    <a:lnTo>
                      <a:pt x="47344" y="15813"/>
                    </a:lnTo>
                    <a:cubicBezTo>
                      <a:pt x="41544" y="12067"/>
                      <a:pt x="34757" y="10139"/>
                      <a:pt x="27861" y="10270"/>
                    </a:cubicBezTo>
                    <a:cubicBezTo>
                      <a:pt x="25755" y="10248"/>
                      <a:pt x="23661" y="10511"/>
                      <a:pt x="21633" y="11059"/>
                    </a:cubicBezTo>
                    <a:cubicBezTo>
                      <a:pt x="19934" y="11508"/>
                      <a:pt x="18322" y="12253"/>
                      <a:pt x="16874" y="13250"/>
                    </a:cubicBezTo>
                    <a:cubicBezTo>
                      <a:pt x="15613" y="14148"/>
                      <a:pt x="14561" y="15309"/>
                      <a:pt x="13804" y="16657"/>
                    </a:cubicBezTo>
                    <a:cubicBezTo>
                      <a:pt x="13070" y="18004"/>
                      <a:pt x="12697" y="19505"/>
                      <a:pt x="12708" y="21038"/>
                    </a:cubicBezTo>
                    <a:cubicBezTo>
                      <a:pt x="12653" y="22780"/>
                      <a:pt x="13026" y="24500"/>
                      <a:pt x="13804" y="26056"/>
                    </a:cubicBezTo>
                    <a:cubicBezTo>
                      <a:pt x="14594" y="27480"/>
                      <a:pt x="15679" y="28707"/>
                      <a:pt x="16995" y="29649"/>
                    </a:cubicBezTo>
                    <a:cubicBezTo>
                      <a:pt x="18574" y="30799"/>
                      <a:pt x="20273" y="31752"/>
                      <a:pt x="22082" y="32497"/>
                    </a:cubicBezTo>
                    <a:cubicBezTo>
                      <a:pt x="24078" y="33351"/>
                      <a:pt x="26359" y="34272"/>
                      <a:pt x="28913" y="35268"/>
                    </a:cubicBezTo>
                    <a:cubicBezTo>
                      <a:pt x="32027" y="36452"/>
                      <a:pt x="35086" y="37788"/>
                      <a:pt x="38057" y="39278"/>
                    </a:cubicBezTo>
                    <a:cubicBezTo>
                      <a:pt x="40557" y="40505"/>
                      <a:pt x="42871" y="42071"/>
                      <a:pt x="44943" y="43922"/>
                    </a:cubicBezTo>
                    <a:cubicBezTo>
                      <a:pt x="46796" y="45587"/>
                      <a:pt x="48287" y="47603"/>
                      <a:pt x="49329" y="49871"/>
                    </a:cubicBezTo>
                    <a:cubicBezTo>
                      <a:pt x="50415" y="52401"/>
                      <a:pt x="50941" y="55129"/>
                      <a:pt x="50864" y="57878"/>
                    </a:cubicBezTo>
                    <a:cubicBezTo>
                      <a:pt x="50941" y="61329"/>
                      <a:pt x="50075" y="64747"/>
                      <a:pt x="48353" y="67737"/>
                    </a:cubicBezTo>
                    <a:cubicBezTo>
                      <a:pt x="46676" y="70542"/>
                      <a:pt x="44384" y="72919"/>
                      <a:pt x="41654" y="74704"/>
                    </a:cubicBezTo>
                    <a:cubicBezTo>
                      <a:pt x="38694" y="76622"/>
                      <a:pt x="35415" y="78013"/>
                      <a:pt x="31983" y="78823"/>
                    </a:cubicBezTo>
                    <a:cubicBezTo>
                      <a:pt x="28233" y="79733"/>
                      <a:pt x="24374" y="80182"/>
                      <a:pt x="20514" y="80171"/>
                    </a:cubicBezTo>
                    <a:cubicBezTo>
                      <a:pt x="13410" y="80346"/>
                      <a:pt x="6371" y="78790"/>
                      <a:pt x="0" y="7563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8" name="Freeform: Shape 327">
                <a:extLst>
                  <a:ext uri="{FF2B5EF4-FFF2-40B4-BE49-F238E27FC236}">
                    <a16:creationId xmlns:a16="http://schemas.microsoft.com/office/drawing/2014/main" id="{4694C4A1-BE8A-853E-F3D4-90CBA7315F27}"/>
                  </a:ext>
                </a:extLst>
              </p:cNvPr>
              <p:cNvSpPr/>
              <p:nvPr/>
            </p:nvSpPr>
            <p:spPr>
              <a:xfrm>
                <a:off x="3256955" y="5218142"/>
                <a:ext cx="65783" cy="107432"/>
              </a:xfrm>
              <a:custGeom>
                <a:avLst/>
                <a:gdLst>
                  <a:gd name="connsiteX0" fmla="*/ 12598 w 65783"/>
                  <a:gd name="connsiteY0" fmla="*/ 66901 h 107432"/>
                  <a:gd name="connsiteX1" fmla="*/ 12598 w 65783"/>
                  <a:gd name="connsiteY1" fmla="*/ 107433 h 107432"/>
                  <a:gd name="connsiteX2" fmla="*/ 0 w 65783"/>
                  <a:gd name="connsiteY2" fmla="*/ 107433 h 107432"/>
                  <a:gd name="connsiteX3" fmla="*/ 0 w 65783"/>
                  <a:gd name="connsiteY3" fmla="*/ 79 h 107432"/>
                  <a:gd name="connsiteX4" fmla="*/ 29538 w 65783"/>
                  <a:gd name="connsiteY4" fmla="*/ 79 h 107432"/>
                  <a:gd name="connsiteX5" fmla="*/ 56258 w 65783"/>
                  <a:gd name="connsiteY5" fmla="*/ 8470 h 107432"/>
                  <a:gd name="connsiteX6" fmla="*/ 65731 w 65783"/>
                  <a:gd name="connsiteY6" fmla="*/ 32131 h 107432"/>
                  <a:gd name="connsiteX7" fmla="*/ 55206 w 65783"/>
                  <a:gd name="connsiteY7" fmla="*/ 57141 h 107432"/>
                  <a:gd name="connsiteX8" fmla="*/ 26764 w 65783"/>
                  <a:gd name="connsiteY8" fmla="*/ 66879 h 107432"/>
                  <a:gd name="connsiteX9" fmla="*/ 12598 w 65783"/>
                  <a:gd name="connsiteY9" fmla="*/ 11482 h 107432"/>
                  <a:gd name="connsiteX10" fmla="*/ 12598 w 65783"/>
                  <a:gd name="connsiteY10" fmla="*/ 55519 h 107432"/>
                  <a:gd name="connsiteX11" fmla="*/ 25755 w 65783"/>
                  <a:gd name="connsiteY11" fmla="*/ 55519 h 107432"/>
                  <a:gd name="connsiteX12" fmla="*/ 45656 w 65783"/>
                  <a:gd name="connsiteY12" fmla="*/ 49560 h 107432"/>
                  <a:gd name="connsiteX13" fmla="*/ 52508 w 65783"/>
                  <a:gd name="connsiteY13" fmla="*/ 32745 h 107432"/>
                  <a:gd name="connsiteX14" fmla="*/ 27290 w 65783"/>
                  <a:gd name="connsiteY14" fmla="*/ 11482 h 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83" h="107432">
                    <a:moveTo>
                      <a:pt x="12598" y="66901"/>
                    </a:moveTo>
                    <a:lnTo>
                      <a:pt x="12598" y="107433"/>
                    </a:lnTo>
                    <a:lnTo>
                      <a:pt x="0" y="107433"/>
                    </a:lnTo>
                    <a:lnTo>
                      <a:pt x="0" y="79"/>
                    </a:lnTo>
                    <a:lnTo>
                      <a:pt x="29538" y="79"/>
                    </a:lnTo>
                    <a:cubicBezTo>
                      <a:pt x="39176" y="-535"/>
                      <a:pt x="48704" y="2456"/>
                      <a:pt x="56258" y="8470"/>
                    </a:cubicBezTo>
                    <a:cubicBezTo>
                      <a:pt x="62782" y="14550"/>
                      <a:pt x="66258" y="23226"/>
                      <a:pt x="65731" y="32131"/>
                    </a:cubicBezTo>
                    <a:cubicBezTo>
                      <a:pt x="66028" y="41596"/>
                      <a:pt x="62190" y="50732"/>
                      <a:pt x="55206" y="57141"/>
                    </a:cubicBezTo>
                    <a:cubicBezTo>
                      <a:pt x="47344" y="63932"/>
                      <a:pt x="37147" y="67427"/>
                      <a:pt x="26764" y="66879"/>
                    </a:cubicBezTo>
                    <a:close/>
                    <a:moveTo>
                      <a:pt x="12598" y="11482"/>
                    </a:moveTo>
                    <a:lnTo>
                      <a:pt x="12598" y="55519"/>
                    </a:lnTo>
                    <a:lnTo>
                      <a:pt x="25755" y="55519"/>
                    </a:lnTo>
                    <a:cubicBezTo>
                      <a:pt x="32893" y="56012"/>
                      <a:pt x="39965" y="53887"/>
                      <a:pt x="45656" y="49560"/>
                    </a:cubicBezTo>
                    <a:cubicBezTo>
                      <a:pt x="50359" y="45277"/>
                      <a:pt x="52881" y="39099"/>
                      <a:pt x="52508" y="32745"/>
                    </a:cubicBezTo>
                    <a:cubicBezTo>
                      <a:pt x="52508" y="18570"/>
                      <a:pt x="44099" y="11482"/>
                      <a:pt x="27290" y="1148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9" name="Freeform: Shape 328">
                <a:extLst>
                  <a:ext uri="{FF2B5EF4-FFF2-40B4-BE49-F238E27FC236}">
                    <a16:creationId xmlns:a16="http://schemas.microsoft.com/office/drawing/2014/main" id="{82AE5D1B-B988-5B0C-B67F-1AAECA5BCF16}"/>
                  </a:ext>
                </a:extLst>
              </p:cNvPr>
              <p:cNvSpPr/>
              <p:nvPr/>
            </p:nvSpPr>
            <p:spPr>
              <a:xfrm>
                <a:off x="3338913" y="5212097"/>
                <a:ext cx="63746" cy="113532"/>
              </a:xfrm>
              <a:custGeom>
                <a:avLst/>
                <a:gdLst>
                  <a:gd name="connsiteX0" fmla="*/ 63714 w 63746"/>
                  <a:gd name="connsiteY0" fmla="*/ 113532 h 113532"/>
                  <a:gd name="connsiteX1" fmla="*/ 51412 w 63746"/>
                  <a:gd name="connsiteY1" fmla="*/ 113532 h 113532"/>
                  <a:gd name="connsiteX2" fmla="*/ 51412 w 63746"/>
                  <a:gd name="connsiteY2" fmla="*/ 69353 h 113532"/>
                  <a:gd name="connsiteX3" fmla="*/ 33573 w 63746"/>
                  <a:gd name="connsiteY3" fmla="*/ 45384 h 113532"/>
                  <a:gd name="connsiteX4" fmla="*/ 18442 w 63746"/>
                  <a:gd name="connsiteY4" fmla="*/ 52308 h 113532"/>
                  <a:gd name="connsiteX5" fmla="*/ 12291 w 63746"/>
                  <a:gd name="connsiteY5" fmla="*/ 70098 h 113532"/>
                  <a:gd name="connsiteX6" fmla="*/ 12291 w 63746"/>
                  <a:gd name="connsiteY6" fmla="*/ 113532 h 113532"/>
                  <a:gd name="connsiteX7" fmla="*/ 0 w 63746"/>
                  <a:gd name="connsiteY7" fmla="*/ 113532 h 113532"/>
                  <a:gd name="connsiteX8" fmla="*/ 0 w 63746"/>
                  <a:gd name="connsiteY8" fmla="*/ 0 h 113532"/>
                  <a:gd name="connsiteX9" fmla="*/ 12291 w 63746"/>
                  <a:gd name="connsiteY9" fmla="*/ 0 h 113532"/>
                  <a:gd name="connsiteX10" fmla="*/ 12291 w 63746"/>
                  <a:gd name="connsiteY10" fmla="*/ 49580 h 113532"/>
                  <a:gd name="connsiteX11" fmla="*/ 12587 w 63746"/>
                  <a:gd name="connsiteY11" fmla="*/ 49580 h 113532"/>
                  <a:gd name="connsiteX12" fmla="*/ 37805 w 63746"/>
                  <a:gd name="connsiteY12" fmla="*/ 35054 h 113532"/>
                  <a:gd name="connsiteX13" fmla="*/ 63747 w 63746"/>
                  <a:gd name="connsiteY13" fmla="*/ 66274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46" h="113532">
                    <a:moveTo>
                      <a:pt x="63714" y="113532"/>
                    </a:moveTo>
                    <a:lnTo>
                      <a:pt x="51412" y="113532"/>
                    </a:lnTo>
                    <a:lnTo>
                      <a:pt x="51412" y="69353"/>
                    </a:lnTo>
                    <a:cubicBezTo>
                      <a:pt x="51412" y="53370"/>
                      <a:pt x="45469" y="45384"/>
                      <a:pt x="33573" y="45384"/>
                    </a:cubicBezTo>
                    <a:cubicBezTo>
                      <a:pt x="27751" y="45308"/>
                      <a:pt x="22192" y="47849"/>
                      <a:pt x="18442" y="52308"/>
                    </a:cubicBezTo>
                    <a:cubicBezTo>
                      <a:pt x="14221" y="57248"/>
                      <a:pt x="12028" y="63602"/>
                      <a:pt x="12291" y="70098"/>
                    </a:cubicBezTo>
                    <a:lnTo>
                      <a:pt x="12291" y="113532"/>
                    </a:lnTo>
                    <a:lnTo>
                      <a:pt x="0" y="113532"/>
                    </a:lnTo>
                    <a:lnTo>
                      <a:pt x="0" y="0"/>
                    </a:lnTo>
                    <a:lnTo>
                      <a:pt x="12291" y="0"/>
                    </a:lnTo>
                    <a:lnTo>
                      <a:pt x="12291" y="49580"/>
                    </a:lnTo>
                    <a:lnTo>
                      <a:pt x="12587" y="49580"/>
                    </a:lnTo>
                    <a:cubicBezTo>
                      <a:pt x="17598" y="40400"/>
                      <a:pt x="27334" y="34791"/>
                      <a:pt x="37805" y="35054"/>
                    </a:cubicBezTo>
                    <a:cubicBezTo>
                      <a:pt x="55096" y="35054"/>
                      <a:pt x="63736" y="45461"/>
                      <a:pt x="63747" y="662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0" name="Freeform: Shape 329">
                <a:extLst>
                  <a:ext uri="{FF2B5EF4-FFF2-40B4-BE49-F238E27FC236}">
                    <a16:creationId xmlns:a16="http://schemas.microsoft.com/office/drawing/2014/main" id="{8964AC2F-B79B-00EA-7BE2-41BE57F6D56F}"/>
                  </a:ext>
                </a:extLst>
              </p:cNvPr>
              <p:cNvSpPr/>
              <p:nvPr/>
            </p:nvSpPr>
            <p:spPr>
              <a:xfrm>
                <a:off x="3412254" y="5248948"/>
                <a:ext cx="72485" cy="112784"/>
              </a:xfrm>
              <a:custGeom>
                <a:avLst/>
                <a:gdLst>
                  <a:gd name="connsiteX0" fmla="*/ 72486 w 72485"/>
                  <a:gd name="connsiteY0" fmla="*/ 0 h 112784"/>
                  <a:gd name="connsiteX1" fmla="*/ 37180 w 72485"/>
                  <a:gd name="connsiteY1" fmla="*/ 88961 h 112784"/>
                  <a:gd name="connsiteX2" fmla="*/ 10647 w 72485"/>
                  <a:gd name="connsiteY2" fmla="*/ 112776 h 112784"/>
                  <a:gd name="connsiteX3" fmla="*/ 2632 w 72485"/>
                  <a:gd name="connsiteY3" fmla="*/ 111801 h 112784"/>
                  <a:gd name="connsiteX4" fmla="*/ 2632 w 72485"/>
                  <a:gd name="connsiteY4" fmla="*/ 100847 h 112784"/>
                  <a:gd name="connsiteX5" fmla="*/ 9901 w 72485"/>
                  <a:gd name="connsiteY5" fmla="*/ 102194 h 112784"/>
                  <a:gd name="connsiteX6" fmla="*/ 23837 w 72485"/>
                  <a:gd name="connsiteY6" fmla="*/ 91108 h 112784"/>
                  <a:gd name="connsiteX7" fmla="*/ 29988 w 72485"/>
                  <a:gd name="connsiteY7" fmla="*/ 76583 h 112784"/>
                  <a:gd name="connsiteX8" fmla="*/ 0 w 72485"/>
                  <a:gd name="connsiteY8" fmla="*/ 54 h 112784"/>
                  <a:gd name="connsiteX9" fmla="*/ 13651 w 72485"/>
                  <a:gd name="connsiteY9" fmla="*/ 54 h 112784"/>
                  <a:gd name="connsiteX10" fmla="*/ 34406 w 72485"/>
                  <a:gd name="connsiteY10" fmla="*/ 59001 h 112784"/>
                  <a:gd name="connsiteX11" fmla="*/ 35985 w 72485"/>
                  <a:gd name="connsiteY11" fmla="*/ 64850 h 112784"/>
                  <a:gd name="connsiteX12" fmla="*/ 36435 w 72485"/>
                  <a:gd name="connsiteY12" fmla="*/ 64850 h 112784"/>
                  <a:gd name="connsiteX13" fmla="*/ 37926 w 72485"/>
                  <a:gd name="connsiteY13" fmla="*/ 59154 h 112784"/>
                  <a:gd name="connsiteX14" fmla="*/ 59745 w 72485"/>
                  <a:gd name="connsiteY14" fmla="*/ 0 h 11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85" h="112784">
                    <a:moveTo>
                      <a:pt x="72486" y="0"/>
                    </a:moveTo>
                    <a:lnTo>
                      <a:pt x="37180" y="88961"/>
                    </a:lnTo>
                    <a:cubicBezTo>
                      <a:pt x="30887" y="104834"/>
                      <a:pt x="22038" y="112765"/>
                      <a:pt x="10647" y="112776"/>
                    </a:cubicBezTo>
                    <a:cubicBezTo>
                      <a:pt x="7938" y="112842"/>
                      <a:pt x="5241" y="112513"/>
                      <a:pt x="2632" y="111801"/>
                    </a:cubicBezTo>
                    <a:lnTo>
                      <a:pt x="2632" y="100847"/>
                    </a:lnTo>
                    <a:cubicBezTo>
                      <a:pt x="4967" y="101690"/>
                      <a:pt x="7423" y="102139"/>
                      <a:pt x="9901" y="102194"/>
                    </a:cubicBezTo>
                    <a:cubicBezTo>
                      <a:pt x="16469" y="101931"/>
                      <a:pt x="22115" y="97451"/>
                      <a:pt x="23837" y="91108"/>
                    </a:cubicBezTo>
                    <a:lnTo>
                      <a:pt x="29988" y="76583"/>
                    </a:lnTo>
                    <a:lnTo>
                      <a:pt x="0" y="54"/>
                    </a:lnTo>
                    <a:lnTo>
                      <a:pt x="13651" y="54"/>
                    </a:lnTo>
                    <a:lnTo>
                      <a:pt x="34406" y="59001"/>
                    </a:lnTo>
                    <a:cubicBezTo>
                      <a:pt x="34658" y="59734"/>
                      <a:pt x="35185" y="61684"/>
                      <a:pt x="35985" y="64850"/>
                    </a:cubicBezTo>
                    <a:lnTo>
                      <a:pt x="36435" y="64850"/>
                    </a:lnTo>
                    <a:cubicBezTo>
                      <a:pt x="36687" y="63645"/>
                      <a:pt x="37191" y="61750"/>
                      <a:pt x="37926" y="59154"/>
                    </a:cubicBezTo>
                    <a:lnTo>
                      <a:pt x="59745"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1" name="Freeform: Shape 330">
                <a:extLst>
                  <a:ext uri="{FF2B5EF4-FFF2-40B4-BE49-F238E27FC236}">
                    <a16:creationId xmlns:a16="http://schemas.microsoft.com/office/drawing/2014/main" id="{DE8154C5-31D7-63CC-B0C7-46A73E75082D}"/>
                  </a:ext>
                </a:extLst>
              </p:cNvPr>
              <p:cNvSpPr/>
              <p:nvPr/>
            </p:nvSpPr>
            <p:spPr>
              <a:xfrm>
                <a:off x="3493281" y="5247222"/>
                <a:ext cx="50880" cy="80194"/>
              </a:xfrm>
              <a:custGeom>
                <a:avLst/>
                <a:gdLst>
                  <a:gd name="connsiteX0" fmla="*/ 0 w 50880"/>
                  <a:gd name="connsiteY0" fmla="*/ 75635 h 80194"/>
                  <a:gd name="connsiteX1" fmla="*/ 0 w 50880"/>
                  <a:gd name="connsiteY1" fmla="*/ 62490 h 80194"/>
                  <a:gd name="connsiteX2" fmla="*/ 22115 w 50880"/>
                  <a:gd name="connsiteY2" fmla="*/ 69895 h 80194"/>
                  <a:gd name="connsiteX3" fmla="*/ 38299 w 50880"/>
                  <a:gd name="connsiteY3" fmla="*/ 59116 h 80194"/>
                  <a:gd name="connsiteX4" fmla="*/ 36917 w 50880"/>
                  <a:gd name="connsiteY4" fmla="*/ 53913 h 80194"/>
                  <a:gd name="connsiteX5" fmla="*/ 33167 w 50880"/>
                  <a:gd name="connsiteY5" fmla="*/ 50133 h 80194"/>
                  <a:gd name="connsiteX6" fmla="*/ 27619 w 50880"/>
                  <a:gd name="connsiteY6" fmla="*/ 47176 h 80194"/>
                  <a:gd name="connsiteX7" fmla="*/ 20767 w 50880"/>
                  <a:gd name="connsiteY7" fmla="*/ 44437 h 80194"/>
                  <a:gd name="connsiteX8" fmla="*/ 11809 w 50880"/>
                  <a:gd name="connsiteY8" fmla="*/ 40362 h 80194"/>
                  <a:gd name="connsiteX9" fmla="*/ 5362 w 50880"/>
                  <a:gd name="connsiteY9" fmla="*/ 35717 h 80194"/>
                  <a:gd name="connsiteX10" fmla="*/ 1458 w 50880"/>
                  <a:gd name="connsiteY10" fmla="*/ 29835 h 80194"/>
                  <a:gd name="connsiteX11" fmla="*/ 154 w 50880"/>
                  <a:gd name="connsiteY11" fmla="*/ 22167 h 80194"/>
                  <a:gd name="connsiteX12" fmla="*/ 2620 w 50880"/>
                  <a:gd name="connsiteY12" fmla="*/ 12625 h 80194"/>
                  <a:gd name="connsiteX13" fmla="*/ 9199 w 50880"/>
                  <a:gd name="connsiteY13" fmla="*/ 5658 h 80194"/>
                  <a:gd name="connsiteX14" fmla="*/ 18607 w 50880"/>
                  <a:gd name="connsiteY14" fmla="*/ 1430 h 80194"/>
                  <a:gd name="connsiteX15" fmla="*/ 29505 w 50880"/>
                  <a:gd name="connsiteY15" fmla="*/ 6 h 80194"/>
                  <a:gd name="connsiteX16" fmla="*/ 47344 w 50880"/>
                  <a:gd name="connsiteY16" fmla="*/ 3445 h 80194"/>
                  <a:gd name="connsiteX17" fmla="*/ 47344 w 50880"/>
                  <a:gd name="connsiteY17" fmla="*/ 15813 h 80194"/>
                  <a:gd name="connsiteX18" fmla="*/ 27861 w 50880"/>
                  <a:gd name="connsiteY18" fmla="*/ 10270 h 80194"/>
                  <a:gd name="connsiteX19" fmla="*/ 21644 w 50880"/>
                  <a:gd name="connsiteY19" fmla="*/ 11059 h 80194"/>
                  <a:gd name="connsiteX20" fmla="*/ 16885 w 50880"/>
                  <a:gd name="connsiteY20" fmla="*/ 13250 h 80194"/>
                  <a:gd name="connsiteX21" fmla="*/ 13804 w 50880"/>
                  <a:gd name="connsiteY21" fmla="*/ 16656 h 80194"/>
                  <a:gd name="connsiteX22" fmla="*/ 12708 w 50880"/>
                  <a:gd name="connsiteY22" fmla="*/ 21038 h 80194"/>
                  <a:gd name="connsiteX23" fmla="*/ 13804 w 50880"/>
                  <a:gd name="connsiteY23" fmla="*/ 26055 h 80194"/>
                  <a:gd name="connsiteX24" fmla="*/ 16995 w 50880"/>
                  <a:gd name="connsiteY24" fmla="*/ 29660 h 80194"/>
                  <a:gd name="connsiteX25" fmla="*/ 22093 w 50880"/>
                  <a:gd name="connsiteY25" fmla="*/ 32497 h 80194"/>
                  <a:gd name="connsiteX26" fmla="*/ 28913 w 50880"/>
                  <a:gd name="connsiteY26" fmla="*/ 35268 h 80194"/>
                  <a:gd name="connsiteX27" fmla="*/ 38057 w 50880"/>
                  <a:gd name="connsiteY27" fmla="*/ 39277 h 80194"/>
                  <a:gd name="connsiteX28" fmla="*/ 44954 w 50880"/>
                  <a:gd name="connsiteY28" fmla="*/ 43922 h 80194"/>
                  <a:gd name="connsiteX29" fmla="*/ 49340 w 50880"/>
                  <a:gd name="connsiteY29" fmla="*/ 49871 h 80194"/>
                  <a:gd name="connsiteX30" fmla="*/ 50875 w 50880"/>
                  <a:gd name="connsiteY30" fmla="*/ 57889 h 80194"/>
                  <a:gd name="connsiteX31" fmla="*/ 48364 w 50880"/>
                  <a:gd name="connsiteY31" fmla="*/ 67748 h 80194"/>
                  <a:gd name="connsiteX32" fmla="*/ 41654 w 50880"/>
                  <a:gd name="connsiteY32" fmla="*/ 74715 h 80194"/>
                  <a:gd name="connsiteX33" fmla="*/ 31983 w 50880"/>
                  <a:gd name="connsiteY33" fmla="*/ 78834 h 80194"/>
                  <a:gd name="connsiteX34" fmla="*/ 20514 w 50880"/>
                  <a:gd name="connsiteY34" fmla="*/ 80182 h 80194"/>
                  <a:gd name="connsiteX35" fmla="*/ 0 w 50880"/>
                  <a:gd name="connsiteY35" fmla="*/ 75635 h 8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80" h="80194">
                    <a:moveTo>
                      <a:pt x="0" y="75635"/>
                    </a:moveTo>
                    <a:lnTo>
                      <a:pt x="0" y="62490"/>
                    </a:lnTo>
                    <a:cubicBezTo>
                      <a:pt x="6359" y="67321"/>
                      <a:pt x="14133" y="69917"/>
                      <a:pt x="22115" y="69895"/>
                    </a:cubicBezTo>
                    <a:cubicBezTo>
                      <a:pt x="32904" y="69895"/>
                      <a:pt x="38299" y="66302"/>
                      <a:pt x="38299" y="59116"/>
                    </a:cubicBezTo>
                    <a:cubicBezTo>
                      <a:pt x="38353" y="57287"/>
                      <a:pt x="37882" y="55479"/>
                      <a:pt x="36917" y="53913"/>
                    </a:cubicBezTo>
                    <a:cubicBezTo>
                      <a:pt x="35919" y="52423"/>
                      <a:pt x="34648" y="51141"/>
                      <a:pt x="33167" y="50133"/>
                    </a:cubicBezTo>
                    <a:cubicBezTo>
                      <a:pt x="31435" y="48950"/>
                      <a:pt x="29571" y="47954"/>
                      <a:pt x="27619" y="47176"/>
                    </a:cubicBezTo>
                    <a:cubicBezTo>
                      <a:pt x="25492" y="46299"/>
                      <a:pt x="23212" y="45390"/>
                      <a:pt x="20767" y="44437"/>
                    </a:cubicBezTo>
                    <a:cubicBezTo>
                      <a:pt x="17708" y="43243"/>
                      <a:pt x="14714" y="41885"/>
                      <a:pt x="11809" y="40362"/>
                    </a:cubicBezTo>
                    <a:cubicBezTo>
                      <a:pt x="9440" y="39135"/>
                      <a:pt x="7269" y="37568"/>
                      <a:pt x="5362" y="35717"/>
                    </a:cubicBezTo>
                    <a:cubicBezTo>
                      <a:pt x="3673" y="34041"/>
                      <a:pt x="2346" y="32047"/>
                      <a:pt x="1458" y="29835"/>
                    </a:cubicBezTo>
                    <a:cubicBezTo>
                      <a:pt x="548" y="27381"/>
                      <a:pt x="110" y="24785"/>
                      <a:pt x="154" y="22167"/>
                    </a:cubicBezTo>
                    <a:cubicBezTo>
                      <a:pt x="88" y="18825"/>
                      <a:pt x="943" y="15517"/>
                      <a:pt x="2620" y="12625"/>
                    </a:cubicBezTo>
                    <a:cubicBezTo>
                      <a:pt x="4276" y="9843"/>
                      <a:pt x="6524" y="7466"/>
                      <a:pt x="9199" y="5658"/>
                    </a:cubicBezTo>
                    <a:cubicBezTo>
                      <a:pt x="12072" y="3730"/>
                      <a:pt x="15252" y="2295"/>
                      <a:pt x="18607" y="1430"/>
                    </a:cubicBezTo>
                    <a:cubicBezTo>
                      <a:pt x="22159" y="477"/>
                      <a:pt x="25821" y="-5"/>
                      <a:pt x="29505" y="6"/>
                    </a:cubicBezTo>
                    <a:cubicBezTo>
                      <a:pt x="35623" y="-93"/>
                      <a:pt x="41698" y="1079"/>
                      <a:pt x="47344" y="3445"/>
                    </a:cubicBezTo>
                    <a:lnTo>
                      <a:pt x="47344" y="15813"/>
                    </a:lnTo>
                    <a:cubicBezTo>
                      <a:pt x="41544" y="12067"/>
                      <a:pt x="34757" y="10138"/>
                      <a:pt x="27861" y="10270"/>
                    </a:cubicBezTo>
                    <a:cubicBezTo>
                      <a:pt x="25766" y="10248"/>
                      <a:pt x="23672" y="10511"/>
                      <a:pt x="21644" y="11059"/>
                    </a:cubicBezTo>
                    <a:cubicBezTo>
                      <a:pt x="19944" y="11508"/>
                      <a:pt x="18332" y="12253"/>
                      <a:pt x="16885" y="13250"/>
                    </a:cubicBezTo>
                    <a:cubicBezTo>
                      <a:pt x="15613" y="14137"/>
                      <a:pt x="14561" y="15309"/>
                      <a:pt x="13804" y="16656"/>
                    </a:cubicBezTo>
                    <a:cubicBezTo>
                      <a:pt x="13070" y="18004"/>
                      <a:pt x="12697" y="19505"/>
                      <a:pt x="12708" y="21038"/>
                    </a:cubicBezTo>
                    <a:cubicBezTo>
                      <a:pt x="12653" y="22780"/>
                      <a:pt x="13026" y="24500"/>
                      <a:pt x="13804" y="26055"/>
                    </a:cubicBezTo>
                    <a:cubicBezTo>
                      <a:pt x="14594" y="27480"/>
                      <a:pt x="15679" y="28706"/>
                      <a:pt x="16995" y="29660"/>
                    </a:cubicBezTo>
                    <a:cubicBezTo>
                      <a:pt x="18574" y="30810"/>
                      <a:pt x="20284" y="31763"/>
                      <a:pt x="22093" y="32497"/>
                    </a:cubicBezTo>
                    <a:cubicBezTo>
                      <a:pt x="24089" y="33351"/>
                      <a:pt x="26358" y="34271"/>
                      <a:pt x="28913" y="35268"/>
                    </a:cubicBezTo>
                    <a:cubicBezTo>
                      <a:pt x="32027" y="36440"/>
                      <a:pt x="35086" y="37777"/>
                      <a:pt x="38057" y="39277"/>
                    </a:cubicBezTo>
                    <a:cubicBezTo>
                      <a:pt x="40546" y="40515"/>
                      <a:pt x="42871" y="42082"/>
                      <a:pt x="44954" y="43922"/>
                    </a:cubicBezTo>
                    <a:cubicBezTo>
                      <a:pt x="46807" y="45587"/>
                      <a:pt x="48298" y="47614"/>
                      <a:pt x="49340" y="49871"/>
                    </a:cubicBezTo>
                    <a:cubicBezTo>
                      <a:pt x="50414" y="52401"/>
                      <a:pt x="50941" y="55139"/>
                      <a:pt x="50875" y="57889"/>
                    </a:cubicBezTo>
                    <a:cubicBezTo>
                      <a:pt x="50952" y="61340"/>
                      <a:pt x="50085" y="64747"/>
                      <a:pt x="48364" y="67748"/>
                    </a:cubicBezTo>
                    <a:cubicBezTo>
                      <a:pt x="46686" y="70542"/>
                      <a:pt x="44384" y="72930"/>
                      <a:pt x="41654" y="74715"/>
                    </a:cubicBezTo>
                    <a:cubicBezTo>
                      <a:pt x="38693" y="76632"/>
                      <a:pt x="35415" y="78024"/>
                      <a:pt x="31983" y="78834"/>
                    </a:cubicBezTo>
                    <a:cubicBezTo>
                      <a:pt x="28233" y="79743"/>
                      <a:pt x="24374" y="80193"/>
                      <a:pt x="20514" y="80182"/>
                    </a:cubicBezTo>
                    <a:cubicBezTo>
                      <a:pt x="13410" y="80357"/>
                      <a:pt x="6359" y="78801"/>
                      <a:pt x="0" y="756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2" name="Freeform: Shape 331">
                <a:extLst>
                  <a:ext uri="{FF2B5EF4-FFF2-40B4-BE49-F238E27FC236}">
                    <a16:creationId xmlns:a16="http://schemas.microsoft.com/office/drawing/2014/main" id="{64D53498-0D93-8E21-43E8-B7A423C17DCF}"/>
                  </a:ext>
                </a:extLst>
              </p:cNvPr>
              <p:cNvSpPr/>
              <p:nvPr/>
            </p:nvSpPr>
            <p:spPr>
              <a:xfrm>
                <a:off x="3559798" y="5213520"/>
                <a:ext cx="16030" cy="112109"/>
              </a:xfrm>
              <a:custGeom>
                <a:avLst/>
                <a:gdLst>
                  <a:gd name="connsiteX0" fmla="*/ 7942 w 16030"/>
                  <a:gd name="connsiteY0" fmla="*/ 15951 h 112109"/>
                  <a:gd name="connsiteX1" fmla="*/ 2328 w 16030"/>
                  <a:gd name="connsiteY1" fmla="*/ 13706 h 112109"/>
                  <a:gd name="connsiteX2" fmla="*/ 4 w 16030"/>
                  <a:gd name="connsiteY2" fmla="*/ 8020 h 112109"/>
                  <a:gd name="connsiteX3" fmla="*/ 7744 w 16030"/>
                  <a:gd name="connsiteY3" fmla="*/ 2 h 112109"/>
                  <a:gd name="connsiteX4" fmla="*/ 7942 w 16030"/>
                  <a:gd name="connsiteY4" fmla="*/ 2 h 112109"/>
                  <a:gd name="connsiteX5" fmla="*/ 13687 w 16030"/>
                  <a:gd name="connsiteY5" fmla="*/ 2291 h 112109"/>
                  <a:gd name="connsiteX6" fmla="*/ 13687 w 16030"/>
                  <a:gd name="connsiteY6" fmla="*/ 13629 h 112109"/>
                  <a:gd name="connsiteX7" fmla="*/ 7942 w 16030"/>
                  <a:gd name="connsiteY7" fmla="*/ 15951 h 112109"/>
                  <a:gd name="connsiteX8" fmla="*/ 13939 w 16030"/>
                  <a:gd name="connsiteY8" fmla="*/ 112110 h 112109"/>
                  <a:gd name="connsiteX9" fmla="*/ 1648 w 16030"/>
                  <a:gd name="connsiteY9" fmla="*/ 112110 h 112109"/>
                  <a:gd name="connsiteX10" fmla="*/ 1648 w 16030"/>
                  <a:gd name="connsiteY10" fmla="*/ 35429 h 112109"/>
                  <a:gd name="connsiteX11" fmla="*/ 13939 w 16030"/>
                  <a:gd name="connsiteY11" fmla="*/ 35429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30" h="112109">
                    <a:moveTo>
                      <a:pt x="7942" y="15951"/>
                    </a:moveTo>
                    <a:cubicBezTo>
                      <a:pt x="5848" y="15995"/>
                      <a:pt x="3819" y="15184"/>
                      <a:pt x="2328" y="13706"/>
                    </a:cubicBezTo>
                    <a:cubicBezTo>
                      <a:pt x="782" y="12227"/>
                      <a:pt x="-62" y="10156"/>
                      <a:pt x="4" y="8020"/>
                    </a:cubicBezTo>
                    <a:cubicBezTo>
                      <a:pt x="-73" y="3671"/>
                      <a:pt x="3392" y="78"/>
                      <a:pt x="7744" y="2"/>
                    </a:cubicBezTo>
                    <a:cubicBezTo>
                      <a:pt x="7810" y="2"/>
                      <a:pt x="7876" y="2"/>
                      <a:pt x="7942" y="2"/>
                    </a:cubicBezTo>
                    <a:cubicBezTo>
                      <a:pt x="10091" y="-42"/>
                      <a:pt x="12163" y="790"/>
                      <a:pt x="13687" y="2291"/>
                    </a:cubicBezTo>
                    <a:cubicBezTo>
                      <a:pt x="16812" y="5424"/>
                      <a:pt x="16812" y="10496"/>
                      <a:pt x="13687" y="13629"/>
                    </a:cubicBezTo>
                    <a:cubicBezTo>
                      <a:pt x="12174" y="15152"/>
                      <a:pt x="10091" y="15995"/>
                      <a:pt x="7942" y="15951"/>
                    </a:cubicBezTo>
                    <a:close/>
                    <a:moveTo>
                      <a:pt x="13939" y="112110"/>
                    </a:moveTo>
                    <a:lnTo>
                      <a:pt x="1648" y="112110"/>
                    </a:lnTo>
                    <a:lnTo>
                      <a:pt x="1648" y="35429"/>
                    </a:lnTo>
                    <a:lnTo>
                      <a:pt x="13939" y="35429"/>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3" name="Freeform: Shape 332">
                <a:extLst>
                  <a:ext uri="{FF2B5EF4-FFF2-40B4-BE49-F238E27FC236}">
                    <a16:creationId xmlns:a16="http://schemas.microsoft.com/office/drawing/2014/main" id="{D9955A9C-8000-89D4-3BAF-995CF5CCD90D}"/>
                  </a:ext>
                </a:extLst>
              </p:cNvPr>
              <p:cNvSpPr/>
              <p:nvPr/>
            </p:nvSpPr>
            <p:spPr>
              <a:xfrm>
                <a:off x="3591914" y="5247112"/>
                <a:ext cx="57763" cy="80342"/>
              </a:xfrm>
              <a:custGeom>
                <a:avLst/>
                <a:gdLst>
                  <a:gd name="connsiteX0" fmla="*/ 57610 w 57763"/>
                  <a:gd name="connsiteY0" fmla="*/ 74989 h 80342"/>
                  <a:gd name="connsiteX1" fmla="*/ 36624 w 57763"/>
                  <a:gd name="connsiteY1" fmla="*/ 80314 h 80342"/>
                  <a:gd name="connsiteX2" fmla="*/ 10134 w 57763"/>
                  <a:gd name="connsiteY2" fmla="*/ 69644 h 80342"/>
                  <a:gd name="connsiteX3" fmla="*/ 47 w 57763"/>
                  <a:gd name="connsiteY3" fmla="*/ 41973 h 80342"/>
                  <a:gd name="connsiteX4" fmla="*/ 10913 w 57763"/>
                  <a:gd name="connsiteY4" fmla="*/ 11530 h 80342"/>
                  <a:gd name="connsiteX5" fmla="*/ 39925 w 57763"/>
                  <a:gd name="connsiteY5" fmla="*/ 39 h 80342"/>
                  <a:gd name="connsiteX6" fmla="*/ 57764 w 57763"/>
                  <a:gd name="connsiteY6" fmla="*/ 3774 h 80342"/>
                  <a:gd name="connsiteX7" fmla="*/ 57764 w 57763"/>
                  <a:gd name="connsiteY7" fmla="*/ 16361 h 80342"/>
                  <a:gd name="connsiteX8" fmla="*/ 39475 w 57763"/>
                  <a:gd name="connsiteY8" fmla="*/ 10369 h 80342"/>
                  <a:gd name="connsiteX9" fmla="*/ 20178 w 57763"/>
                  <a:gd name="connsiteY9" fmla="*/ 18793 h 80342"/>
                  <a:gd name="connsiteX10" fmla="*/ 12634 w 57763"/>
                  <a:gd name="connsiteY10" fmla="*/ 40921 h 80342"/>
                  <a:gd name="connsiteX11" fmla="*/ 19728 w 57763"/>
                  <a:gd name="connsiteY11" fmla="*/ 62184 h 80342"/>
                  <a:gd name="connsiteX12" fmla="*/ 38719 w 57763"/>
                  <a:gd name="connsiteY12" fmla="*/ 69973 h 80342"/>
                  <a:gd name="connsiteX13" fmla="*/ 57610 w 57763"/>
                  <a:gd name="connsiteY13" fmla="*/ 63312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42">
                    <a:moveTo>
                      <a:pt x="57610" y="74989"/>
                    </a:moveTo>
                    <a:cubicBezTo>
                      <a:pt x="51240" y="78659"/>
                      <a:pt x="43981" y="80510"/>
                      <a:pt x="36624" y="80314"/>
                    </a:cubicBezTo>
                    <a:cubicBezTo>
                      <a:pt x="26669" y="80719"/>
                      <a:pt x="17020" y="76830"/>
                      <a:pt x="10134" y="69644"/>
                    </a:cubicBezTo>
                    <a:cubicBezTo>
                      <a:pt x="3249" y="62107"/>
                      <a:pt x="-370" y="52160"/>
                      <a:pt x="47" y="41973"/>
                    </a:cubicBezTo>
                    <a:cubicBezTo>
                      <a:pt x="-479" y="30788"/>
                      <a:pt x="3424" y="19856"/>
                      <a:pt x="10913" y="11530"/>
                    </a:cubicBezTo>
                    <a:cubicBezTo>
                      <a:pt x="18489" y="3731"/>
                      <a:pt x="29059" y="-454"/>
                      <a:pt x="39925" y="39"/>
                    </a:cubicBezTo>
                    <a:cubicBezTo>
                      <a:pt x="46076" y="-93"/>
                      <a:pt x="52183" y="1189"/>
                      <a:pt x="57764" y="3774"/>
                    </a:cubicBezTo>
                    <a:lnTo>
                      <a:pt x="57764" y="16361"/>
                    </a:lnTo>
                    <a:cubicBezTo>
                      <a:pt x="52446" y="12494"/>
                      <a:pt x="46054" y="10391"/>
                      <a:pt x="39475" y="10369"/>
                    </a:cubicBezTo>
                    <a:cubicBezTo>
                      <a:pt x="32107" y="10161"/>
                      <a:pt x="25035" y="13250"/>
                      <a:pt x="20178" y="18793"/>
                    </a:cubicBezTo>
                    <a:cubicBezTo>
                      <a:pt x="14959" y="24949"/>
                      <a:pt x="12261" y="32859"/>
                      <a:pt x="12634" y="40921"/>
                    </a:cubicBezTo>
                    <a:cubicBezTo>
                      <a:pt x="12207" y="48655"/>
                      <a:pt x="14739" y="56257"/>
                      <a:pt x="19728" y="62184"/>
                    </a:cubicBezTo>
                    <a:cubicBezTo>
                      <a:pt x="24607" y="67442"/>
                      <a:pt x="31548" y="70301"/>
                      <a:pt x="38719" y="69973"/>
                    </a:cubicBezTo>
                    <a:cubicBezTo>
                      <a:pt x="45582" y="69928"/>
                      <a:pt x="52238" y="67584"/>
                      <a:pt x="57610" y="6331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4" name="Freeform: Shape 333">
                <a:extLst>
                  <a:ext uri="{FF2B5EF4-FFF2-40B4-BE49-F238E27FC236}">
                    <a16:creationId xmlns:a16="http://schemas.microsoft.com/office/drawing/2014/main" id="{5158206D-6067-9925-1C66-A158EE826905}"/>
                  </a:ext>
                </a:extLst>
              </p:cNvPr>
              <p:cNvSpPr/>
              <p:nvPr/>
            </p:nvSpPr>
            <p:spPr>
              <a:xfrm>
                <a:off x="3662815" y="5247142"/>
                <a:ext cx="60664" cy="80327"/>
              </a:xfrm>
              <a:custGeom>
                <a:avLst/>
                <a:gdLst>
                  <a:gd name="connsiteX0" fmla="*/ 60653 w 60664"/>
                  <a:gd name="connsiteY0" fmla="*/ 78488 h 80327"/>
                  <a:gd name="connsiteX1" fmla="*/ 48362 w 60664"/>
                  <a:gd name="connsiteY1" fmla="*/ 78488 h 80327"/>
                  <a:gd name="connsiteX2" fmla="*/ 48362 w 60664"/>
                  <a:gd name="connsiteY2" fmla="*/ 66503 h 80327"/>
                  <a:gd name="connsiteX3" fmla="*/ 48066 w 60664"/>
                  <a:gd name="connsiteY3" fmla="*/ 66503 h 80327"/>
                  <a:gd name="connsiteX4" fmla="*/ 24449 w 60664"/>
                  <a:gd name="connsiteY4" fmla="*/ 80284 h 80327"/>
                  <a:gd name="connsiteX5" fmla="*/ 6500 w 60664"/>
                  <a:gd name="connsiteY5" fmla="*/ 74215 h 80327"/>
                  <a:gd name="connsiteX6" fmla="*/ 20 w 60664"/>
                  <a:gd name="connsiteY6" fmla="*/ 58112 h 80327"/>
                  <a:gd name="connsiteX7" fmla="*/ 25348 w 60664"/>
                  <a:gd name="connsiteY7" fmla="*/ 33103 h 80327"/>
                  <a:gd name="connsiteX8" fmla="*/ 48373 w 60664"/>
                  <a:gd name="connsiteY8" fmla="*/ 29882 h 80327"/>
                  <a:gd name="connsiteX9" fmla="*/ 32562 w 60664"/>
                  <a:gd name="connsiteY9" fmla="*/ 10340 h 80327"/>
                  <a:gd name="connsiteX10" fmla="*/ 7530 w 60664"/>
                  <a:gd name="connsiteY10" fmla="*/ 19771 h 80327"/>
                  <a:gd name="connsiteX11" fmla="*/ 7530 w 60664"/>
                  <a:gd name="connsiteY11" fmla="*/ 7196 h 80327"/>
                  <a:gd name="connsiteX12" fmla="*/ 33604 w 60664"/>
                  <a:gd name="connsiteY12" fmla="*/ 10 h 80327"/>
                  <a:gd name="connsiteX13" fmla="*/ 60664 w 60664"/>
                  <a:gd name="connsiteY13" fmla="*/ 28612 h 80327"/>
                  <a:gd name="connsiteX14" fmla="*/ 48362 w 60664"/>
                  <a:gd name="connsiteY14" fmla="*/ 39698 h 80327"/>
                  <a:gd name="connsiteX15" fmla="*/ 29854 w 60664"/>
                  <a:gd name="connsiteY15" fmla="*/ 42239 h 80327"/>
                  <a:gd name="connsiteX16" fmla="*/ 16960 w 60664"/>
                  <a:gd name="connsiteY16" fmla="*/ 46468 h 80327"/>
                  <a:gd name="connsiteX17" fmla="*/ 12574 w 60664"/>
                  <a:gd name="connsiteY17" fmla="*/ 57214 h 80327"/>
                  <a:gd name="connsiteX18" fmla="*/ 16587 w 60664"/>
                  <a:gd name="connsiteY18" fmla="*/ 66394 h 80327"/>
                  <a:gd name="connsiteX19" fmla="*/ 27266 w 60664"/>
                  <a:gd name="connsiteY19" fmla="*/ 69943 h 80327"/>
                  <a:gd name="connsiteX20" fmla="*/ 42364 w 60664"/>
                  <a:gd name="connsiteY20" fmla="*/ 63546 h 80327"/>
                  <a:gd name="connsiteX21" fmla="*/ 48329 w 60664"/>
                  <a:gd name="connsiteY21" fmla="*/ 47333 h 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4" h="80327">
                    <a:moveTo>
                      <a:pt x="60653" y="78488"/>
                    </a:moveTo>
                    <a:lnTo>
                      <a:pt x="48362" y="78488"/>
                    </a:lnTo>
                    <a:lnTo>
                      <a:pt x="48362" y="66503"/>
                    </a:lnTo>
                    <a:lnTo>
                      <a:pt x="48066" y="66503"/>
                    </a:lnTo>
                    <a:cubicBezTo>
                      <a:pt x="43483" y="75234"/>
                      <a:pt x="34316" y="80591"/>
                      <a:pt x="24449" y="80284"/>
                    </a:cubicBezTo>
                    <a:cubicBezTo>
                      <a:pt x="17903" y="80667"/>
                      <a:pt x="11467" y="78488"/>
                      <a:pt x="6500" y="74215"/>
                    </a:cubicBezTo>
                    <a:cubicBezTo>
                      <a:pt x="2114" y="70031"/>
                      <a:pt x="-243" y="64159"/>
                      <a:pt x="20" y="58112"/>
                    </a:cubicBezTo>
                    <a:cubicBezTo>
                      <a:pt x="20" y="43784"/>
                      <a:pt x="8463" y="35447"/>
                      <a:pt x="25348" y="33103"/>
                    </a:cubicBezTo>
                    <a:lnTo>
                      <a:pt x="48373" y="29882"/>
                    </a:lnTo>
                    <a:cubicBezTo>
                      <a:pt x="48373" y="16858"/>
                      <a:pt x="43099" y="10340"/>
                      <a:pt x="32562" y="10340"/>
                    </a:cubicBezTo>
                    <a:cubicBezTo>
                      <a:pt x="23341" y="10329"/>
                      <a:pt x="14438" y="13681"/>
                      <a:pt x="7530" y="19771"/>
                    </a:cubicBezTo>
                    <a:lnTo>
                      <a:pt x="7530" y="7196"/>
                    </a:lnTo>
                    <a:cubicBezTo>
                      <a:pt x="15337" y="2321"/>
                      <a:pt x="24394" y="-177"/>
                      <a:pt x="33604" y="10"/>
                    </a:cubicBezTo>
                    <a:cubicBezTo>
                      <a:pt x="51640" y="10"/>
                      <a:pt x="60664" y="9540"/>
                      <a:pt x="60664" y="28612"/>
                    </a:cubicBezTo>
                    <a:close/>
                    <a:moveTo>
                      <a:pt x="48362" y="39698"/>
                    </a:moveTo>
                    <a:lnTo>
                      <a:pt x="29854" y="42239"/>
                    </a:lnTo>
                    <a:cubicBezTo>
                      <a:pt x="25293" y="42655"/>
                      <a:pt x="20885" y="44101"/>
                      <a:pt x="16960" y="46468"/>
                    </a:cubicBezTo>
                    <a:cubicBezTo>
                      <a:pt x="13780" y="49074"/>
                      <a:pt x="12125" y="53117"/>
                      <a:pt x="12574" y="57214"/>
                    </a:cubicBezTo>
                    <a:cubicBezTo>
                      <a:pt x="12475" y="60719"/>
                      <a:pt x="13945" y="64082"/>
                      <a:pt x="16587" y="66394"/>
                    </a:cubicBezTo>
                    <a:cubicBezTo>
                      <a:pt x="19580" y="68869"/>
                      <a:pt x="23385" y="70140"/>
                      <a:pt x="27266" y="69943"/>
                    </a:cubicBezTo>
                    <a:cubicBezTo>
                      <a:pt x="32990" y="70096"/>
                      <a:pt x="38494" y="67763"/>
                      <a:pt x="42364" y="63546"/>
                    </a:cubicBezTo>
                    <a:cubicBezTo>
                      <a:pt x="46399" y="59131"/>
                      <a:pt x="48537" y="53303"/>
                      <a:pt x="48329" y="4733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5" name="Freeform: Shape 334">
                <a:extLst>
                  <a:ext uri="{FF2B5EF4-FFF2-40B4-BE49-F238E27FC236}">
                    <a16:creationId xmlns:a16="http://schemas.microsoft.com/office/drawing/2014/main" id="{8BE2E0F4-C2F2-1351-40AA-CBB56B32505A}"/>
                  </a:ext>
                </a:extLst>
              </p:cNvPr>
              <p:cNvSpPr/>
              <p:nvPr/>
            </p:nvSpPr>
            <p:spPr>
              <a:xfrm>
                <a:off x="3745615" y="5212097"/>
                <a:ext cx="12291" cy="113532"/>
              </a:xfrm>
              <a:custGeom>
                <a:avLst/>
                <a:gdLst>
                  <a:gd name="connsiteX0" fmla="*/ 12291 w 12291"/>
                  <a:gd name="connsiteY0" fmla="*/ 113532 h 113532"/>
                  <a:gd name="connsiteX1" fmla="*/ 0 w 12291"/>
                  <a:gd name="connsiteY1" fmla="*/ 113532 h 113532"/>
                  <a:gd name="connsiteX2" fmla="*/ 0 w 12291"/>
                  <a:gd name="connsiteY2" fmla="*/ 0 h 113532"/>
                  <a:gd name="connsiteX3" fmla="*/ 12291 w 12291"/>
                  <a:gd name="connsiteY3" fmla="*/ 0 h 113532"/>
                </a:gdLst>
                <a:ahLst/>
                <a:cxnLst>
                  <a:cxn ang="0">
                    <a:pos x="connsiteX0" y="connsiteY0"/>
                  </a:cxn>
                  <a:cxn ang="0">
                    <a:pos x="connsiteX1" y="connsiteY1"/>
                  </a:cxn>
                  <a:cxn ang="0">
                    <a:pos x="connsiteX2" y="connsiteY2"/>
                  </a:cxn>
                  <a:cxn ang="0">
                    <a:pos x="connsiteX3" y="connsiteY3"/>
                  </a:cxn>
                </a:cxnLst>
                <a:rect l="l" t="t" r="r" b="b"/>
                <a:pathLst>
                  <a:path w="12291" h="113532">
                    <a:moveTo>
                      <a:pt x="12291" y="113532"/>
                    </a:moveTo>
                    <a:lnTo>
                      <a:pt x="0" y="113532"/>
                    </a:lnTo>
                    <a:lnTo>
                      <a:pt x="0" y="0"/>
                    </a:lnTo>
                    <a:lnTo>
                      <a:pt x="12291"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6" name="Freeform: Shape 335">
                <a:extLst>
                  <a:ext uri="{FF2B5EF4-FFF2-40B4-BE49-F238E27FC236}">
                    <a16:creationId xmlns:a16="http://schemas.microsoft.com/office/drawing/2014/main" id="{4D810338-C705-B74F-6CE3-9DAA3FD33977}"/>
                  </a:ext>
                </a:extLst>
              </p:cNvPr>
              <p:cNvSpPr/>
              <p:nvPr/>
            </p:nvSpPr>
            <p:spPr>
              <a:xfrm>
                <a:off x="3824833" y="5247138"/>
                <a:ext cx="63841" cy="78523"/>
              </a:xfrm>
              <a:custGeom>
                <a:avLst/>
                <a:gdLst>
                  <a:gd name="connsiteX0" fmla="*/ 63714 w 63841"/>
                  <a:gd name="connsiteY0" fmla="*/ 78491 h 78523"/>
                  <a:gd name="connsiteX1" fmla="*/ 51423 w 63841"/>
                  <a:gd name="connsiteY1" fmla="*/ 78491 h 78523"/>
                  <a:gd name="connsiteX2" fmla="*/ 51423 w 63841"/>
                  <a:gd name="connsiteY2" fmla="*/ 34761 h 78523"/>
                  <a:gd name="connsiteX3" fmla="*/ 33584 w 63841"/>
                  <a:gd name="connsiteY3" fmla="*/ 10343 h 78523"/>
                  <a:gd name="connsiteX4" fmla="*/ 18332 w 63841"/>
                  <a:gd name="connsiteY4" fmla="*/ 17266 h 78523"/>
                  <a:gd name="connsiteX5" fmla="*/ 12291 w 63841"/>
                  <a:gd name="connsiteY5" fmla="*/ 34794 h 78523"/>
                  <a:gd name="connsiteX6" fmla="*/ 12291 w 63841"/>
                  <a:gd name="connsiteY6" fmla="*/ 78524 h 78523"/>
                  <a:gd name="connsiteX7" fmla="*/ 0 w 63841"/>
                  <a:gd name="connsiteY7" fmla="*/ 78524 h 78523"/>
                  <a:gd name="connsiteX8" fmla="*/ 0 w 63841"/>
                  <a:gd name="connsiteY8" fmla="*/ 1843 h 78523"/>
                  <a:gd name="connsiteX9" fmla="*/ 12302 w 63841"/>
                  <a:gd name="connsiteY9" fmla="*/ 1843 h 78523"/>
                  <a:gd name="connsiteX10" fmla="*/ 12302 w 63841"/>
                  <a:gd name="connsiteY10" fmla="*/ 14571 h 78523"/>
                  <a:gd name="connsiteX11" fmla="*/ 12609 w 63841"/>
                  <a:gd name="connsiteY11" fmla="*/ 14571 h 78523"/>
                  <a:gd name="connsiteX12" fmla="*/ 37827 w 63841"/>
                  <a:gd name="connsiteY12" fmla="*/ 46 h 78523"/>
                  <a:gd name="connsiteX13" fmla="*/ 57081 w 63841"/>
                  <a:gd name="connsiteY13" fmla="*/ 8163 h 78523"/>
                  <a:gd name="connsiteX14" fmla="*/ 63758 w 63841"/>
                  <a:gd name="connsiteY14" fmla="*/ 31639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41" h="78523">
                    <a:moveTo>
                      <a:pt x="63714" y="78491"/>
                    </a:moveTo>
                    <a:lnTo>
                      <a:pt x="51423" y="78491"/>
                    </a:lnTo>
                    <a:lnTo>
                      <a:pt x="51423" y="34761"/>
                    </a:lnTo>
                    <a:cubicBezTo>
                      <a:pt x="51423" y="18482"/>
                      <a:pt x="45480" y="10343"/>
                      <a:pt x="33584" y="10343"/>
                    </a:cubicBezTo>
                    <a:cubicBezTo>
                      <a:pt x="27707" y="10223"/>
                      <a:pt x="22104" y="12764"/>
                      <a:pt x="18332" y="17266"/>
                    </a:cubicBezTo>
                    <a:cubicBezTo>
                      <a:pt x="14210" y="22152"/>
                      <a:pt x="12050" y="28407"/>
                      <a:pt x="12291" y="34794"/>
                    </a:cubicBezTo>
                    <a:lnTo>
                      <a:pt x="12291" y="78524"/>
                    </a:lnTo>
                    <a:lnTo>
                      <a:pt x="0" y="78524"/>
                    </a:lnTo>
                    <a:lnTo>
                      <a:pt x="0" y="1843"/>
                    </a:lnTo>
                    <a:lnTo>
                      <a:pt x="12302" y="1843"/>
                    </a:lnTo>
                    <a:lnTo>
                      <a:pt x="12302" y="14571"/>
                    </a:lnTo>
                    <a:lnTo>
                      <a:pt x="12609" y="14571"/>
                    </a:lnTo>
                    <a:cubicBezTo>
                      <a:pt x="17587" y="5359"/>
                      <a:pt x="27345" y="-272"/>
                      <a:pt x="37827" y="46"/>
                    </a:cubicBezTo>
                    <a:cubicBezTo>
                      <a:pt x="45162" y="-414"/>
                      <a:pt x="52289" y="2598"/>
                      <a:pt x="57081" y="8163"/>
                    </a:cubicBezTo>
                    <a:cubicBezTo>
                      <a:pt x="61960" y="14977"/>
                      <a:pt x="64328" y="23280"/>
                      <a:pt x="63758" y="3163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7" name="Freeform: Shape 336">
                <a:extLst>
                  <a:ext uri="{FF2B5EF4-FFF2-40B4-BE49-F238E27FC236}">
                    <a16:creationId xmlns:a16="http://schemas.microsoft.com/office/drawing/2014/main" id="{546631E1-ED21-F7D0-BCB6-A12698C17D6B}"/>
                  </a:ext>
                </a:extLst>
              </p:cNvPr>
              <p:cNvSpPr/>
              <p:nvPr/>
            </p:nvSpPr>
            <p:spPr>
              <a:xfrm>
                <a:off x="3905995" y="5247105"/>
                <a:ext cx="67083" cy="80373"/>
              </a:xfrm>
              <a:custGeom>
                <a:avLst/>
                <a:gdLst>
                  <a:gd name="connsiteX0" fmla="*/ 67022 w 67083"/>
                  <a:gd name="connsiteY0" fmla="*/ 43251 h 80373"/>
                  <a:gd name="connsiteX1" fmla="*/ 12836 w 67083"/>
                  <a:gd name="connsiteY1" fmla="*/ 43251 h 80373"/>
                  <a:gd name="connsiteX2" fmla="*/ 19722 w 67083"/>
                  <a:gd name="connsiteY2" fmla="*/ 63024 h 80373"/>
                  <a:gd name="connsiteX3" fmla="*/ 37868 w 67083"/>
                  <a:gd name="connsiteY3" fmla="*/ 69980 h 80373"/>
                  <a:gd name="connsiteX4" fmla="*/ 61705 w 67083"/>
                  <a:gd name="connsiteY4" fmla="*/ 61446 h 80373"/>
                  <a:gd name="connsiteX5" fmla="*/ 61705 w 67083"/>
                  <a:gd name="connsiteY5" fmla="*/ 72982 h 80373"/>
                  <a:gd name="connsiteX6" fmla="*/ 34940 w 67083"/>
                  <a:gd name="connsiteY6" fmla="*/ 80321 h 80373"/>
                  <a:gd name="connsiteX7" fmla="*/ 9382 w 67083"/>
                  <a:gd name="connsiteY7" fmla="*/ 69871 h 80373"/>
                  <a:gd name="connsiteX8" fmla="*/ 85 w 67083"/>
                  <a:gd name="connsiteY8" fmla="*/ 40480 h 80373"/>
                  <a:gd name="connsiteX9" fmla="*/ 10238 w 67083"/>
                  <a:gd name="connsiteY9" fmla="*/ 11308 h 80373"/>
                  <a:gd name="connsiteX10" fmla="*/ 35456 w 67083"/>
                  <a:gd name="connsiteY10" fmla="*/ 47 h 80373"/>
                  <a:gd name="connsiteX11" fmla="*/ 58766 w 67083"/>
                  <a:gd name="connsiteY11" fmla="*/ 9774 h 80373"/>
                  <a:gd name="connsiteX12" fmla="*/ 67011 w 67083"/>
                  <a:gd name="connsiteY12" fmla="*/ 36810 h 80373"/>
                  <a:gd name="connsiteX13" fmla="*/ 54435 w 67083"/>
                  <a:gd name="connsiteY13" fmla="*/ 32844 h 80373"/>
                  <a:gd name="connsiteX14" fmla="*/ 49293 w 67083"/>
                  <a:gd name="connsiteY14" fmla="*/ 16292 h 80373"/>
                  <a:gd name="connsiteX15" fmla="*/ 35247 w 67083"/>
                  <a:gd name="connsiteY15" fmla="*/ 10377 h 80373"/>
                  <a:gd name="connsiteX16" fmla="*/ 20478 w 67083"/>
                  <a:gd name="connsiteY16" fmla="*/ 16588 h 80373"/>
                  <a:gd name="connsiteX17" fmla="*/ 12979 w 67083"/>
                  <a:gd name="connsiteY17" fmla="*/ 32844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73">
                    <a:moveTo>
                      <a:pt x="67022" y="43251"/>
                    </a:moveTo>
                    <a:lnTo>
                      <a:pt x="12836" y="43251"/>
                    </a:lnTo>
                    <a:cubicBezTo>
                      <a:pt x="12551" y="50470"/>
                      <a:pt x="15007" y="57536"/>
                      <a:pt x="19722" y="63024"/>
                    </a:cubicBezTo>
                    <a:cubicBezTo>
                      <a:pt x="24502" y="67822"/>
                      <a:pt x="31103" y="70353"/>
                      <a:pt x="37868" y="69980"/>
                    </a:cubicBezTo>
                    <a:cubicBezTo>
                      <a:pt x="46563" y="69969"/>
                      <a:pt x="54983" y="66946"/>
                      <a:pt x="61705" y="61446"/>
                    </a:cubicBezTo>
                    <a:lnTo>
                      <a:pt x="61705" y="72982"/>
                    </a:lnTo>
                    <a:cubicBezTo>
                      <a:pt x="53788" y="78218"/>
                      <a:pt x="44414" y="80781"/>
                      <a:pt x="34940" y="80321"/>
                    </a:cubicBezTo>
                    <a:cubicBezTo>
                      <a:pt x="25292" y="80814"/>
                      <a:pt x="15917" y="76980"/>
                      <a:pt x="9382" y="69871"/>
                    </a:cubicBezTo>
                    <a:cubicBezTo>
                      <a:pt x="2727" y="61567"/>
                      <a:pt x="-584" y="51094"/>
                      <a:pt x="85" y="40480"/>
                    </a:cubicBezTo>
                    <a:cubicBezTo>
                      <a:pt x="-365" y="29821"/>
                      <a:pt x="3264" y="19392"/>
                      <a:pt x="10238" y="11308"/>
                    </a:cubicBezTo>
                    <a:cubicBezTo>
                      <a:pt x="16553" y="4001"/>
                      <a:pt x="25796" y="-118"/>
                      <a:pt x="35456" y="47"/>
                    </a:cubicBezTo>
                    <a:cubicBezTo>
                      <a:pt x="44304" y="-457"/>
                      <a:pt x="52900" y="3125"/>
                      <a:pt x="58766" y="9774"/>
                    </a:cubicBezTo>
                    <a:cubicBezTo>
                      <a:pt x="64665" y="17508"/>
                      <a:pt x="67593" y="27104"/>
                      <a:pt x="67011" y="36810"/>
                    </a:cubicBezTo>
                    <a:close/>
                    <a:moveTo>
                      <a:pt x="54435" y="32844"/>
                    </a:moveTo>
                    <a:cubicBezTo>
                      <a:pt x="54742" y="26896"/>
                      <a:pt x="52922" y="21024"/>
                      <a:pt x="49293" y="16292"/>
                    </a:cubicBezTo>
                    <a:cubicBezTo>
                      <a:pt x="45762" y="12283"/>
                      <a:pt x="40587" y="10103"/>
                      <a:pt x="35247" y="10377"/>
                    </a:cubicBezTo>
                    <a:cubicBezTo>
                      <a:pt x="29667" y="10278"/>
                      <a:pt x="24305" y="12535"/>
                      <a:pt x="20478" y="16588"/>
                    </a:cubicBezTo>
                    <a:cubicBezTo>
                      <a:pt x="16279" y="21047"/>
                      <a:pt x="13648" y="26754"/>
                      <a:pt x="12979" y="3284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8" name="Freeform: Shape 337">
                <a:extLst>
                  <a:ext uri="{FF2B5EF4-FFF2-40B4-BE49-F238E27FC236}">
                    <a16:creationId xmlns:a16="http://schemas.microsoft.com/office/drawing/2014/main" id="{A8707F51-1B31-9F53-B6C3-1CE74EFFD227}"/>
                  </a:ext>
                </a:extLst>
              </p:cNvPr>
              <p:cNvSpPr/>
              <p:nvPr/>
            </p:nvSpPr>
            <p:spPr>
              <a:xfrm>
                <a:off x="3982216" y="5226195"/>
                <a:ext cx="44789" cy="101100"/>
              </a:xfrm>
              <a:custGeom>
                <a:avLst/>
                <a:gdLst>
                  <a:gd name="connsiteX0" fmla="*/ 44789 w 44789"/>
                  <a:gd name="connsiteY0" fmla="*/ 98678 h 101100"/>
                  <a:gd name="connsiteX1" fmla="*/ 33321 w 44789"/>
                  <a:gd name="connsiteY1" fmla="*/ 101077 h 101100"/>
                  <a:gd name="connsiteX2" fmla="*/ 13157 w 44789"/>
                  <a:gd name="connsiteY2" fmla="*/ 78610 h 101100"/>
                  <a:gd name="connsiteX3" fmla="*/ 13157 w 44789"/>
                  <a:gd name="connsiteY3" fmla="*/ 33236 h 101100"/>
                  <a:gd name="connsiteX4" fmla="*/ 0 w 44789"/>
                  <a:gd name="connsiteY4" fmla="*/ 33236 h 101100"/>
                  <a:gd name="connsiteX5" fmla="*/ 0 w 44789"/>
                  <a:gd name="connsiteY5" fmla="*/ 22753 h 101100"/>
                  <a:gd name="connsiteX6" fmla="*/ 13157 w 44789"/>
                  <a:gd name="connsiteY6" fmla="*/ 22753 h 101100"/>
                  <a:gd name="connsiteX7" fmla="*/ 13157 w 44789"/>
                  <a:gd name="connsiteY7" fmla="*/ 3977 h 101100"/>
                  <a:gd name="connsiteX8" fmla="*/ 25449 w 44789"/>
                  <a:gd name="connsiteY8" fmla="*/ 0 h 101100"/>
                  <a:gd name="connsiteX9" fmla="*/ 25449 w 44789"/>
                  <a:gd name="connsiteY9" fmla="*/ 22698 h 101100"/>
                  <a:gd name="connsiteX10" fmla="*/ 44789 w 44789"/>
                  <a:gd name="connsiteY10" fmla="*/ 22698 h 101100"/>
                  <a:gd name="connsiteX11" fmla="*/ 44789 w 44789"/>
                  <a:gd name="connsiteY11" fmla="*/ 33181 h 101100"/>
                  <a:gd name="connsiteX12" fmla="*/ 25449 w 44789"/>
                  <a:gd name="connsiteY12" fmla="*/ 33181 h 101100"/>
                  <a:gd name="connsiteX13" fmla="*/ 25449 w 44789"/>
                  <a:gd name="connsiteY13" fmla="*/ 76386 h 101100"/>
                  <a:gd name="connsiteX14" fmla="*/ 28069 w 44789"/>
                  <a:gd name="connsiteY14" fmla="*/ 87340 h 101100"/>
                  <a:gd name="connsiteX15" fmla="*/ 36764 w 44789"/>
                  <a:gd name="connsiteY15" fmla="*/ 90626 h 101100"/>
                  <a:gd name="connsiteX16" fmla="*/ 44789 w 44789"/>
                  <a:gd name="connsiteY16" fmla="*/ 88074 h 10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100">
                    <a:moveTo>
                      <a:pt x="44789" y="98678"/>
                    </a:moveTo>
                    <a:cubicBezTo>
                      <a:pt x="41226" y="100420"/>
                      <a:pt x="37279" y="101252"/>
                      <a:pt x="33321" y="101077"/>
                    </a:cubicBezTo>
                    <a:cubicBezTo>
                      <a:pt x="19868" y="101077"/>
                      <a:pt x="13146" y="93584"/>
                      <a:pt x="13157" y="78610"/>
                    </a:cubicBezTo>
                    <a:lnTo>
                      <a:pt x="13157" y="33236"/>
                    </a:lnTo>
                    <a:lnTo>
                      <a:pt x="0" y="33236"/>
                    </a:lnTo>
                    <a:lnTo>
                      <a:pt x="0" y="22753"/>
                    </a:lnTo>
                    <a:lnTo>
                      <a:pt x="13157" y="22753"/>
                    </a:lnTo>
                    <a:lnTo>
                      <a:pt x="13157" y="3977"/>
                    </a:lnTo>
                    <a:lnTo>
                      <a:pt x="25449" y="0"/>
                    </a:lnTo>
                    <a:lnTo>
                      <a:pt x="25449" y="22698"/>
                    </a:lnTo>
                    <a:lnTo>
                      <a:pt x="44789" y="22698"/>
                    </a:lnTo>
                    <a:lnTo>
                      <a:pt x="44789" y="33181"/>
                    </a:lnTo>
                    <a:lnTo>
                      <a:pt x="25449" y="33181"/>
                    </a:lnTo>
                    <a:lnTo>
                      <a:pt x="25449" y="76386"/>
                    </a:lnTo>
                    <a:cubicBezTo>
                      <a:pt x="25119" y="80220"/>
                      <a:pt x="26040" y="84065"/>
                      <a:pt x="28069" y="87340"/>
                    </a:cubicBezTo>
                    <a:cubicBezTo>
                      <a:pt x="30295" y="89728"/>
                      <a:pt x="33507" y="90944"/>
                      <a:pt x="36764" y="90626"/>
                    </a:cubicBezTo>
                    <a:cubicBezTo>
                      <a:pt x="39647" y="90692"/>
                      <a:pt x="42476" y="89794"/>
                      <a:pt x="44789" y="880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9" name="Freeform: Shape 338">
                <a:extLst>
                  <a:ext uri="{FF2B5EF4-FFF2-40B4-BE49-F238E27FC236}">
                    <a16:creationId xmlns:a16="http://schemas.microsoft.com/office/drawing/2014/main" id="{1B6A6B9F-11F0-1024-F22D-A47C884382DE}"/>
                  </a:ext>
                </a:extLst>
              </p:cNvPr>
              <p:cNvSpPr/>
              <p:nvPr/>
            </p:nvSpPr>
            <p:spPr>
              <a:xfrm>
                <a:off x="4036841" y="5248915"/>
                <a:ext cx="107374" cy="76714"/>
              </a:xfrm>
              <a:custGeom>
                <a:avLst/>
                <a:gdLst>
                  <a:gd name="connsiteX0" fmla="*/ 107374 w 107374"/>
                  <a:gd name="connsiteY0" fmla="*/ 33 h 76714"/>
                  <a:gd name="connsiteX1" fmla="*/ 84349 w 107374"/>
                  <a:gd name="connsiteY1" fmla="*/ 76714 h 76714"/>
                  <a:gd name="connsiteX2" fmla="*/ 71597 w 107374"/>
                  <a:gd name="connsiteY2" fmla="*/ 76714 h 76714"/>
                  <a:gd name="connsiteX3" fmla="*/ 55765 w 107374"/>
                  <a:gd name="connsiteY3" fmla="*/ 21789 h 76714"/>
                  <a:gd name="connsiteX4" fmla="*/ 54570 w 107374"/>
                  <a:gd name="connsiteY4" fmla="*/ 14679 h 76714"/>
                  <a:gd name="connsiteX5" fmla="*/ 54263 w 107374"/>
                  <a:gd name="connsiteY5" fmla="*/ 14679 h 76714"/>
                  <a:gd name="connsiteX6" fmla="*/ 52695 w 107374"/>
                  <a:gd name="connsiteY6" fmla="*/ 21635 h 76714"/>
                  <a:gd name="connsiteX7" fmla="*/ 35525 w 107374"/>
                  <a:gd name="connsiteY7" fmla="*/ 76681 h 76714"/>
                  <a:gd name="connsiteX8" fmla="*/ 23234 w 107374"/>
                  <a:gd name="connsiteY8" fmla="*/ 76681 h 76714"/>
                  <a:gd name="connsiteX9" fmla="*/ 0 w 107374"/>
                  <a:gd name="connsiteY9" fmla="*/ 0 h 76714"/>
                  <a:gd name="connsiteX10" fmla="*/ 12894 w 107374"/>
                  <a:gd name="connsiteY10" fmla="*/ 0 h 76714"/>
                  <a:gd name="connsiteX11" fmla="*/ 28782 w 107374"/>
                  <a:gd name="connsiteY11" fmla="*/ 57653 h 76714"/>
                  <a:gd name="connsiteX12" fmla="*/ 29878 w 107374"/>
                  <a:gd name="connsiteY12" fmla="*/ 64544 h 76714"/>
                  <a:gd name="connsiteX13" fmla="*/ 30481 w 107374"/>
                  <a:gd name="connsiteY13" fmla="*/ 64544 h 76714"/>
                  <a:gd name="connsiteX14" fmla="*/ 31830 w 107374"/>
                  <a:gd name="connsiteY14" fmla="*/ 57511 h 76714"/>
                  <a:gd name="connsiteX15" fmla="*/ 49515 w 107374"/>
                  <a:gd name="connsiteY15" fmla="*/ 0 h 76714"/>
                  <a:gd name="connsiteX16" fmla="*/ 60754 w 107374"/>
                  <a:gd name="connsiteY16" fmla="*/ 0 h 76714"/>
                  <a:gd name="connsiteX17" fmla="*/ 76641 w 107374"/>
                  <a:gd name="connsiteY17" fmla="*/ 57807 h 76714"/>
                  <a:gd name="connsiteX18" fmla="*/ 77737 w 107374"/>
                  <a:gd name="connsiteY18" fmla="*/ 64697 h 76714"/>
                  <a:gd name="connsiteX19" fmla="*/ 78341 w 107374"/>
                  <a:gd name="connsiteY19" fmla="*/ 64697 h 76714"/>
                  <a:gd name="connsiteX20" fmla="*/ 79613 w 107374"/>
                  <a:gd name="connsiteY20" fmla="*/ 57807 h 76714"/>
                  <a:gd name="connsiteX21" fmla="*/ 95237 w 107374"/>
                  <a:gd name="connsiteY21" fmla="*/ 33 h 7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7374" h="76714">
                    <a:moveTo>
                      <a:pt x="107374" y="33"/>
                    </a:moveTo>
                    <a:lnTo>
                      <a:pt x="84349" y="76714"/>
                    </a:lnTo>
                    <a:lnTo>
                      <a:pt x="71597" y="76714"/>
                    </a:lnTo>
                    <a:lnTo>
                      <a:pt x="55765" y="21789"/>
                    </a:lnTo>
                    <a:cubicBezTo>
                      <a:pt x="55129" y="19466"/>
                      <a:pt x="54723" y="17089"/>
                      <a:pt x="54570" y="14679"/>
                    </a:cubicBezTo>
                    <a:lnTo>
                      <a:pt x="54263" y="14679"/>
                    </a:lnTo>
                    <a:cubicBezTo>
                      <a:pt x="53989" y="17045"/>
                      <a:pt x="53473" y="19379"/>
                      <a:pt x="52695" y="21635"/>
                    </a:cubicBezTo>
                    <a:lnTo>
                      <a:pt x="35525" y="76681"/>
                    </a:lnTo>
                    <a:lnTo>
                      <a:pt x="23234" y="76681"/>
                    </a:lnTo>
                    <a:lnTo>
                      <a:pt x="0" y="0"/>
                    </a:lnTo>
                    <a:lnTo>
                      <a:pt x="12894" y="0"/>
                    </a:lnTo>
                    <a:lnTo>
                      <a:pt x="28782" y="57653"/>
                    </a:lnTo>
                    <a:cubicBezTo>
                      <a:pt x="29384" y="59910"/>
                      <a:pt x="29747" y="62211"/>
                      <a:pt x="29878" y="64544"/>
                    </a:cubicBezTo>
                    <a:lnTo>
                      <a:pt x="30481" y="64544"/>
                    </a:lnTo>
                    <a:cubicBezTo>
                      <a:pt x="30656" y="62156"/>
                      <a:pt x="31117" y="59801"/>
                      <a:pt x="31830" y="57511"/>
                    </a:cubicBezTo>
                    <a:lnTo>
                      <a:pt x="49515" y="0"/>
                    </a:lnTo>
                    <a:lnTo>
                      <a:pt x="60754" y="0"/>
                    </a:lnTo>
                    <a:lnTo>
                      <a:pt x="76641" y="57807"/>
                    </a:lnTo>
                    <a:cubicBezTo>
                      <a:pt x="77211" y="60063"/>
                      <a:pt x="77573" y="62375"/>
                      <a:pt x="77737" y="64697"/>
                    </a:cubicBezTo>
                    <a:lnTo>
                      <a:pt x="78341" y="64697"/>
                    </a:lnTo>
                    <a:cubicBezTo>
                      <a:pt x="78516" y="62364"/>
                      <a:pt x="78933" y="60052"/>
                      <a:pt x="79613" y="57807"/>
                    </a:cubicBezTo>
                    <a:lnTo>
                      <a:pt x="95237" y="33"/>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0" name="Freeform: Shape 339">
                <a:extLst>
                  <a:ext uri="{FF2B5EF4-FFF2-40B4-BE49-F238E27FC236}">
                    <a16:creationId xmlns:a16="http://schemas.microsoft.com/office/drawing/2014/main" id="{0328FF0F-10B7-584C-0E6A-978001FC2B57}"/>
                  </a:ext>
                </a:extLst>
              </p:cNvPr>
              <p:cNvSpPr/>
              <p:nvPr/>
            </p:nvSpPr>
            <p:spPr>
              <a:xfrm>
                <a:off x="4151499" y="5247109"/>
                <a:ext cx="75659" cy="80355"/>
              </a:xfrm>
              <a:custGeom>
                <a:avLst/>
                <a:gdLst>
                  <a:gd name="connsiteX0" fmla="*/ 37396 w 75659"/>
                  <a:gd name="connsiteY0" fmla="*/ 80317 h 80355"/>
                  <a:gd name="connsiteX1" fmla="*/ 10226 w 75659"/>
                  <a:gd name="connsiteY1" fmla="*/ 69570 h 80355"/>
                  <a:gd name="connsiteX2" fmla="*/ 73 w 75659"/>
                  <a:gd name="connsiteY2" fmla="*/ 41089 h 80355"/>
                  <a:gd name="connsiteX3" fmla="*/ 10643 w 75659"/>
                  <a:gd name="connsiteY3" fmla="*/ 10909 h 80355"/>
                  <a:gd name="connsiteX4" fmla="*/ 39150 w 75659"/>
                  <a:gd name="connsiteY4" fmla="*/ 53 h 80355"/>
                  <a:gd name="connsiteX5" fmla="*/ 65947 w 75659"/>
                  <a:gd name="connsiteY5" fmla="*/ 10614 h 80355"/>
                  <a:gd name="connsiteX6" fmla="*/ 75585 w 75659"/>
                  <a:gd name="connsiteY6" fmla="*/ 39884 h 80355"/>
                  <a:gd name="connsiteX7" fmla="*/ 65191 w 75659"/>
                  <a:gd name="connsiteY7" fmla="*/ 69275 h 80355"/>
                  <a:gd name="connsiteX8" fmla="*/ 37396 w 75659"/>
                  <a:gd name="connsiteY8" fmla="*/ 80317 h 80355"/>
                  <a:gd name="connsiteX9" fmla="*/ 38295 w 75659"/>
                  <a:gd name="connsiteY9" fmla="*/ 10373 h 80355"/>
                  <a:gd name="connsiteX10" fmla="*/ 19557 w 75659"/>
                  <a:gd name="connsiteY10" fmla="*/ 18424 h 80355"/>
                  <a:gd name="connsiteX11" fmla="*/ 12671 w 75659"/>
                  <a:gd name="connsiteY11" fmla="*/ 40629 h 80355"/>
                  <a:gd name="connsiteX12" fmla="*/ 19634 w 75659"/>
                  <a:gd name="connsiteY12" fmla="*/ 62121 h 80355"/>
                  <a:gd name="connsiteX13" fmla="*/ 38273 w 75659"/>
                  <a:gd name="connsiteY13" fmla="*/ 69976 h 80355"/>
                  <a:gd name="connsiteX14" fmla="*/ 56595 w 75659"/>
                  <a:gd name="connsiteY14" fmla="*/ 62308 h 80355"/>
                  <a:gd name="connsiteX15" fmla="*/ 63009 w 75659"/>
                  <a:gd name="connsiteY15" fmla="*/ 40399 h 80355"/>
                  <a:gd name="connsiteX16" fmla="*/ 56595 w 75659"/>
                  <a:gd name="connsiteY16" fmla="*/ 18238 h 80355"/>
                  <a:gd name="connsiteX17" fmla="*/ 38295 w 75659"/>
                  <a:gd name="connsiteY17" fmla="*/ 10373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9" h="80355">
                    <a:moveTo>
                      <a:pt x="37396" y="80317"/>
                    </a:moveTo>
                    <a:cubicBezTo>
                      <a:pt x="27221" y="80788"/>
                      <a:pt x="17331" y="76877"/>
                      <a:pt x="10226" y="69570"/>
                    </a:cubicBezTo>
                    <a:cubicBezTo>
                      <a:pt x="3231" y="61782"/>
                      <a:pt x="-420" y="51550"/>
                      <a:pt x="73" y="41089"/>
                    </a:cubicBezTo>
                    <a:cubicBezTo>
                      <a:pt x="-585" y="30025"/>
                      <a:pt x="3220" y="19147"/>
                      <a:pt x="10643" y="10909"/>
                    </a:cubicBezTo>
                    <a:cubicBezTo>
                      <a:pt x="18208" y="3471"/>
                      <a:pt x="28547" y="-462"/>
                      <a:pt x="39150" y="53"/>
                    </a:cubicBezTo>
                    <a:cubicBezTo>
                      <a:pt x="49193" y="-505"/>
                      <a:pt x="58985" y="3351"/>
                      <a:pt x="65947" y="10614"/>
                    </a:cubicBezTo>
                    <a:cubicBezTo>
                      <a:pt x="72767" y="18786"/>
                      <a:pt x="76221" y="29258"/>
                      <a:pt x="75585" y="39884"/>
                    </a:cubicBezTo>
                    <a:cubicBezTo>
                      <a:pt x="76111" y="50663"/>
                      <a:pt x="72383" y="61223"/>
                      <a:pt x="65191" y="69275"/>
                    </a:cubicBezTo>
                    <a:cubicBezTo>
                      <a:pt x="57943" y="76778"/>
                      <a:pt x="47823" y="80799"/>
                      <a:pt x="37396" y="80317"/>
                    </a:cubicBezTo>
                    <a:close/>
                    <a:moveTo>
                      <a:pt x="38295" y="10373"/>
                    </a:moveTo>
                    <a:cubicBezTo>
                      <a:pt x="31146" y="10044"/>
                      <a:pt x="24238" y="13013"/>
                      <a:pt x="19557" y="18424"/>
                    </a:cubicBezTo>
                    <a:cubicBezTo>
                      <a:pt x="14645" y="24745"/>
                      <a:pt x="12200" y="32643"/>
                      <a:pt x="12671" y="40629"/>
                    </a:cubicBezTo>
                    <a:cubicBezTo>
                      <a:pt x="12232" y="48406"/>
                      <a:pt x="14711" y="56075"/>
                      <a:pt x="19634" y="62121"/>
                    </a:cubicBezTo>
                    <a:cubicBezTo>
                      <a:pt x="24359" y="67390"/>
                      <a:pt x="31201" y="70271"/>
                      <a:pt x="38273" y="69976"/>
                    </a:cubicBezTo>
                    <a:cubicBezTo>
                      <a:pt x="45246" y="70414"/>
                      <a:pt x="52011" y="67577"/>
                      <a:pt x="56595" y="62308"/>
                    </a:cubicBezTo>
                    <a:cubicBezTo>
                      <a:pt x="61243" y="55987"/>
                      <a:pt x="63513" y="48231"/>
                      <a:pt x="63009" y="40399"/>
                    </a:cubicBezTo>
                    <a:cubicBezTo>
                      <a:pt x="63524" y="32489"/>
                      <a:pt x="61254" y="24646"/>
                      <a:pt x="56595" y="18238"/>
                    </a:cubicBezTo>
                    <a:cubicBezTo>
                      <a:pt x="52066" y="12892"/>
                      <a:pt x="45290" y="9978"/>
                      <a:pt x="38295" y="1037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1" name="Freeform: Shape 340">
                <a:extLst>
                  <a:ext uri="{FF2B5EF4-FFF2-40B4-BE49-F238E27FC236}">
                    <a16:creationId xmlns:a16="http://schemas.microsoft.com/office/drawing/2014/main" id="{60469C3C-E488-94F9-AA3A-1105FF9D0F77}"/>
                  </a:ext>
                </a:extLst>
              </p:cNvPr>
              <p:cNvSpPr/>
              <p:nvPr/>
            </p:nvSpPr>
            <p:spPr>
              <a:xfrm>
                <a:off x="4245921" y="5247585"/>
                <a:ext cx="40031" cy="78044"/>
              </a:xfrm>
              <a:custGeom>
                <a:avLst/>
                <a:gdLst>
                  <a:gd name="connsiteX0" fmla="*/ 40031 w 40031"/>
                  <a:gd name="connsiteY0" fmla="*/ 13785 h 78044"/>
                  <a:gd name="connsiteX1" fmla="*/ 30733 w 40031"/>
                  <a:gd name="connsiteY1" fmla="*/ 11321 h 78044"/>
                  <a:gd name="connsiteX2" fmla="*/ 17576 w 40031"/>
                  <a:gd name="connsiteY2" fmla="*/ 18737 h 78044"/>
                  <a:gd name="connsiteX3" fmla="*/ 12291 w 40031"/>
                  <a:gd name="connsiteY3" fmla="*/ 38948 h 78044"/>
                  <a:gd name="connsiteX4" fmla="*/ 12291 w 40031"/>
                  <a:gd name="connsiteY4" fmla="*/ 78044 h 78044"/>
                  <a:gd name="connsiteX5" fmla="*/ 0 w 40031"/>
                  <a:gd name="connsiteY5" fmla="*/ 78044 h 78044"/>
                  <a:gd name="connsiteX6" fmla="*/ 0 w 40031"/>
                  <a:gd name="connsiteY6" fmla="*/ 1363 h 78044"/>
                  <a:gd name="connsiteX7" fmla="*/ 12291 w 40031"/>
                  <a:gd name="connsiteY7" fmla="*/ 1363 h 78044"/>
                  <a:gd name="connsiteX8" fmla="*/ 12291 w 40031"/>
                  <a:gd name="connsiteY8" fmla="*/ 17159 h 78044"/>
                  <a:gd name="connsiteX9" fmla="*/ 12587 w 40031"/>
                  <a:gd name="connsiteY9" fmla="*/ 17159 h 78044"/>
                  <a:gd name="connsiteX10" fmla="*/ 20602 w 40031"/>
                  <a:gd name="connsiteY10" fmla="*/ 4540 h 78044"/>
                  <a:gd name="connsiteX11" fmla="*/ 32663 w 40031"/>
                  <a:gd name="connsiteY11" fmla="*/ 16 h 78044"/>
                  <a:gd name="connsiteX12" fmla="*/ 40009 w 40031"/>
                  <a:gd name="connsiteY12" fmla="*/ 1111 h 7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31" h="78044">
                    <a:moveTo>
                      <a:pt x="40031" y="13785"/>
                    </a:moveTo>
                    <a:cubicBezTo>
                      <a:pt x="37290" y="11967"/>
                      <a:pt x="34022" y="11101"/>
                      <a:pt x="30733" y="11321"/>
                    </a:cubicBezTo>
                    <a:cubicBezTo>
                      <a:pt x="25361" y="11375"/>
                      <a:pt x="20394" y="14180"/>
                      <a:pt x="17576" y="18737"/>
                    </a:cubicBezTo>
                    <a:cubicBezTo>
                      <a:pt x="13749" y="24762"/>
                      <a:pt x="11907" y="31827"/>
                      <a:pt x="12291" y="38948"/>
                    </a:cubicBezTo>
                    <a:lnTo>
                      <a:pt x="12291" y="78044"/>
                    </a:lnTo>
                    <a:lnTo>
                      <a:pt x="0" y="78044"/>
                    </a:lnTo>
                    <a:lnTo>
                      <a:pt x="0" y="1363"/>
                    </a:lnTo>
                    <a:lnTo>
                      <a:pt x="12291" y="1363"/>
                    </a:lnTo>
                    <a:lnTo>
                      <a:pt x="12291" y="17159"/>
                    </a:lnTo>
                    <a:lnTo>
                      <a:pt x="12587" y="17159"/>
                    </a:lnTo>
                    <a:cubicBezTo>
                      <a:pt x="14013" y="12284"/>
                      <a:pt x="16787" y="7903"/>
                      <a:pt x="20602" y="4540"/>
                    </a:cubicBezTo>
                    <a:cubicBezTo>
                      <a:pt x="23946" y="1626"/>
                      <a:pt x="28222" y="16"/>
                      <a:pt x="32663" y="16"/>
                    </a:cubicBezTo>
                    <a:cubicBezTo>
                      <a:pt x="35163" y="-83"/>
                      <a:pt x="37652" y="289"/>
                      <a:pt x="40009" y="111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2" name="Freeform: Shape 341">
                <a:extLst>
                  <a:ext uri="{FF2B5EF4-FFF2-40B4-BE49-F238E27FC236}">
                    <a16:creationId xmlns:a16="http://schemas.microsoft.com/office/drawing/2014/main" id="{F2A65362-9D51-F349-4E09-470C37EC8ADF}"/>
                  </a:ext>
                </a:extLst>
              </p:cNvPr>
              <p:cNvSpPr/>
              <p:nvPr/>
            </p:nvSpPr>
            <p:spPr>
              <a:xfrm>
                <a:off x="4299602" y="5212097"/>
                <a:ext cx="63703" cy="113532"/>
              </a:xfrm>
              <a:custGeom>
                <a:avLst/>
                <a:gdLst>
                  <a:gd name="connsiteX0" fmla="*/ 63703 w 63703"/>
                  <a:gd name="connsiteY0" fmla="*/ 113532 h 113532"/>
                  <a:gd name="connsiteX1" fmla="*/ 46456 w 63703"/>
                  <a:gd name="connsiteY1" fmla="*/ 113532 h 113532"/>
                  <a:gd name="connsiteX2" fmla="*/ 12587 w 63703"/>
                  <a:gd name="connsiteY2" fmla="*/ 76681 h 113532"/>
                  <a:gd name="connsiteX3" fmla="*/ 12291 w 63703"/>
                  <a:gd name="connsiteY3" fmla="*/ 76681 h 113532"/>
                  <a:gd name="connsiteX4" fmla="*/ 12291 w 63703"/>
                  <a:gd name="connsiteY4" fmla="*/ 113532 h 113532"/>
                  <a:gd name="connsiteX5" fmla="*/ 0 w 63703"/>
                  <a:gd name="connsiteY5" fmla="*/ 113532 h 113532"/>
                  <a:gd name="connsiteX6" fmla="*/ 0 w 63703"/>
                  <a:gd name="connsiteY6" fmla="*/ 0 h 113532"/>
                  <a:gd name="connsiteX7" fmla="*/ 12291 w 63703"/>
                  <a:gd name="connsiteY7" fmla="*/ 0 h 113532"/>
                  <a:gd name="connsiteX8" fmla="*/ 12291 w 63703"/>
                  <a:gd name="connsiteY8" fmla="*/ 71971 h 113532"/>
                  <a:gd name="connsiteX9" fmla="*/ 12598 w 63703"/>
                  <a:gd name="connsiteY9" fmla="*/ 71971 h 113532"/>
                  <a:gd name="connsiteX10" fmla="*/ 44823 w 63703"/>
                  <a:gd name="connsiteY10" fmla="*/ 36851 h 113532"/>
                  <a:gd name="connsiteX11" fmla="*/ 60940 w 63703"/>
                  <a:gd name="connsiteY11" fmla="*/ 36851 h 113532"/>
                  <a:gd name="connsiteX12" fmla="*/ 25339 w 63703"/>
                  <a:gd name="connsiteY12" fmla="*/ 73844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703" h="113532">
                    <a:moveTo>
                      <a:pt x="63703" y="113532"/>
                    </a:moveTo>
                    <a:lnTo>
                      <a:pt x="46456" y="113532"/>
                    </a:lnTo>
                    <a:lnTo>
                      <a:pt x="12587" y="76681"/>
                    </a:lnTo>
                    <a:lnTo>
                      <a:pt x="12291" y="76681"/>
                    </a:lnTo>
                    <a:lnTo>
                      <a:pt x="12291" y="113532"/>
                    </a:lnTo>
                    <a:lnTo>
                      <a:pt x="0" y="113532"/>
                    </a:lnTo>
                    <a:lnTo>
                      <a:pt x="0" y="0"/>
                    </a:lnTo>
                    <a:lnTo>
                      <a:pt x="12291" y="0"/>
                    </a:lnTo>
                    <a:lnTo>
                      <a:pt x="12291" y="71971"/>
                    </a:lnTo>
                    <a:lnTo>
                      <a:pt x="12598" y="71971"/>
                    </a:lnTo>
                    <a:lnTo>
                      <a:pt x="44823" y="36851"/>
                    </a:lnTo>
                    <a:lnTo>
                      <a:pt x="60940" y="36851"/>
                    </a:lnTo>
                    <a:lnTo>
                      <a:pt x="25339" y="73844"/>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3" name="Freeform: Shape 342">
                <a:extLst>
                  <a:ext uri="{FF2B5EF4-FFF2-40B4-BE49-F238E27FC236}">
                    <a16:creationId xmlns:a16="http://schemas.microsoft.com/office/drawing/2014/main" id="{79AB320B-659C-A71A-CD91-00011BB94912}"/>
                  </a:ext>
                </a:extLst>
              </p:cNvPr>
              <p:cNvSpPr/>
              <p:nvPr/>
            </p:nvSpPr>
            <p:spPr>
              <a:xfrm>
                <a:off x="3256955" y="5548958"/>
                <a:ext cx="65783" cy="107430"/>
              </a:xfrm>
              <a:custGeom>
                <a:avLst/>
                <a:gdLst>
                  <a:gd name="connsiteX0" fmla="*/ 12598 w 65783"/>
                  <a:gd name="connsiteY0" fmla="*/ 66899 h 107430"/>
                  <a:gd name="connsiteX1" fmla="*/ 12598 w 65783"/>
                  <a:gd name="connsiteY1" fmla="*/ 107430 h 107430"/>
                  <a:gd name="connsiteX2" fmla="*/ 0 w 65783"/>
                  <a:gd name="connsiteY2" fmla="*/ 107430 h 107430"/>
                  <a:gd name="connsiteX3" fmla="*/ 0 w 65783"/>
                  <a:gd name="connsiteY3" fmla="*/ 76 h 107430"/>
                  <a:gd name="connsiteX4" fmla="*/ 29538 w 65783"/>
                  <a:gd name="connsiteY4" fmla="*/ 76 h 107430"/>
                  <a:gd name="connsiteX5" fmla="*/ 56258 w 65783"/>
                  <a:gd name="connsiteY5" fmla="*/ 8457 h 107430"/>
                  <a:gd name="connsiteX6" fmla="*/ 65731 w 65783"/>
                  <a:gd name="connsiteY6" fmla="*/ 32118 h 107430"/>
                  <a:gd name="connsiteX7" fmla="*/ 55206 w 65783"/>
                  <a:gd name="connsiteY7" fmla="*/ 57138 h 107430"/>
                  <a:gd name="connsiteX8" fmla="*/ 26764 w 65783"/>
                  <a:gd name="connsiteY8" fmla="*/ 66866 h 107430"/>
                  <a:gd name="connsiteX9" fmla="*/ 12598 w 65783"/>
                  <a:gd name="connsiteY9" fmla="*/ 11491 h 107430"/>
                  <a:gd name="connsiteX10" fmla="*/ 12598 w 65783"/>
                  <a:gd name="connsiteY10" fmla="*/ 55517 h 107430"/>
                  <a:gd name="connsiteX11" fmla="*/ 25755 w 65783"/>
                  <a:gd name="connsiteY11" fmla="*/ 55517 h 107430"/>
                  <a:gd name="connsiteX12" fmla="*/ 45656 w 65783"/>
                  <a:gd name="connsiteY12" fmla="*/ 49569 h 107430"/>
                  <a:gd name="connsiteX13" fmla="*/ 52508 w 65783"/>
                  <a:gd name="connsiteY13" fmla="*/ 32754 h 107430"/>
                  <a:gd name="connsiteX14" fmla="*/ 27290 w 65783"/>
                  <a:gd name="connsiteY14" fmla="*/ 11491 h 107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83" h="107430">
                    <a:moveTo>
                      <a:pt x="12598" y="66899"/>
                    </a:moveTo>
                    <a:lnTo>
                      <a:pt x="12598" y="107430"/>
                    </a:lnTo>
                    <a:lnTo>
                      <a:pt x="0" y="107430"/>
                    </a:lnTo>
                    <a:lnTo>
                      <a:pt x="0" y="76"/>
                    </a:lnTo>
                    <a:lnTo>
                      <a:pt x="29538" y="76"/>
                    </a:lnTo>
                    <a:cubicBezTo>
                      <a:pt x="39176" y="-526"/>
                      <a:pt x="48693" y="2454"/>
                      <a:pt x="56258" y="8457"/>
                    </a:cubicBezTo>
                    <a:cubicBezTo>
                      <a:pt x="62782" y="14547"/>
                      <a:pt x="66258" y="23212"/>
                      <a:pt x="65731" y="32118"/>
                    </a:cubicBezTo>
                    <a:cubicBezTo>
                      <a:pt x="66028" y="41594"/>
                      <a:pt x="62190" y="50730"/>
                      <a:pt x="55206" y="57138"/>
                    </a:cubicBezTo>
                    <a:cubicBezTo>
                      <a:pt x="47333" y="63930"/>
                      <a:pt x="37147" y="67413"/>
                      <a:pt x="26764" y="66866"/>
                    </a:cubicBezTo>
                    <a:close/>
                    <a:moveTo>
                      <a:pt x="12598" y="11491"/>
                    </a:moveTo>
                    <a:lnTo>
                      <a:pt x="12598" y="55517"/>
                    </a:lnTo>
                    <a:lnTo>
                      <a:pt x="25755" y="55517"/>
                    </a:lnTo>
                    <a:cubicBezTo>
                      <a:pt x="32893" y="56010"/>
                      <a:pt x="39965" y="53896"/>
                      <a:pt x="45656" y="49569"/>
                    </a:cubicBezTo>
                    <a:cubicBezTo>
                      <a:pt x="50359" y="45286"/>
                      <a:pt x="52881" y="39107"/>
                      <a:pt x="52508" y="32754"/>
                    </a:cubicBezTo>
                    <a:cubicBezTo>
                      <a:pt x="52508" y="18578"/>
                      <a:pt x="44099" y="11491"/>
                      <a:pt x="27290" y="1149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4" name="Freeform: Shape 343">
                <a:extLst>
                  <a:ext uri="{FF2B5EF4-FFF2-40B4-BE49-F238E27FC236}">
                    <a16:creationId xmlns:a16="http://schemas.microsoft.com/office/drawing/2014/main" id="{DB75F68A-2FBF-6CBC-143D-A0787ADDB8B6}"/>
                  </a:ext>
                </a:extLst>
              </p:cNvPr>
              <p:cNvSpPr/>
              <p:nvPr/>
            </p:nvSpPr>
            <p:spPr>
              <a:xfrm>
                <a:off x="3338913" y="5542922"/>
                <a:ext cx="63746" cy="113520"/>
              </a:xfrm>
              <a:custGeom>
                <a:avLst/>
                <a:gdLst>
                  <a:gd name="connsiteX0" fmla="*/ 63714 w 63746"/>
                  <a:gd name="connsiteY0" fmla="*/ 113521 h 113520"/>
                  <a:gd name="connsiteX1" fmla="*/ 51412 w 63746"/>
                  <a:gd name="connsiteY1" fmla="*/ 113521 h 113520"/>
                  <a:gd name="connsiteX2" fmla="*/ 51412 w 63746"/>
                  <a:gd name="connsiteY2" fmla="*/ 69342 h 113520"/>
                  <a:gd name="connsiteX3" fmla="*/ 33573 w 63746"/>
                  <a:gd name="connsiteY3" fmla="*/ 45384 h 113520"/>
                  <a:gd name="connsiteX4" fmla="*/ 18442 w 63746"/>
                  <a:gd name="connsiteY4" fmla="*/ 52308 h 113520"/>
                  <a:gd name="connsiteX5" fmla="*/ 12291 w 63746"/>
                  <a:gd name="connsiteY5" fmla="*/ 70098 h 113520"/>
                  <a:gd name="connsiteX6" fmla="*/ 12291 w 63746"/>
                  <a:gd name="connsiteY6" fmla="*/ 113521 h 113520"/>
                  <a:gd name="connsiteX7" fmla="*/ 0 w 63746"/>
                  <a:gd name="connsiteY7" fmla="*/ 113521 h 113520"/>
                  <a:gd name="connsiteX8" fmla="*/ 0 w 63746"/>
                  <a:gd name="connsiteY8" fmla="*/ 0 h 113520"/>
                  <a:gd name="connsiteX9" fmla="*/ 12291 w 63746"/>
                  <a:gd name="connsiteY9" fmla="*/ 0 h 113520"/>
                  <a:gd name="connsiteX10" fmla="*/ 12291 w 63746"/>
                  <a:gd name="connsiteY10" fmla="*/ 49580 h 113520"/>
                  <a:gd name="connsiteX11" fmla="*/ 12587 w 63746"/>
                  <a:gd name="connsiteY11" fmla="*/ 49580 h 113520"/>
                  <a:gd name="connsiteX12" fmla="*/ 37805 w 63746"/>
                  <a:gd name="connsiteY12" fmla="*/ 35043 h 113520"/>
                  <a:gd name="connsiteX13" fmla="*/ 63747 w 63746"/>
                  <a:gd name="connsiteY13" fmla="*/ 66274 h 11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46" h="113520">
                    <a:moveTo>
                      <a:pt x="63714" y="113521"/>
                    </a:moveTo>
                    <a:lnTo>
                      <a:pt x="51412" y="113521"/>
                    </a:lnTo>
                    <a:lnTo>
                      <a:pt x="51412" y="69342"/>
                    </a:lnTo>
                    <a:cubicBezTo>
                      <a:pt x="51412" y="53370"/>
                      <a:pt x="45469" y="45384"/>
                      <a:pt x="33573" y="45384"/>
                    </a:cubicBezTo>
                    <a:cubicBezTo>
                      <a:pt x="27751" y="45308"/>
                      <a:pt x="22192" y="47849"/>
                      <a:pt x="18442" y="52308"/>
                    </a:cubicBezTo>
                    <a:cubicBezTo>
                      <a:pt x="14221" y="57248"/>
                      <a:pt x="12028" y="63602"/>
                      <a:pt x="12291" y="70098"/>
                    </a:cubicBezTo>
                    <a:lnTo>
                      <a:pt x="12291" y="113521"/>
                    </a:lnTo>
                    <a:lnTo>
                      <a:pt x="0" y="113521"/>
                    </a:lnTo>
                    <a:lnTo>
                      <a:pt x="0" y="0"/>
                    </a:lnTo>
                    <a:lnTo>
                      <a:pt x="12291" y="0"/>
                    </a:lnTo>
                    <a:lnTo>
                      <a:pt x="12291" y="49580"/>
                    </a:lnTo>
                    <a:lnTo>
                      <a:pt x="12587" y="49580"/>
                    </a:lnTo>
                    <a:cubicBezTo>
                      <a:pt x="17598" y="40389"/>
                      <a:pt x="27334" y="34780"/>
                      <a:pt x="37805" y="35043"/>
                    </a:cubicBezTo>
                    <a:cubicBezTo>
                      <a:pt x="55096" y="35043"/>
                      <a:pt x="63736" y="45450"/>
                      <a:pt x="63747" y="6627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5" name="Freeform: Shape 344">
                <a:extLst>
                  <a:ext uri="{FF2B5EF4-FFF2-40B4-BE49-F238E27FC236}">
                    <a16:creationId xmlns:a16="http://schemas.microsoft.com/office/drawing/2014/main" id="{4E3BA113-30DD-2DF7-98CC-813BCB7B0450}"/>
                  </a:ext>
                </a:extLst>
              </p:cNvPr>
              <p:cNvSpPr/>
              <p:nvPr/>
            </p:nvSpPr>
            <p:spPr>
              <a:xfrm>
                <a:off x="3412254" y="5579762"/>
                <a:ext cx="72485" cy="112784"/>
              </a:xfrm>
              <a:custGeom>
                <a:avLst/>
                <a:gdLst>
                  <a:gd name="connsiteX0" fmla="*/ 72486 w 72485"/>
                  <a:gd name="connsiteY0" fmla="*/ 0 h 112784"/>
                  <a:gd name="connsiteX1" fmla="*/ 37180 w 72485"/>
                  <a:gd name="connsiteY1" fmla="*/ 88972 h 112784"/>
                  <a:gd name="connsiteX2" fmla="*/ 10647 w 72485"/>
                  <a:gd name="connsiteY2" fmla="*/ 112776 h 112784"/>
                  <a:gd name="connsiteX3" fmla="*/ 2632 w 72485"/>
                  <a:gd name="connsiteY3" fmla="*/ 111802 h 112784"/>
                  <a:gd name="connsiteX4" fmla="*/ 2632 w 72485"/>
                  <a:gd name="connsiteY4" fmla="*/ 100847 h 112784"/>
                  <a:gd name="connsiteX5" fmla="*/ 9901 w 72485"/>
                  <a:gd name="connsiteY5" fmla="*/ 102194 h 112784"/>
                  <a:gd name="connsiteX6" fmla="*/ 23837 w 72485"/>
                  <a:gd name="connsiteY6" fmla="*/ 91109 h 112784"/>
                  <a:gd name="connsiteX7" fmla="*/ 29988 w 72485"/>
                  <a:gd name="connsiteY7" fmla="*/ 76583 h 112784"/>
                  <a:gd name="connsiteX8" fmla="*/ 0 w 72485"/>
                  <a:gd name="connsiteY8" fmla="*/ 44 h 112784"/>
                  <a:gd name="connsiteX9" fmla="*/ 13651 w 72485"/>
                  <a:gd name="connsiteY9" fmla="*/ 44 h 112784"/>
                  <a:gd name="connsiteX10" fmla="*/ 34406 w 72485"/>
                  <a:gd name="connsiteY10" fmla="*/ 59056 h 112784"/>
                  <a:gd name="connsiteX11" fmla="*/ 35985 w 72485"/>
                  <a:gd name="connsiteY11" fmla="*/ 64894 h 112784"/>
                  <a:gd name="connsiteX12" fmla="*/ 36435 w 72485"/>
                  <a:gd name="connsiteY12" fmla="*/ 64894 h 112784"/>
                  <a:gd name="connsiteX13" fmla="*/ 37926 w 72485"/>
                  <a:gd name="connsiteY13" fmla="*/ 59209 h 112784"/>
                  <a:gd name="connsiteX14" fmla="*/ 59745 w 72485"/>
                  <a:gd name="connsiteY14" fmla="*/ 55 h 11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85" h="112784">
                    <a:moveTo>
                      <a:pt x="72486" y="0"/>
                    </a:moveTo>
                    <a:lnTo>
                      <a:pt x="37180" y="88972"/>
                    </a:lnTo>
                    <a:cubicBezTo>
                      <a:pt x="30887" y="104845"/>
                      <a:pt x="22038" y="112787"/>
                      <a:pt x="10647" y="112776"/>
                    </a:cubicBezTo>
                    <a:cubicBezTo>
                      <a:pt x="7938" y="112842"/>
                      <a:pt x="5241" y="112514"/>
                      <a:pt x="2632" y="111802"/>
                    </a:cubicBezTo>
                    <a:lnTo>
                      <a:pt x="2632" y="100847"/>
                    </a:lnTo>
                    <a:cubicBezTo>
                      <a:pt x="4967" y="101691"/>
                      <a:pt x="7423" y="102140"/>
                      <a:pt x="9901" y="102194"/>
                    </a:cubicBezTo>
                    <a:cubicBezTo>
                      <a:pt x="16469" y="101932"/>
                      <a:pt x="22115" y="97440"/>
                      <a:pt x="23837" y="91109"/>
                    </a:cubicBezTo>
                    <a:lnTo>
                      <a:pt x="29988" y="76583"/>
                    </a:lnTo>
                    <a:lnTo>
                      <a:pt x="0" y="44"/>
                    </a:lnTo>
                    <a:lnTo>
                      <a:pt x="13651" y="44"/>
                    </a:lnTo>
                    <a:lnTo>
                      <a:pt x="34406" y="59056"/>
                    </a:lnTo>
                    <a:cubicBezTo>
                      <a:pt x="34658" y="59812"/>
                      <a:pt x="35185" y="61751"/>
                      <a:pt x="35985" y="64894"/>
                    </a:cubicBezTo>
                    <a:lnTo>
                      <a:pt x="36435" y="64894"/>
                    </a:lnTo>
                    <a:cubicBezTo>
                      <a:pt x="36687" y="63700"/>
                      <a:pt x="37191" y="61805"/>
                      <a:pt x="37926" y="59209"/>
                    </a:cubicBezTo>
                    <a:lnTo>
                      <a:pt x="59745" y="55"/>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6" name="Freeform: Shape 345">
                <a:extLst>
                  <a:ext uri="{FF2B5EF4-FFF2-40B4-BE49-F238E27FC236}">
                    <a16:creationId xmlns:a16="http://schemas.microsoft.com/office/drawing/2014/main" id="{BD4A7B96-3522-F54B-B0E2-2AF56887E824}"/>
                  </a:ext>
                </a:extLst>
              </p:cNvPr>
              <p:cNvSpPr/>
              <p:nvPr/>
            </p:nvSpPr>
            <p:spPr>
              <a:xfrm>
                <a:off x="3493281" y="5578036"/>
                <a:ext cx="50880" cy="80185"/>
              </a:xfrm>
              <a:custGeom>
                <a:avLst/>
                <a:gdLst>
                  <a:gd name="connsiteX0" fmla="*/ 0 w 50880"/>
                  <a:gd name="connsiteY0" fmla="*/ 75635 h 80185"/>
                  <a:gd name="connsiteX1" fmla="*/ 0 w 50880"/>
                  <a:gd name="connsiteY1" fmla="*/ 62490 h 80185"/>
                  <a:gd name="connsiteX2" fmla="*/ 22115 w 50880"/>
                  <a:gd name="connsiteY2" fmla="*/ 69906 h 80185"/>
                  <a:gd name="connsiteX3" fmla="*/ 38299 w 50880"/>
                  <a:gd name="connsiteY3" fmla="*/ 59127 h 80185"/>
                  <a:gd name="connsiteX4" fmla="*/ 36917 w 50880"/>
                  <a:gd name="connsiteY4" fmla="*/ 53924 h 80185"/>
                  <a:gd name="connsiteX5" fmla="*/ 33167 w 50880"/>
                  <a:gd name="connsiteY5" fmla="*/ 50133 h 80185"/>
                  <a:gd name="connsiteX6" fmla="*/ 27619 w 50880"/>
                  <a:gd name="connsiteY6" fmla="*/ 47176 h 80185"/>
                  <a:gd name="connsiteX7" fmla="*/ 20767 w 50880"/>
                  <a:gd name="connsiteY7" fmla="*/ 44448 h 80185"/>
                  <a:gd name="connsiteX8" fmla="*/ 11809 w 50880"/>
                  <a:gd name="connsiteY8" fmla="*/ 40362 h 80185"/>
                  <a:gd name="connsiteX9" fmla="*/ 5362 w 50880"/>
                  <a:gd name="connsiteY9" fmla="*/ 35728 h 80185"/>
                  <a:gd name="connsiteX10" fmla="*/ 1458 w 50880"/>
                  <a:gd name="connsiteY10" fmla="*/ 29846 h 80185"/>
                  <a:gd name="connsiteX11" fmla="*/ 154 w 50880"/>
                  <a:gd name="connsiteY11" fmla="*/ 22177 h 80185"/>
                  <a:gd name="connsiteX12" fmla="*/ 2620 w 50880"/>
                  <a:gd name="connsiteY12" fmla="*/ 12625 h 80185"/>
                  <a:gd name="connsiteX13" fmla="*/ 9199 w 50880"/>
                  <a:gd name="connsiteY13" fmla="*/ 5658 h 80185"/>
                  <a:gd name="connsiteX14" fmla="*/ 18607 w 50880"/>
                  <a:gd name="connsiteY14" fmla="*/ 1430 h 80185"/>
                  <a:gd name="connsiteX15" fmla="*/ 29505 w 50880"/>
                  <a:gd name="connsiteY15" fmla="*/ 6 h 80185"/>
                  <a:gd name="connsiteX16" fmla="*/ 47344 w 50880"/>
                  <a:gd name="connsiteY16" fmla="*/ 3456 h 80185"/>
                  <a:gd name="connsiteX17" fmla="*/ 47344 w 50880"/>
                  <a:gd name="connsiteY17" fmla="*/ 15824 h 80185"/>
                  <a:gd name="connsiteX18" fmla="*/ 27861 w 50880"/>
                  <a:gd name="connsiteY18" fmla="*/ 10281 h 80185"/>
                  <a:gd name="connsiteX19" fmla="*/ 21644 w 50880"/>
                  <a:gd name="connsiteY19" fmla="*/ 11070 h 80185"/>
                  <a:gd name="connsiteX20" fmla="*/ 16885 w 50880"/>
                  <a:gd name="connsiteY20" fmla="*/ 13261 h 80185"/>
                  <a:gd name="connsiteX21" fmla="*/ 13804 w 50880"/>
                  <a:gd name="connsiteY21" fmla="*/ 16667 h 80185"/>
                  <a:gd name="connsiteX22" fmla="*/ 12708 w 50880"/>
                  <a:gd name="connsiteY22" fmla="*/ 21049 h 80185"/>
                  <a:gd name="connsiteX23" fmla="*/ 13804 w 50880"/>
                  <a:gd name="connsiteY23" fmla="*/ 26066 h 80185"/>
                  <a:gd name="connsiteX24" fmla="*/ 16995 w 50880"/>
                  <a:gd name="connsiteY24" fmla="*/ 29660 h 80185"/>
                  <a:gd name="connsiteX25" fmla="*/ 22093 w 50880"/>
                  <a:gd name="connsiteY25" fmla="*/ 32507 h 80185"/>
                  <a:gd name="connsiteX26" fmla="*/ 28913 w 50880"/>
                  <a:gd name="connsiteY26" fmla="*/ 35279 h 80185"/>
                  <a:gd name="connsiteX27" fmla="*/ 38057 w 50880"/>
                  <a:gd name="connsiteY27" fmla="*/ 39288 h 80185"/>
                  <a:gd name="connsiteX28" fmla="*/ 44954 w 50880"/>
                  <a:gd name="connsiteY28" fmla="*/ 43922 h 80185"/>
                  <a:gd name="connsiteX29" fmla="*/ 49340 w 50880"/>
                  <a:gd name="connsiteY29" fmla="*/ 49882 h 80185"/>
                  <a:gd name="connsiteX30" fmla="*/ 50875 w 50880"/>
                  <a:gd name="connsiteY30" fmla="*/ 57889 h 80185"/>
                  <a:gd name="connsiteX31" fmla="*/ 48364 w 50880"/>
                  <a:gd name="connsiteY31" fmla="*/ 67748 h 80185"/>
                  <a:gd name="connsiteX32" fmla="*/ 41654 w 50880"/>
                  <a:gd name="connsiteY32" fmla="*/ 74704 h 80185"/>
                  <a:gd name="connsiteX33" fmla="*/ 31983 w 50880"/>
                  <a:gd name="connsiteY33" fmla="*/ 78823 h 80185"/>
                  <a:gd name="connsiteX34" fmla="*/ 20514 w 50880"/>
                  <a:gd name="connsiteY34" fmla="*/ 80170 h 80185"/>
                  <a:gd name="connsiteX35" fmla="*/ 0 w 50880"/>
                  <a:gd name="connsiteY35" fmla="*/ 75635 h 8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80" h="80185">
                    <a:moveTo>
                      <a:pt x="0" y="75635"/>
                    </a:moveTo>
                    <a:lnTo>
                      <a:pt x="0" y="62490"/>
                    </a:lnTo>
                    <a:cubicBezTo>
                      <a:pt x="6359" y="67321"/>
                      <a:pt x="14133" y="69928"/>
                      <a:pt x="22115" y="69906"/>
                    </a:cubicBezTo>
                    <a:cubicBezTo>
                      <a:pt x="32904" y="69906"/>
                      <a:pt x="38299" y="66313"/>
                      <a:pt x="38299" y="59127"/>
                    </a:cubicBezTo>
                    <a:cubicBezTo>
                      <a:pt x="38353" y="57297"/>
                      <a:pt x="37882" y="55490"/>
                      <a:pt x="36917" y="53924"/>
                    </a:cubicBezTo>
                    <a:cubicBezTo>
                      <a:pt x="35919" y="52434"/>
                      <a:pt x="34648" y="51141"/>
                      <a:pt x="33167" y="50133"/>
                    </a:cubicBezTo>
                    <a:cubicBezTo>
                      <a:pt x="31435" y="48950"/>
                      <a:pt x="29571" y="47964"/>
                      <a:pt x="27619" y="47176"/>
                    </a:cubicBezTo>
                    <a:cubicBezTo>
                      <a:pt x="25492" y="46310"/>
                      <a:pt x="23234" y="45390"/>
                      <a:pt x="20767" y="44448"/>
                    </a:cubicBezTo>
                    <a:cubicBezTo>
                      <a:pt x="17708" y="43254"/>
                      <a:pt x="14714" y="41896"/>
                      <a:pt x="11809" y="40362"/>
                    </a:cubicBezTo>
                    <a:cubicBezTo>
                      <a:pt x="9440" y="39146"/>
                      <a:pt x="7269" y="37580"/>
                      <a:pt x="5362" y="35728"/>
                    </a:cubicBezTo>
                    <a:cubicBezTo>
                      <a:pt x="3673" y="34052"/>
                      <a:pt x="2346" y="32047"/>
                      <a:pt x="1458" y="29846"/>
                    </a:cubicBezTo>
                    <a:cubicBezTo>
                      <a:pt x="548" y="27392"/>
                      <a:pt x="110" y="24796"/>
                      <a:pt x="154" y="22177"/>
                    </a:cubicBezTo>
                    <a:cubicBezTo>
                      <a:pt x="88" y="18825"/>
                      <a:pt x="943" y="15528"/>
                      <a:pt x="2620" y="12625"/>
                    </a:cubicBezTo>
                    <a:cubicBezTo>
                      <a:pt x="4276" y="9843"/>
                      <a:pt x="6524" y="7466"/>
                      <a:pt x="9199" y="5658"/>
                    </a:cubicBezTo>
                    <a:cubicBezTo>
                      <a:pt x="12072" y="3730"/>
                      <a:pt x="15252" y="2306"/>
                      <a:pt x="18607" y="1430"/>
                    </a:cubicBezTo>
                    <a:cubicBezTo>
                      <a:pt x="22159" y="477"/>
                      <a:pt x="25821" y="6"/>
                      <a:pt x="29505" y="6"/>
                    </a:cubicBezTo>
                    <a:cubicBezTo>
                      <a:pt x="35623" y="-93"/>
                      <a:pt x="41709" y="1079"/>
                      <a:pt x="47344" y="3456"/>
                    </a:cubicBezTo>
                    <a:lnTo>
                      <a:pt x="47344" y="15824"/>
                    </a:lnTo>
                    <a:cubicBezTo>
                      <a:pt x="41544" y="12077"/>
                      <a:pt x="34757" y="10150"/>
                      <a:pt x="27861" y="10281"/>
                    </a:cubicBezTo>
                    <a:cubicBezTo>
                      <a:pt x="25766" y="10259"/>
                      <a:pt x="23672" y="10522"/>
                      <a:pt x="21644" y="11070"/>
                    </a:cubicBezTo>
                    <a:cubicBezTo>
                      <a:pt x="19944" y="11519"/>
                      <a:pt x="18332" y="12253"/>
                      <a:pt x="16885" y="13261"/>
                    </a:cubicBezTo>
                    <a:cubicBezTo>
                      <a:pt x="15613" y="14148"/>
                      <a:pt x="14561" y="15320"/>
                      <a:pt x="13804" y="16667"/>
                    </a:cubicBezTo>
                    <a:cubicBezTo>
                      <a:pt x="13070" y="18015"/>
                      <a:pt x="12697" y="19516"/>
                      <a:pt x="12708" y="21049"/>
                    </a:cubicBezTo>
                    <a:cubicBezTo>
                      <a:pt x="12653" y="22791"/>
                      <a:pt x="13026" y="24511"/>
                      <a:pt x="13804" y="26066"/>
                    </a:cubicBezTo>
                    <a:cubicBezTo>
                      <a:pt x="14594" y="27491"/>
                      <a:pt x="15679" y="28717"/>
                      <a:pt x="16995" y="29660"/>
                    </a:cubicBezTo>
                    <a:cubicBezTo>
                      <a:pt x="18574" y="30810"/>
                      <a:pt x="20284" y="31763"/>
                      <a:pt x="22093" y="32507"/>
                    </a:cubicBezTo>
                    <a:cubicBezTo>
                      <a:pt x="24089" y="33362"/>
                      <a:pt x="26358" y="34282"/>
                      <a:pt x="28913" y="35279"/>
                    </a:cubicBezTo>
                    <a:cubicBezTo>
                      <a:pt x="32027" y="36451"/>
                      <a:pt x="35086" y="37788"/>
                      <a:pt x="38057" y="39288"/>
                    </a:cubicBezTo>
                    <a:cubicBezTo>
                      <a:pt x="40546" y="40526"/>
                      <a:pt x="42871" y="42082"/>
                      <a:pt x="44954" y="43922"/>
                    </a:cubicBezTo>
                    <a:cubicBezTo>
                      <a:pt x="46807" y="45587"/>
                      <a:pt x="48298" y="47614"/>
                      <a:pt x="49340" y="49882"/>
                    </a:cubicBezTo>
                    <a:cubicBezTo>
                      <a:pt x="50414" y="52412"/>
                      <a:pt x="50941" y="55139"/>
                      <a:pt x="50875" y="57889"/>
                    </a:cubicBezTo>
                    <a:cubicBezTo>
                      <a:pt x="50952" y="61340"/>
                      <a:pt x="50085" y="64747"/>
                      <a:pt x="48364" y="67748"/>
                    </a:cubicBezTo>
                    <a:cubicBezTo>
                      <a:pt x="46686" y="70542"/>
                      <a:pt x="44395" y="72919"/>
                      <a:pt x="41654" y="74704"/>
                    </a:cubicBezTo>
                    <a:cubicBezTo>
                      <a:pt x="38693" y="76621"/>
                      <a:pt x="35415" y="78013"/>
                      <a:pt x="31983" y="78823"/>
                    </a:cubicBezTo>
                    <a:cubicBezTo>
                      <a:pt x="28233" y="79732"/>
                      <a:pt x="24374" y="80182"/>
                      <a:pt x="20514" y="80170"/>
                    </a:cubicBezTo>
                    <a:cubicBezTo>
                      <a:pt x="13410" y="80357"/>
                      <a:pt x="6370" y="78801"/>
                      <a:pt x="0" y="756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7" name="Freeform: Shape 346">
                <a:extLst>
                  <a:ext uri="{FF2B5EF4-FFF2-40B4-BE49-F238E27FC236}">
                    <a16:creationId xmlns:a16="http://schemas.microsoft.com/office/drawing/2014/main" id="{B941774F-577F-EC1A-8539-28DD32DBCA2C}"/>
                  </a:ext>
                </a:extLst>
              </p:cNvPr>
              <p:cNvSpPr/>
              <p:nvPr/>
            </p:nvSpPr>
            <p:spPr>
              <a:xfrm>
                <a:off x="3559798" y="5544399"/>
                <a:ext cx="16030" cy="112043"/>
              </a:xfrm>
              <a:custGeom>
                <a:avLst/>
                <a:gdLst>
                  <a:gd name="connsiteX0" fmla="*/ 7942 w 16030"/>
                  <a:gd name="connsiteY0" fmla="*/ 15897 h 112043"/>
                  <a:gd name="connsiteX1" fmla="*/ 2328 w 16030"/>
                  <a:gd name="connsiteY1" fmla="*/ 13706 h 112043"/>
                  <a:gd name="connsiteX2" fmla="*/ 4 w 16030"/>
                  <a:gd name="connsiteY2" fmla="*/ 8010 h 112043"/>
                  <a:gd name="connsiteX3" fmla="*/ 7755 w 16030"/>
                  <a:gd name="connsiteY3" fmla="*/ 2 h 112043"/>
                  <a:gd name="connsiteX4" fmla="*/ 7942 w 16030"/>
                  <a:gd name="connsiteY4" fmla="*/ 2 h 112043"/>
                  <a:gd name="connsiteX5" fmla="*/ 13687 w 16030"/>
                  <a:gd name="connsiteY5" fmla="*/ 2291 h 112043"/>
                  <a:gd name="connsiteX6" fmla="*/ 13687 w 16030"/>
                  <a:gd name="connsiteY6" fmla="*/ 13629 h 112043"/>
                  <a:gd name="connsiteX7" fmla="*/ 7942 w 16030"/>
                  <a:gd name="connsiteY7" fmla="*/ 15897 h 112043"/>
                  <a:gd name="connsiteX8" fmla="*/ 13939 w 16030"/>
                  <a:gd name="connsiteY8" fmla="*/ 112044 h 112043"/>
                  <a:gd name="connsiteX9" fmla="*/ 1648 w 16030"/>
                  <a:gd name="connsiteY9" fmla="*/ 112044 h 112043"/>
                  <a:gd name="connsiteX10" fmla="*/ 1648 w 16030"/>
                  <a:gd name="connsiteY10" fmla="*/ 35363 h 112043"/>
                  <a:gd name="connsiteX11" fmla="*/ 13939 w 16030"/>
                  <a:gd name="connsiteY11" fmla="*/ 35363 h 11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30" h="112043">
                    <a:moveTo>
                      <a:pt x="7942" y="15897"/>
                    </a:moveTo>
                    <a:cubicBezTo>
                      <a:pt x="5848" y="15951"/>
                      <a:pt x="3830" y="15163"/>
                      <a:pt x="2328" y="13706"/>
                    </a:cubicBezTo>
                    <a:cubicBezTo>
                      <a:pt x="782" y="12216"/>
                      <a:pt x="-62" y="10145"/>
                      <a:pt x="4" y="8010"/>
                    </a:cubicBezTo>
                    <a:cubicBezTo>
                      <a:pt x="-73" y="3661"/>
                      <a:pt x="3403" y="79"/>
                      <a:pt x="7755" y="2"/>
                    </a:cubicBezTo>
                    <a:cubicBezTo>
                      <a:pt x="7821" y="2"/>
                      <a:pt x="7876" y="2"/>
                      <a:pt x="7942" y="2"/>
                    </a:cubicBezTo>
                    <a:cubicBezTo>
                      <a:pt x="10091" y="-42"/>
                      <a:pt x="12163" y="780"/>
                      <a:pt x="13687" y="2291"/>
                    </a:cubicBezTo>
                    <a:cubicBezTo>
                      <a:pt x="16812" y="5424"/>
                      <a:pt x="16812" y="10496"/>
                      <a:pt x="13687" y="13629"/>
                    </a:cubicBezTo>
                    <a:cubicBezTo>
                      <a:pt x="12163" y="15130"/>
                      <a:pt x="10080" y="15951"/>
                      <a:pt x="7942" y="15897"/>
                    </a:cubicBezTo>
                    <a:close/>
                    <a:moveTo>
                      <a:pt x="13939" y="112044"/>
                    </a:moveTo>
                    <a:lnTo>
                      <a:pt x="1648" y="112044"/>
                    </a:lnTo>
                    <a:lnTo>
                      <a:pt x="1648" y="35363"/>
                    </a:lnTo>
                    <a:lnTo>
                      <a:pt x="13939" y="35363"/>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8" name="Freeform: Shape 347">
                <a:extLst>
                  <a:ext uri="{FF2B5EF4-FFF2-40B4-BE49-F238E27FC236}">
                    <a16:creationId xmlns:a16="http://schemas.microsoft.com/office/drawing/2014/main" id="{D3CFE5CE-8AC6-6CD5-66E3-8D2E495494EF}"/>
                  </a:ext>
                </a:extLst>
              </p:cNvPr>
              <p:cNvSpPr/>
              <p:nvPr/>
            </p:nvSpPr>
            <p:spPr>
              <a:xfrm>
                <a:off x="3591914" y="5577926"/>
                <a:ext cx="57763" cy="80342"/>
              </a:xfrm>
              <a:custGeom>
                <a:avLst/>
                <a:gdLst>
                  <a:gd name="connsiteX0" fmla="*/ 57610 w 57763"/>
                  <a:gd name="connsiteY0" fmla="*/ 75001 h 80342"/>
                  <a:gd name="connsiteX1" fmla="*/ 36624 w 57763"/>
                  <a:gd name="connsiteY1" fmla="*/ 80313 h 80342"/>
                  <a:gd name="connsiteX2" fmla="*/ 10134 w 57763"/>
                  <a:gd name="connsiteY2" fmla="*/ 69644 h 80342"/>
                  <a:gd name="connsiteX3" fmla="*/ 47 w 57763"/>
                  <a:gd name="connsiteY3" fmla="*/ 41973 h 80342"/>
                  <a:gd name="connsiteX4" fmla="*/ 10913 w 57763"/>
                  <a:gd name="connsiteY4" fmla="*/ 11541 h 80342"/>
                  <a:gd name="connsiteX5" fmla="*/ 39925 w 57763"/>
                  <a:gd name="connsiteY5" fmla="*/ 39 h 80342"/>
                  <a:gd name="connsiteX6" fmla="*/ 57764 w 57763"/>
                  <a:gd name="connsiteY6" fmla="*/ 3786 h 80342"/>
                  <a:gd name="connsiteX7" fmla="*/ 57764 w 57763"/>
                  <a:gd name="connsiteY7" fmla="*/ 16373 h 80342"/>
                  <a:gd name="connsiteX8" fmla="*/ 39475 w 57763"/>
                  <a:gd name="connsiteY8" fmla="*/ 10380 h 80342"/>
                  <a:gd name="connsiteX9" fmla="*/ 20178 w 57763"/>
                  <a:gd name="connsiteY9" fmla="*/ 18804 h 80342"/>
                  <a:gd name="connsiteX10" fmla="*/ 12634 w 57763"/>
                  <a:gd name="connsiteY10" fmla="*/ 40932 h 80342"/>
                  <a:gd name="connsiteX11" fmla="*/ 19728 w 57763"/>
                  <a:gd name="connsiteY11" fmla="*/ 62195 h 80342"/>
                  <a:gd name="connsiteX12" fmla="*/ 38719 w 57763"/>
                  <a:gd name="connsiteY12" fmla="*/ 69983 h 80342"/>
                  <a:gd name="connsiteX13" fmla="*/ 57610 w 57763"/>
                  <a:gd name="connsiteY13" fmla="*/ 63323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42">
                    <a:moveTo>
                      <a:pt x="57610" y="75001"/>
                    </a:moveTo>
                    <a:cubicBezTo>
                      <a:pt x="51240" y="78670"/>
                      <a:pt x="43981" y="80511"/>
                      <a:pt x="36624" y="80313"/>
                    </a:cubicBezTo>
                    <a:cubicBezTo>
                      <a:pt x="26669" y="80719"/>
                      <a:pt x="17020" y="76830"/>
                      <a:pt x="10134" y="69644"/>
                    </a:cubicBezTo>
                    <a:cubicBezTo>
                      <a:pt x="3249" y="62107"/>
                      <a:pt x="-381" y="52161"/>
                      <a:pt x="47" y="41973"/>
                    </a:cubicBezTo>
                    <a:cubicBezTo>
                      <a:pt x="-479" y="30799"/>
                      <a:pt x="3424" y="19867"/>
                      <a:pt x="10913" y="11541"/>
                    </a:cubicBezTo>
                    <a:cubicBezTo>
                      <a:pt x="18489" y="3731"/>
                      <a:pt x="29048" y="-454"/>
                      <a:pt x="39925" y="39"/>
                    </a:cubicBezTo>
                    <a:cubicBezTo>
                      <a:pt x="46076" y="-92"/>
                      <a:pt x="52183" y="1189"/>
                      <a:pt x="57764" y="3786"/>
                    </a:cubicBezTo>
                    <a:lnTo>
                      <a:pt x="57764" y="16373"/>
                    </a:lnTo>
                    <a:cubicBezTo>
                      <a:pt x="52446" y="12505"/>
                      <a:pt x="46054" y="10402"/>
                      <a:pt x="39475" y="10380"/>
                    </a:cubicBezTo>
                    <a:cubicBezTo>
                      <a:pt x="32107" y="10172"/>
                      <a:pt x="25035" y="13261"/>
                      <a:pt x="20178" y="18804"/>
                    </a:cubicBezTo>
                    <a:cubicBezTo>
                      <a:pt x="14959" y="24961"/>
                      <a:pt x="12261" y="32870"/>
                      <a:pt x="12634" y="40932"/>
                    </a:cubicBezTo>
                    <a:cubicBezTo>
                      <a:pt x="12207" y="48666"/>
                      <a:pt x="14739" y="56269"/>
                      <a:pt x="19728" y="62195"/>
                    </a:cubicBezTo>
                    <a:cubicBezTo>
                      <a:pt x="24607" y="67453"/>
                      <a:pt x="31548" y="70301"/>
                      <a:pt x="38719" y="69983"/>
                    </a:cubicBezTo>
                    <a:cubicBezTo>
                      <a:pt x="45582" y="69929"/>
                      <a:pt x="52227" y="67585"/>
                      <a:pt x="57610" y="633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9" name="Freeform: Shape 348">
                <a:extLst>
                  <a:ext uri="{FF2B5EF4-FFF2-40B4-BE49-F238E27FC236}">
                    <a16:creationId xmlns:a16="http://schemas.microsoft.com/office/drawing/2014/main" id="{F061FC3E-3E88-E885-2FBA-6F35C0E9068A}"/>
                  </a:ext>
                </a:extLst>
              </p:cNvPr>
              <p:cNvSpPr/>
              <p:nvPr/>
            </p:nvSpPr>
            <p:spPr>
              <a:xfrm>
                <a:off x="3662815" y="5577957"/>
                <a:ext cx="60664" cy="80326"/>
              </a:xfrm>
              <a:custGeom>
                <a:avLst/>
                <a:gdLst>
                  <a:gd name="connsiteX0" fmla="*/ 60653 w 60664"/>
                  <a:gd name="connsiteY0" fmla="*/ 78486 h 80326"/>
                  <a:gd name="connsiteX1" fmla="*/ 48362 w 60664"/>
                  <a:gd name="connsiteY1" fmla="*/ 78486 h 80326"/>
                  <a:gd name="connsiteX2" fmla="*/ 48362 w 60664"/>
                  <a:gd name="connsiteY2" fmla="*/ 66513 h 80326"/>
                  <a:gd name="connsiteX3" fmla="*/ 48066 w 60664"/>
                  <a:gd name="connsiteY3" fmla="*/ 66513 h 80326"/>
                  <a:gd name="connsiteX4" fmla="*/ 24449 w 60664"/>
                  <a:gd name="connsiteY4" fmla="*/ 80283 h 80326"/>
                  <a:gd name="connsiteX5" fmla="*/ 6500 w 60664"/>
                  <a:gd name="connsiteY5" fmla="*/ 74225 h 80326"/>
                  <a:gd name="connsiteX6" fmla="*/ 20 w 60664"/>
                  <a:gd name="connsiteY6" fmla="*/ 58122 h 80326"/>
                  <a:gd name="connsiteX7" fmla="*/ 25348 w 60664"/>
                  <a:gd name="connsiteY7" fmla="*/ 33113 h 80326"/>
                  <a:gd name="connsiteX8" fmla="*/ 48373 w 60664"/>
                  <a:gd name="connsiteY8" fmla="*/ 29893 h 80326"/>
                  <a:gd name="connsiteX9" fmla="*/ 32562 w 60664"/>
                  <a:gd name="connsiteY9" fmla="*/ 10350 h 80326"/>
                  <a:gd name="connsiteX10" fmla="*/ 7530 w 60664"/>
                  <a:gd name="connsiteY10" fmla="*/ 19782 h 80326"/>
                  <a:gd name="connsiteX11" fmla="*/ 7530 w 60664"/>
                  <a:gd name="connsiteY11" fmla="*/ 7206 h 80326"/>
                  <a:gd name="connsiteX12" fmla="*/ 33604 w 60664"/>
                  <a:gd name="connsiteY12" fmla="*/ 9 h 80326"/>
                  <a:gd name="connsiteX13" fmla="*/ 60664 w 60664"/>
                  <a:gd name="connsiteY13" fmla="*/ 28622 h 80326"/>
                  <a:gd name="connsiteX14" fmla="*/ 48362 w 60664"/>
                  <a:gd name="connsiteY14" fmla="*/ 39697 h 80326"/>
                  <a:gd name="connsiteX15" fmla="*/ 29854 w 60664"/>
                  <a:gd name="connsiteY15" fmla="*/ 42249 h 80326"/>
                  <a:gd name="connsiteX16" fmla="*/ 16960 w 60664"/>
                  <a:gd name="connsiteY16" fmla="*/ 46478 h 80326"/>
                  <a:gd name="connsiteX17" fmla="*/ 12574 w 60664"/>
                  <a:gd name="connsiteY17" fmla="*/ 57224 h 80326"/>
                  <a:gd name="connsiteX18" fmla="*/ 16587 w 60664"/>
                  <a:gd name="connsiteY18" fmla="*/ 66393 h 80326"/>
                  <a:gd name="connsiteX19" fmla="*/ 27266 w 60664"/>
                  <a:gd name="connsiteY19" fmla="*/ 69953 h 80326"/>
                  <a:gd name="connsiteX20" fmla="*/ 42364 w 60664"/>
                  <a:gd name="connsiteY20" fmla="*/ 63556 h 80326"/>
                  <a:gd name="connsiteX21" fmla="*/ 48329 w 60664"/>
                  <a:gd name="connsiteY21" fmla="*/ 4734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4" h="80326">
                    <a:moveTo>
                      <a:pt x="60653" y="78486"/>
                    </a:moveTo>
                    <a:lnTo>
                      <a:pt x="48362" y="78486"/>
                    </a:lnTo>
                    <a:lnTo>
                      <a:pt x="48362" y="66513"/>
                    </a:lnTo>
                    <a:lnTo>
                      <a:pt x="48066" y="66513"/>
                    </a:lnTo>
                    <a:cubicBezTo>
                      <a:pt x="43483" y="75244"/>
                      <a:pt x="34305" y="80590"/>
                      <a:pt x="24449" y="80283"/>
                    </a:cubicBezTo>
                    <a:cubicBezTo>
                      <a:pt x="17903" y="80666"/>
                      <a:pt x="11467" y="78498"/>
                      <a:pt x="6500" y="74225"/>
                    </a:cubicBezTo>
                    <a:cubicBezTo>
                      <a:pt x="2114" y="70041"/>
                      <a:pt x="-243" y="64169"/>
                      <a:pt x="20" y="58122"/>
                    </a:cubicBezTo>
                    <a:cubicBezTo>
                      <a:pt x="20" y="43794"/>
                      <a:pt x="8463" y="35458"/>
                      <a:pt x="25348" y="33113"/>
                    </a:cubicBezTo>
                    <a:lnTo>
                      <a:pt x="48373" y="29893"/>
                    </a:lnTo>
                    <a:cubicBezTo>
                      <a:pt x="48373" y="16857"/>
                      <a:pt x="43099" y="10339"/>
                      <a:pt x="32562" y="10350"/>
                    </a:cubicBezTo>
                    <a:cubicBezTo>
                      <a:pt x="23341" y="10339"/>
                      <a:pt x="14438" y="13691"/>
                      <a:pt x="7530" y="19782"/>
                    </a:cubicBezTo>
                    <a:lnTo>
                      <a:pt x="7530" y="7206"/>
                    </a:lnTo>
                    <a:cubicBezTo>
                      <a:pt x="15337" y="2331"/>
                      <a:pt x="24394" y="-167"/>
                      <a:pt x="33604" y="9"/>
                    </a:cubicBezTo>
                    <a:cubicBezTo>
                      <a:pt x="51640" y="9"/>
                      <a:pt x="60664" y="9550"/>
                      <a:pt x="60664" y="28622"/>
                    </a:cubicBezTo>
                    <a:close/>
                    <a:moveTo>
                      <a:pt x="48362" y="39697"/>
                    </a:moveTo>
                    <a:lnTo>
                      <a:pt x="29854" y="42249"/>
                    </a:lnTo>
                    <a:cubicBezTo>
                      <a:pt x="25293" y="42654"/>
                      <a:pt x="20874" y="44101"/>
                      <a:pt x="16960" y="46478"/>
                    </a:cubicBezTo>
                    <a:cubicBezTo>
                      <a:pt x="13780" y="49085"/>
                      <a:pt x="12125" y="53127"/>
                      <a:pt x="12574" y="57224"/>
                    </a:cubicBezTo>
                    <a:cubicBezTo>
                      <a:pt x="12464" y="60729"/>
                      <a:pt x="13945" y="64092"/>
                      <a:pt x="16587" y="66393"/>
                    </a:cubicBezTo>
                    <a:cubicBezTo>
                      <a:pt x="19569" y="68880"/>
                      <a:pt x="23385" y="70150"/>
                      <a:pt x="27266" y="69953"/>
                    </a:cubicBezTo>
                    <a:cubicBezTo>
                      <a:pt x="32990" y="70106"/>
                      <a:pt x="38494" y="67773"/>
                      <a:pt x="42364" y="63556"/>
                    </a:cubicBezTo>
                    <a:cubicBezTo>
                      <a:pt x="46399" y="59141"/>
                      <a:pt x="48537" y="53313"/>
                      <a:pt x="48329" y="4734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0" name="Freeform: Shape 349">
                <a:extLst>
                  <a:ext uri="{FF2B5EF4-FFF2-40B4-BE49-F238E27FC236}">
                    <a16:creationId xmlns:a16="http://schemas.microsoft.com/office/drawing/2014/main" id="{545F2F3D-27E7-80E4-0245-ABB7E28FD551}"/>
                  </a:ext>
                </a:extLst>
              </p:cNvPr>
              <p:cNvSpPr/>
              <p:nvPr/>
            </p:nvSpPr>
            <p:spPr>
              <a:xfrm>
                <a:off x="3745615" y="5542922"/>
                <a:ext cx="12291" cy="113520"/>
              </a:xfrm>
              <a:custGeom>
                <a:avLst/>
                <a:gdLst>
                  <a:gd name="connsiteX0" fmla="*/ 12291 w 12291"/>
                  <a:gd name="connsiteY0" fmla="*/ 113521 h 113520"/>
                  <a:gd name="connsiteX1" fmla="*/ 0 w 12291"/>
                  <a:gd name="connsiteY1" fmla="*/ 113521 h 113520"/>
                  <a:gd name="connsiteX2" fmla="*/ 0 w 12291"/>
                  <a:gd name="connsiteY2" fmla="*/ 0 h 113520"/>
                  <a:gd name="connsiteX3" fmla="*/ 12291 w 12291"/>
                  <a:gd name="connsiteY3" fmla="*/ 0 h 113520"/>
                </a:gdLst>
                <a:ahLst/>
                <a:cxnLst>
                  <a:cxn ang="0">
                    <a:pos x="connsiteX0" y="connsiteY0"/>
                  </a:cxn>
                  <a:cxn ang="0">
                    <a:pos x="connsiteX1" y="connsiteY1"/>
                  </a:cxn>
                  <a:cxn ang="0">
                    <a:pos x="connsiteX2" y="connsiteY2"/>
                  </a:cxn>
                  <a:cxn ang="0">
                    <a:pos x="connsiteX3" y="connsiteY3"/>
                  </a:cxn>
                </a:cxnLst>
                <a:rect l="l" t="t" r="r" b="b"/>
                <a:pathLst>
                  <a:path w="12291" h="113520">
                    <a:moveTo>
                      <a:pt x="12291" y="113521"/>
                    </a:moveTo>
                    <a:lnTo>
                      <a:pt x="0" y="113521"/>
                    </a:lnTo>
                    <a:lnTo>
                      <a:pt x="0" y="0"/>
                    </a:lnTo>
                    <a:lnTo>
                      <a:pt x="12291"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1" name="Freeform: Shape 350">
                <a:extLst>
                  <a:ext uri="{FF2B5EF4-FFF2-40B4-BE49-F238E27FC236}">
                    <a16:creationId xmlns:a16="http://schemas.microsoft.com/office/drawing/2014/main" id="{1A4E76C7-BE5B-AAE5-ABF4-5AEF39D2B68F}"/>
                  </a:ext>
                </a:extLst>
              </p:cNvPr>
              <p:cNvSpPr/>
              <p:nvPr/>
            </p:nvSpPr>
            <p:spPr>
              <a:xfrm>
                <a:off x="3819481" y="5542922"/>
                <a:ext cx="70864" cy="115353"/>
              </a:xfrm>
              <a:custGeom>
                <a:avLst/>
                <a:gdLst>
                  <a:gd name="connsiteX0" fmla="*/ 70864 w 70864"/>
                  <a:gd name="connsiteY0" fmla="*/ 113521 h 115353"/>
                  <a:gd name="connsiteX1" fmla="*/ 58573 w 70864"/>
                  <a:gd name="connsiteY1" fmla="*/ 113521 h 115353"/>
                  <a:gd name="connsiteX2" fmla="*/ 58573 w 70864"/>
                  <a:gd name="connsiteY2" fmla="*/ 100496 h 115353"/>
                  <a:gd name="connsiteX3" fmla="*/ 58222 w 70864"/>
                  <a:gd name="connsiteY3" fmla="*/ 100496 h 115353"/>
                  <a:gd name="connsiteX4" fmla="*/ 31842 w 70864"/>
                  <a:gd name="connsiteY4" fmla="*/ 115317 h 115353"/>
                  <a:gd name="connsiteX5" fmla="*/ 8729 w 70864"/>
                  <a:gd name="connsiteY5" fmla="*/ 105031 h 115353"/>
                  <a:gd name="connsiteX6" fmla="*/ 67 w 70864"/>
                  <a:gd name="connsiteY6" fmla="*/ 76977 h 115353"/>
                  <a:gd name="connsiteX7" fmla="*/ 9661 w 70864"/>
                  <a:gd name="connsiteY7" fmla="*/ 46502 h 115353"/>
                  <a:gd name="connsiteX8" fmla="*/ 35219 w 70864"/>
                  <a:gd name="connsiteY8" fmla="*/ 35043 h 115353"/>
                  <a:gd name="connsiteX9" fmla="*/ 58244 w 70864"/>
                  <a:gd name="connsiteY9" fmla="*/ 47477 h 115353"/>
                  <a:gd name="connsiteX10" fmla="*/ 58551 w 70864"/>
                  <a:gd name="connsiteY10" fmla="*/ 47477 h 115353"/>
                  <a:gd name="connsiteX11" fmla="*/ 58551 w 70864"/>
                  <a:gd name="connsiteY11" fmla="*/ 0 h 115353"/>
                  <a:gd name="connsiteX12" fmla="*/ 70842 w 70864"/>
                  <a:gd name="connsiteY12" fmla="*/ 0 h 115353"/>
                  <a:gd name="connsiteX13" fmla="*/ 58573 w 70864"/>
                  <a:gd name="connsiteY13" fmla="*/ 78850 h 115353"/>
                  <a:gd name="connsiteX14" fmla="*/ 58573 w 70864"/>
                  <a:gd name="connsiteY14" fmla="*/ 67545 h 115353"/>
                  <a:gd name="connsiteX15" fmla="*/ 52422 w 70864"/>
                  <a:gd name="connsiteY15" fmla="*/ 51825 h 115353"/>
                  <a:gd name="connsiteX16" fmla="*/ 36831 w 70864"/>
                  <a:gd name="connsiteY16" fmla="*/ 45384 h 115353"/>
                  <a:gd name="connsiteX17" fmla="*/ 19145 w 70864"/>
                  <a:gd name="connsiteY17" fmla="*/ 53622 h 115353"/>
                  <a:gd name="connsiteX18" fmla="*/ 12698 w 70864"/>
                  <a:gd name="connsiteY18" fmla="*/ 76385 h 115353"/>
                  <a:gd name="connsiteX19" fmla="*/ 18893 w 70864"/>
                  <a:gd name="connsiteY19" fmla="*/ 97309 h 115353"/>
                  <a:gd name="connsiteX20" fmla="*/ 35482 w 70864"/>
                  <a:gd name="connsiteY20" fmla="*/ 104976 h 115353"/>
                  <a:gd name="connsiteX21" fmla="*/ 52170 w 70864"/>
                  <a:gd name="connsiteY21" fmla="*/ 97560 h 115353"/>
                  <a:gd name="connsiteX22" fmla="*/ 58573 w 70864"/>
                  <a:gd name="connsiteY22" fmla="*/ 78850 h 11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64" h="115353">
                    <a:moveTo>
                      <a:pt x="70864" y="113521"/>
                    </a:moveTo>
                    <a:lnTo>
                      <a:pt x="58573" y="113521"/>
                    </a:lnTo>
                    <a:lnTo>
                      <a:pt x="58573" y="100496"/>
                    </a:lnTo>
                    <a:lnTo>
                      <a:pt x="58222" y="100496"/>
                    </a:lnTo>
                    <a:cubicBezTo>
                      <a:pt x="53025" y="110103"/>
                      <a:pt x="42763" y="115865"/>
                      <a:pt x="31842" y="115317"/>
                    </a:cubicBezTo>
                    <a:cubicBezTo>
                      <a:pt x="22961" y="115657"/>
                      <a:pt x="14419" y="111856"/>
                      <a:pt x="8729" y="105031"/>
                    </a:cubicBezTo>
                    <a:cubicBezTo>
                      <a:pt x="2578" y="97013"/>
                      <a:pt x="-503" y="87066"/>
                      <a:pt x="67" y="76977"/>
                    </a:cubicBezTo>
                    <a:cubicBezTo>
                      <a:pt x="-481" y="66001"/>
                      <a:pt x="2918" y="55189"/>
                      <a:pt x="9661" y="46502"/>
                    </a:cubicBezTo>
                    <a:cubicBezTo>
                      <a:pt x="15932" y="38921"/>
                      <a:pt x="25384" y="34682"/>
                      <a:pt x="35219" y="35043"/>
                    </a:cubicBezTo>
                    <a:cubicBezTo>
                      <a:pt x="44648" y="34419"/>
                      <a:pt x="53595" y="39261"/>
                      <a:pt x="58244" y="47477"/>
                    </a:cubicBezTo>
                    <a:lnTo>
                      <a:pt x="58551" y="47477"/>
                    </a:lnTo>
                    <a:lnTo>
                      <a:pt x="58551" y="0"/>
                    </a:lnTo>
                    <a:lnTo>
                      <a:pt x="70842" y="0"/>
                    </a:lnTo>
                    <a:close/>
                    <a:moveTo>
                      <a:pt x="58573" y="78850"/>
                    </a:moveTo>
                    <a:lnTo>
                      <a:pt x="58573" y="67545"/>
                    </a:lnTo>
                    <a:cubicBezTo>
                      <a:pt x="58705" y="61695"/>
                      <a:pt x="56490" y="56032"/>
                      <a:pt x="52422" y="51825"/>
                    </a:cubicBezTo>
                    <a:cubicBezTo>
                      <a:pt x="48387" y="47553"/>
                      <a:pt x="42708" y="45209"/>
                      <a:pt x="36831" y="45384"/>
                    </a:cubicBezTo>
                    <a:cubicBezTo>
                      <a:pt x="29945" y="45099"/>
                      <a:pt x="23355" y="48167"/>
                      <a:pt x="19145" y="53622"/>
                    </a:cubicBezTo>
                    <a:cubicBezTo>
                      <a:pt x="14496" y="60271"/>
                      <a:pt x="12227" y="68290"/>
                      <a:pt x="12698" y="76385"/>
                    </a:cubicBezTo>
                    <a:cubicBezTo>
                      <a:pt x="12281" y="83867"/>
                      <a:pt x="14474" y="91262"/>
                      <a:pt x="18893" y="97309"/>
                    </a:cubicBezTo>
                    <a:cubicBezTo>
                      <a:pt x="22884" y="102359"/>
                      <a:pt x="29046" y="105206"/>
                      <a:pt x="35482" y="104976"/>
                    </a:cubicBezTo>
                    <a:cubicBezTo>
                      <a:pt x="41885" y="105185"/>
                      <a:pt x="48036" y="102446"/>
                      <a:pt x="52170" y="97560"/>
                    </a:cubicBezTo>
                    <a:cubicBezTo>
                      <a:pt x="56545" y="92324"/>
                      <a:pt x="58825" y="85664"/>
                      <a:pt x="58573" y="7885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2" name="Freeform: Shape 351">
                <a:extLst>
                  <a:ext uri="{FF2B5EF4-FFF2-40B4-BE49-F238E27FC236}">
                    <a16:creationId xmlns:a16="http://schemas.microsoft.com/office/drawing/2014/main" id="{713A8C6A-E5A8-831B-415A-A30DDD55701D}"/>
                  </a:ext>
                </a:extLst>
              </p:cNvPr>
              <p:cNvSpPr/>
              <p:nvPr/>
            </p:nvSpPr>
            <p:spPr>
              <a:xfrm>
                <a:off x="3908165" y="5577957"/>
                <a:ext cx="60663" cy="80326"/>
              </a:xfrm>
              <a:custGeom>
                <a:avLst/>
                <a:gdLst>
                  <a:gd name="connsiteX0" fmla="*/ 60653 w 60663"/>
                  <a:gd name="connsiteY0" fmla="*/ 78486 h 80326"/>
                  <a:gd name="connsiteX1" fmla="*/ 48362 w 60663"/>
                  <a:gd name="connsiteY1" fmla="*/ 78486 h 80326"/>
                  <a:gd name="connsiteX2" fmla="*/ 48362 w 60663"/>
                  <a:gd name="connsiteY2" fmla="*/ 66513 h 80326"/>
                  <a:gd name="connsiteX3" fmla="*/ 48066 w 60663"/>
                  <a:gd name="connsiteY3" fmla="*/ 66513 h 80326"/>
                  <a:gd name="connsiteX4" fmla="*/ 24449 w 60663"/>
                  <a:gd name="connsiteY4" fmla="*/ 80283 h 80326"/>
                  <a:gd name="connsiteX5" fmla="*/ 6511 w 60663"/>
                  <a:gd name="connsiteY5" fmla="*/ 74225 h 80326"/>
                  <a:gd name="connsiteX6" fmla="*/ 20 w 60663"/>
                  <a:gd name="connsiteY6" fmla="*/ 58122 h 80326"/>
                  <a:gd name="connsiteX7" fmla="*/ 25348 w 60663"/>
                  <a:gd name="connsiteY7" fmla="*/ 33113 h 80326"/>
                  <a:gd name="connsiteX8" fmla="*/ 48373 w 60663"/>
                  <a:gd name="connsiteY8" fmla="*/ 29893 h 80326"/>
                  <a:gd name="connsiteX9" fmla="*/ 32562 w 60663"/>
                  <a:gd name="connsiteY9" fmla="*/ 10350 h 80326"/>
                  <a:gd name="connsiteX10" fmla="*/ 7520 w 60663"/>
                  <a:gd name="connsiteY10" fmla="*/ 19782 h 80326"/>
                  <a:gd name="connsiteX11" fmla="*/ 7520 w 60663"/>
                  <a:gd name="connsiteY11" fmla="*/ 7206 h 80326"/>
                  <a:gd name="connsiteX12" fmla="*/ 33604 w 60663"/>
                  <a:gd name="connsiteY12" fmla="*/ 9 h 80326"/>
                  <a:gd name="connsiteX13" fmla="*/ 60664 w 60663"/>
                  <a:gd name="connsiteY13" fmla="*/ 28622 h 80326"/>
                  <a:gd name="connsiteX14" fmla="*/ 48362 w 60663"/>
                  <a:gd name="connsiteY14" fmla="*/ 39697 h 80326"/>
                  <a:gd name="connsiteX15" fmla="*/ 29854 w 60663"/>
                  <a:gd name="connsiteY15" fmla="*/ 42249 h 80326"/>
                  <a:gd name="connsiteX16" fmla="*/ 16960 w 60663"/>
                  <a:gd name="connsiteY16" fmla="*/ 46478 h 80326"/>
                  <a:gd name="connsiteX17" fmla="*/ 12574 w 60663"/>
                  <a:gd name="connsiteY17" fmla="*/ 57224 h 80326"/>
                  <a:gd name="connsiteX18" fmla="*/ 16598 w 60663"/>
                  <a:gd name="connsiteY18" fmla="*/ 66393 h 80326"/>
                  <a:gd name="connsiteX19" fmla="*/ 27266 w 60663"/>
                  <a:gd name="connsiteY19" fmla="*/ 69953 h 80326"/>
                  <a:gd name="connsiteX20" fmla="*/ 42375 w 60663"/>
                  <a:gd name="connsiteY20" fmla="*/ 63556 h 80326"/>
                  <a:gd name="connsiteX21" fmla="*/ 48329 w 60663"/>
                  <a:gd name="connsiteY21" fmla="*/ 4734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6"/>
                    </a:moveTo>
                    <a:lnTo>
                      <a:pt x="48362" y="78486"/>
                    </a:lnTo>
                    <a:lnTo>
                      <a:pt x="48362" y="66513"/>
                    </a:lnTo>
                    <a:lnTo>
                      <a:pt x="48066" y="66513"/>
                    </a:lnTo>
                    <a:cubicBezTo>
                      <a:pt x="43483" y="75244"/>
                      <a:pt x="34317" y="80590"/>
                      <a:pt x="24449" y="80283"/>
                    </a:cubicBezTo>
                    <a:cubicBezTo>
                      <a:pt x="17914" y="80666"/>
                      <a:pt x="11478" y="78498"/>
                      <a:pt x="6511" y="74225"/>
                    </a:cubicBezTo>
                    <a:cubicBezTo>
                      <a:pt x="2125" y="70041"/>
                      <a:pt x="-243" y="64169"/>
                      <a:pt x="20" y="58122"/>
                    </a:cubicBezTo>
                    <a:cubicBezTo>
                      <a:pt x="20" y="43794"/>
                      <a:pt x="8463" y="35458"/>
                      <a:pt x="25348" y="33113"/>
                    </a:cubicBezTo>
                    <a:lnTo>
                      <a:pt x="48373" y="29893"/>
                    </a:lnTo>
                    <a:cubicBezTo>
                      <a:pt x="48373" y="16857"/>
                      <a:pt x="43099" y="10339"/>
                      <a:pt x="32562" y="10350"/>
                    </a:cubicBezTo>
                    <a:cubicBezTo>
                      <a:pt x="23341" y="10339"/>
                      <a:pt x="14438" y="13691"/>
                      <a:pt x="7520" y="19782"/>
                    </a:cubicBezTo>
                    <a:lnTo>
                      <a:pt x="7520" y="7206"/>
                    </a:lnTo>
                    <a:cubicBezTo>
                      <a:pt x="15337" y="2331"/>
                      <a:pt x="24394" y="-167"/>
                      <a:pt x="33604" y="9"/>
                    </a:cubicBezTo>
                    <a:cubicBezTo>
                      <a:pt x="51651" y="9"/>
                      <a:pt x="60675" y="9550"/>
                      <a:pt x="60664" y="28622"/>
                    </a:cubicBezTo>
                    <a:close/>
                    <a:moveTo>
                      <a:pt x="48362" y="39697"/>
                    </a:moveTo>
                    <a:lnTo>
                      <a:pt x="29854" y="42249"/>
                    </a:lnTo>
                    <a:cubicBezTo>
                      <a:pt x="25293" y="42654"/>
                      <a:pt x="20874" y="44101"/>
                      <a:pt x="16960" y="46478"/>
                    </a:cubicBezTo>
                    <a:cubicBezTo>
                      <a:pt x="13780" y="49096"/>
                      <a:pt x="12136" y="53138"/>
                      <a:pt x="12574" y="57224"/>
                    </a:cubicBezTo>
                    <a:cubicBezTo>
                      <a:pt x="12464" y="60729"/>
                      <a:pt x="13945" y="64092"/>
                      <a:pt x="16598" y="66393"/>
                    </a:cubicBezTo>
                    <a:cubicBezTo>
                      <a:pt x="19581" y="68880"/>
                      <a:pt x="23385" y="70150"/>
                      <a:pt x="27266" y="69953"/>
                    </a:cubicBezTo>
                    <a:cubicBezTo>
                      <a:pt x="32990" y="70118"/>
                      <a:pt x="38505" y="67773"/>
                      <a:pt x="42375" y="63556"/>
                    </a:cubicBezTo>
                    <a:cubicBezTo>
                      <a:pt x="46399" y="59130"/>
                      <a:pt x="48537" y="53313"/>
                      <a:pt x="48329" y="4734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3" name="Freeform: Shape 352">
                <a:extLst>
                  <a:ext uri="{FF2B5EF4-FFF2-40B4-BE49-F238E27FC236}">
                    <a16:creationId xmlns:a16="http://schemas.microsoft.com/office/drawing/2014/main" id="{1FE145CC-221E-FC3D-FC38-1A8EDE430723}"/>
                  </a:ext>
                </a:extLst>
              </p:cNvPr>
              <p:cNvSpPr/>
              <p:nvPr/>
            </p:nvSpPr>
            <p:spPr>
              <a:xfrm>
                <a:off x="3981690" y="5557031"/>
                <a:ext cx="44789" cy="101088"/>
              </a:xfrm>
              <a:custGeom>
                <a:avLst/>
                <a:gdLst>
                  <a:gd name="connsiteX0" fmla="*/ 44789 w 44789"/>
                  <a:gd name="connsiteY0" fmla="*/ 98667 h 101088"/>
                  <a:gd name="connsiteX1" fmla="*/ 33321 w 44789"/>
                  <a:gd name="connsiteY1" fmla="*/ 101066 h 101088"/>
                  <a:gd name="connsiteX2" fmla="*/ 13157 w 44789"/>
                  <a:gd name="connsiteY2" fmla="*/ 78598 h 101088"/>
                  <a:gd name="connsiteX3" fmla="*/ 13157 w 44789"/>
                  <a:gd name="connsiteY3" fmla="*/ 33214 h 101088"/>
                  <a:gd name="connsiteX4" fmla="*/ 0 w 44789"/>
                  <a:gd name="connsiteY4" fmla="*/ 33214 h 101088"/>
                  <a:gd name="connsiteX5" fmla="*/ 0 w 44789"/>
                  <a:gd name="connsiteY5" fmla="*/ 22730 h 101088"/>
                  <a:gd name="connsiteX6" fmla="*/ 13157 w 44789"/>
                  <a:gd name="connsiteY6" fmla="*/ 22730 h 101088"/>
                  <a:gd name="connsiteX7" fmla="*/ 13157 w 44789"/>
                  <a:gd name="connsiteY7" fmla="*/ 3966 h 101088"/>
                  <a:gd name="connsiteX8" fmla="*/ 25449 w 44789"/>
                  <a:gd name="connsiteY8" fmla="*/ 0 h 101088"/>
                  <a:gd name="connsiteX9" fmla="*/ 25449 w 44789"/>
                  <a:gd name="connsiteY9" fmla="*/ 22687 h 101088"/>
                  <a:gd name="connsiteX10" fmla="*/ 44789 w 44789"/>
                  <a:gd name="connsiteY10" fmla="*/ 22687 h 101088"/>
                  <a:gd name="connsiteX11" fmla="*/ 44789 w 44789"/>
                  <a:gd name="connsiteY11" fmla="*/ 33170 h 101088"/>
                  <a:gd name="connsiteX12" fmla="*/ 25449 w 44789"/>
                  <a:gd name="connsiteY12" fmla="*/ 33170 h 101088"/>
                  <a:gd name="connsiteX13" fmla="*/ 25449 w 44789"/>
                  <a:gd name="connsiteY13" fmla="*/ 76385 h 101088"/>
                  <a:gd name="connsiteX14" fmla="*/ 28080 w 44789"/>
                  <a:gd name="connsiteY14" fmla="*/ 87395 h 101088"/>
                  <a:gd name="connsiteX15" fmla="*/ 36764 w 44789"/>
                  <a:gd name="connsiteY15" fmla="*/ 90681 h 101088"/>
                  <a:gd name="connsiteX16" fmla="*/ 44789 w 44789"/>
                  <a:gd name="connsiteY16" fmla="*/ 88140 h 10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88">
                    <a:moveTo>
                      <a:pt x="44789" y="98667"/>
                    </a:moveTo>
                    <a:cubicBezTo>
                      <a:pt x="41226" y="100409"/>
                      <a:pt x="37279" y="101241"/>
                      <a:pt x="33321" y="101066"/>
                    </a:cubicBezTo>
                    <a:cubicBezTo>
                      <a:pt x="19868" y="101066"/>
                      <a:pt x="13146" y="93573"/>
                      <a:pt x="13157" y="78598"/>
                    </a:cubicBezTo>
                    <a:lnTo>
                      <a:pt x="13157" y="33214"/>
                    </a:lnTo>
                    <a:lnTo>
                      <a:pt x="0" y="33214"/>
                    </a:lnTo>
                    <a:lnTo>
                      <a:pt x="0" y="22730"/>
                    </a:lnTo>
                    <a:lnTo>
                      <a:pt x="13157" y="22730"/>
                    </a:lnTo>
                    <a:lnTo>
                      <a:pt x="13157" y="3966"/>
                    </a:lnTo>
                    <a:lnTo>
                      <a:pt x="25449" y="0"/>
                    </a:lnTo>
                    <a:lnTo>
                      <a:pt x="25449" y="22687"/>
                    </a:lnTo>
                    <a:lnTo>
                      <a:pt x="44789" y="22687"/>
                    </a:lnTo>
                    <a:lnTo>
                      <a:pt x="44789" y="33170"/>
                    </a:lnTo>
                    <a:lnTo>
                      <a:pt x="25449" y="33170"/>
                    </a:lnTo>
                    <a:lnTo>
                      <a:pt x="25449" y="76385"/>
                    </a:lnTo>
                    <a:cubicBezTo>
                      <a:pt x="25109" y="80241"/>
                      <a:pt x="26029" y="84108"/>
                      <a:pt x="28080" y="87395"/>
                    </a:cubicBezTo>
                    <a:cubicBezTo>
                      <a:pt x="30306" y="89783"/>
                      <a:pt x="33518" y="90999"/>
                      <a:pt x="36764" y="90681"/>
                    </a:cubicBezTo>
                    <a:cubicBezTo>
                      <a:pt x="39647" y="90758"/>
                      <a:pt x="42476" y="89860"/>
                      <a:pt x="44789" y="8814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4" name="Freeform: Shape 353">
                <a:extLst>
                  <a:ext uri="{FF2B5EF4-FFF2-40B4-BE49-F238E27FC236}">
                    <a16:creationId xmlns:a16="http://schemas.microsoft.com/office/drawing/2014/main" id="{9CDF3652-B7AF-B8DF-A92B-73FCAE7F8BF7}"/>
                  </a:ext>
                </a:extLst>
              </p:cNvPr>
              <p:cNvSpPr/>
              <p:nvPr/>
            </p:nvSpPr>
            <p:spPr>
              <a:xfrm>
                <a:off x="4038378" y="5577957"/>
                <a:ext cx="60663" cy="80326"/>
              </a:xfrm>
              <a:custGeom>
                <a:avLst/>
                <a:gdLst>
                  <a:gd name="connsiteX0" fmla="*/ 60653 w 60663"/>
                  <a:gd name="connsiteY0" fmla="*/ 78486 h 80326"/>
                  <a:gd name="connsiteX1" fmla="*/ 48362 w 60663"/>
                  <a:gd name="connsiteY1" fmla="*/ 78486 h 80326"/>
                  <a:gd name="connsiteX2" fmla="*/ 48362 w 60663"/>
                  <a:gd name="connsiteY2" fmla="*/ 66513 h 80326"/>
                  <a:gd name="connsiteX3" fmla="*/ 48066 w 60663"/>
                  <a:gd name="connsiteY3" fmla="*/ 66513 h 80326"/>
                  <a:gd name="connsiteX4" fmla="*/ 24449 w 60663"/>
                  <a:gd name="connsiteY4" fmla="*/ 80283 h 80326"/>
                  <a:gd name="connsiteX5" fmla="*/ 6500 w 60663"/>
                  <a:gd name="connsiteY5" fmla="*/ 74225 h 80326"/>
                  <a:gd name="connsiteX6" fmla="*/ 20 w 60663"/>
                  <a:gd name="connsiteY6" fmla="*/ 58122 h 80326"/>
                  <a:gd name="connsiteX7" fmla="*/ 25348 w 60663"/>
                  <a:gd name="connsiteY7" fmla="*/ 33113 h 80326"/>
                  <a:gd name="connsiteX8" fmla="*/ 48373 w 60663"/>
                  <a:gd name="connsiteY8" fmla="*/ 29893 h 80326"/>
                  <a:gd name="connsiteX9" fmla="*/ 32562 w 60663"/>
                  <a:gd name="connsiteY9" fmla="*/ 10350 h 80326"/>
                  <a:gd name="connsiteX10" fmla="*/ 7520 w 60663"/>
                  <a:gd name="connsiteY10" fmla="*/ 19782 h 80326"/>
                  <a:gd name="connsiteX11" fmla="*/ 7520 w 60663"/>
                  <a:gd name="connsiteY11" fmla="*/ 7206 h 80326"/>
                  <a:gd name="connsiteX12" fmla="*/ 33604 w 60663"/>
                  <a:gd name="connsiteY12" fmla="*/ 9 h 80326"/>
                  <a:gd name="connsiteX13" fmla="*/ 60664 w 60663"/>
                  <a:gd name="connsiteY13" fmla="*/ 28622 h 80326"/>
                  <a:gd name="connsiteX14" fmla="*/ 48362 w 60663"/>
                  <a:gd name="connsiteY14" fmla="*/ 39697 h 80326"/>
                  <a:gd name="connsiteX15" fmla="*/ 29854 w 60663"/>
                  <a:gd name="connsiteY15" fmla="*/ 42249 h 80326"/>
                  <a:gd name="connsiteX16" fmla="*/ 16960 w 60663"/>
                  <a:gd name="connsiteY16" fmla="*/ 46478 h 80326"/>
                  <a:gd name="connsiteX17" fmla="*/ 12574 w 60663"/>
                  <a:gd name="connsiteY17" fmla="*/ 57224 h 80326"/>
                  <a:gd name="connsiteX18" fmla="*/ 16587 w 60663"/>
                  <a:gd name="connsiteY18" fmla="*/ 66393 h 80326"/>
                  <a:gd name="connsiteX19" fmla="*/ 27267 w 60663"/>
                  <a:gd name="connsiteY19" fmla="*/ 69953 h 80326"/>
                  <a:gd name="connsiteX20" fmla="*/ 42364 w 60663"/>
                  <a:gd name="connsiteY20" fmla="*/ 63556 h 80326"/>
                  <a:gd name="connsiteX21" fmla="*/ 48329 w 60663"/>
                  <a:gd name="connsiteY21" fmla="*/ 4734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6"/>
                    </a:moveTo>
                    <a:lnTo>
                      <a:pt x="48362" y="78486"/>
                    </a:lnTo>
                    <a:lnTo>
                      <a:pt x="48362" y="66513"/>
                    </a:lnTo>
                    <a:lnTo>
                      <a:pt x="48066" y="66513"/>
                    </a:lnTo>
                    <a:cubicBezTo>
                      <a:pt x="43483" y="75244"/>
                      <a:pt x="34306" y="80590"/>
                      <a:pt x="24449" y="80283"/>
                    </a:cubicBezTo>
                    <a:cubicBezTo>
                      <a:pt x="17903" y="80666"/>
                      <a:pt x="11467" y="78498"/>
                      <a:pt x="6500" y="74225"/>
                    </a:cubicBezTo>
                    <a:cubicBezTo>
                      <a:pt x="2114" y="70041"/>
                      <a:pt x="-243" y="64169"/>
                      <a:pt x="20" y="58122"/>
                    </a:cubicBezTo>
                    <a:cubicBezTo>
                      <a:pt x="20" y="43794"/>
                      <a:pt x="8463" y="35458"/>
                      <a:pt x="25348" y="33113"/>
                    </a:cubicBezTo>
                    <a:lnTo>
                      <a:pt x="48373" y="29893"/>
                    </a:lnTo>
                    <a:cubicBezTo>
                      <a:pt x="48373" y="16857"/>
                      <a:pt x="43099" y="10339"/>
                      <a:pt x="32562" y="10350"/>
                    </a:cubicBezTo>
                    <a:cubicBezTo>
                      <a:pt x="23341" y="10339"/>
                      <a:pt x="14438" y="13691"/>
                      <a:pt x="7520" y="19782"/>
                    </a:cubicBezTo>
                    <a:lnTo>
                      <a:pt x="7520" y="7206"/>
                    </a:lnTo>
                    <a:cubicBezTo>
                      <a:pt x="15337" y="2331"/>
                      <a:pt x="24394" y="-167"/>
                      <a:pt x="33604" y="9"/>
                    </a:cubicBezTo>
                    <a:cubicBezTo>
                      <a:pt x="51640" y="9"/>
                      <a:pt x="60664" y="9550"/>
                      <a:pt x="60664" y="28622"/>
                    </a:cubicBezTo>
                    <a:close/>
                    <a:moveTo>
                      <a:pt x="48362" y="39697"/>
                    </a:moveTo>
                    <a:lnTo>
                      <a:pt x="29854" y="42249"/>
                    </a:lnTo>
                    <a:cubicBezTo>
                      <a:pt x="25293" y="42654"/>
                      <a:pt x="20874" y="44101"/>
                      <a:pt x="16960" y="46478"/>
                    </a:cubicBezTo>
                    <a:cubicBezTo>
                      <a:pt x="13780" y="49085"/>
                      <a:pt x="12125" y="53127"/>
                      <a:pt x="12574" y="57224"/>
                    </a:cubicBezTo>
                    <a:cubicBezTo>
                      <a:pt x="12465" y="60729"/>
                      <a:pt x="13945" y="64092"/>
                      <a:pt x="16587" y="66393"/>
                    </a:cubicBezTo>
                    <a:cubicBezTo>
                      <a:pt x="19570" y="68880"/>
                      <a:pt x="23385" y="70150"/>
                      <a:pt x="27267" y="69953"/>
                    </a:cubicBezTo>
                    <a:cubicBezTo>
                      <a:pt x="32990" y="70106"/>
                      <a:pt x="38494" y="67773"/>
                      <a:pt x="42364" y="63556"/>
                    </a:cubicBezTo>
                    <a:cubicBezTo>
                      <a:pt x="46399" y="59141"/>
                      <a:pt x="48538" y="53313"/>
                      <a:pt x="48329" y="4734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5" name="Freeform: Shape 354">
                <a:extLst>
                  <a:ext uri="{FF2B5EF4-FFF2-40B4-BE49-F238E27FC236}">
                    <a16:creationId xmlns:a16="http://schemas.microsoft.com/office/drawing/2014/main" id="{84F3E440-5130-2B4F-80BD-55E1980D2AEA}"/>
                  </a:ext>
                </a:extLst>
              </p:cNvPr>
              <p:cNvSpPr/>
              <p:nvPr/>
            </p:nvSpPr>
            <p:spPr>
              <a:xfrm>
                <a:off x="4116461" y="5577893"/>
                <a:ext cx="57763" cy="80373"/>
              </a:xfrm>
              <a:custGeom>
                <a:avLst/>
                <a:gdLst>
                  <a:gd name="connsiteX0" fmla="*/ 57599 w 57763"/>
                  <a:gd name="connsiteY0" fmla="*/ 75033 h 80373"/>
                  <a:gd name="connsiteX1" fmla="*/ 36614 w 57763"/>
                  <a:gd name="connsiteY1" fmla="*/ 80346 h 80373"/>
                  <a:gd name="connsiteX2" fmla="*/ 10134 w 57763"/>
                  <a:gd name="connsiteY2" fmla="*/ 69644 h 80373"/>
                  <a:gd name="connsiteX3" fmla="*/ 47 w 57763"/>
                  <a:gd name="connsiteY3" fmla="*/ 41973 h 80373"/>
                  <a:gd name="connsiteX4" fmla="*/ 10913 w 57763"/>
                  <a:gd name="connsiteY4" fmla="*/ 11541 h 80373"/>
                  <a:gd name="connsiteX5" fmla="*/ 39925 w 57763"/>
                  <a:gd name="connsiteY5" fmla="*/ 39 h 80373"/>
                  <a:gd name="connsiteX6" fmla="*/ 57764 w 57763"/>
                  <a:gd name="connsiteY6" fmla="*/ 3786 h 80373"/>
                  <a:gd name="connsiteX7" fmla="*/ 57764 w 57763"/>
                  <a:gd name="connsiteY7" fmla="*/ 16372 h 80373"/>
                  <a:gd name="connsiteX8" fmla="*/ 39475 w 57763"/>
                  <a:gd name="connsiteY8" fmla="*/ 10380 h 80373"/>
                  <a:gd name="connsiteX9" fmla="*/ 20178 w 57763"/>
                  <a:gd name="connsiteY9" fmla="*/ 18804 h 80373"/>
                  <a:gd name="connsiteX10" fmla="*/ 12634 w 57763"/>
                  <a:gd name="connsiteY10" fmla="*/ 40932 h 80373"/>
                  <a:gd name="connsiteX11" fmla="*/ 19728 w 57763"/>
                  <a:gd name="connsiteY11" fmla="*/ 62195 h 80373"/>
                  <a:gd name="connsiteX12" fmla="*/ 38719 w 57763"/>
                  <a:gd name="connsiteY12" fmla="*/ 69983 h 80373"/>
                  <a:gd name="connsiteX13" fmla="*/ 57610 w 57763"/>
                  <a:gd name="connsiteY13" fmla="*/ 63323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73">
                    <a:moveTo>
                      <a:pt x="57599" y="75033"/>
                    </a:moveTo>
                    <a:cubicBezTo>
                      <a:pt x="51229" y="78703"/>
                      <a:pt x="43971" y="80543"/>
                      <a:pt x="36614" y="80346"/>
                    </a:cubicBezTo>
                    <a:cubicBezTo>
                      <a:pt x="26658" y="80741"/>
                      <a:pt x="17009" y="76841"/>
                      <a:pt x="10134" y="69644"/>
                    </a:cubicBezTo>
                    <a:cubicBezTo>
                      <a:pt x="3249" y="62107"/>
                      <a:pt x="-381" y="52160"/>
                      <a:pt x="47" y="41973"/>
                    </a:cubicBezTo>
                    <a:cubicBezTo>
                      <a:pt x="-479" y="30799"/>
                      <a:pt x="3424" y="19867"/>
                      <a:pt x="10913" y="11541"/>
                    </a:cubicBezTo>
                    <a:cubicBezTo>
                      <a:pt x="18489" y="3731"/>
                      <a:pt x="29048" y="-454"/>
                      <a:pt x="39925" y="39"/>
                    </a:cubicBezTo>
                    <a:cubicBezTo>
                      <a:pt x="46076" y="-92"/>
                      <a:pt x="52183" y="1189"/>
                      <a:pt x="57764" y="3786"/>
                    </a:cubicBezTo>
                    <a:lnTo>
                      <a:pt x="57764" y="16372"/>
                    </a:lnTo>
                    <a:cubicBezTo>
                      <a:pt x="52446" y="12505"/>
                      <a:pt x="46054" y="10402"/>
                      <a:pt x="39475" y="10380"/>
                    </a:cubicBezTo>
                    <a:cubicBezTo>
                      <a:pt x="32107" y="10172"/>
                      <a:pt x="25035" y="13261"/>
                      <a:pt x="20178" y="18804"/>
                    </a:cubicBezTo>
                    <a:cubicBezTo>
                      <a:pt x="14959" y="24960"/>
                      <a:pt x="12262" y="32870"/>
                      <a:pt x="12634" y="40932"/>
                    </a:cubicBezTo>
                    <a:cubicBezTo>
                      <a:pt x="12207" y="48666"/>
                      <a:pt x="14740" y="56268"/>
                      <a:pt x="19728" y="62195"/>
                    </a:cubicBezTo>
                    <a:cubicBezTo>
                      <a:pt x="24607" y="67453"/>
                      <a:pt x="31548" y="70301"/>
                      <a:pt x="38719" y="69983"/>
                    </a:cubicBezTo>
                    <a:cubicBezTo>
                      <a:pt x="45582" y="69929"/>
                      <a:pt x="52227" y="67585"/>
                      <a:pt x="57610" y="633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6" name="Freeform: Shape 355">
                <a:extLst>
                  <a:ext uri="{FF2B5EF4-FFF2-40B4-BE49-F238E27FC236}">
                    <a16:creationId xmlns:a16="http://schemas.microsoft.com/office/drawing/2014/main" id="{320933D1-A6ED-9423-CF86-5B49CB993A66}"/>
                  </a:ext>
                </a:extLst>
              </p:cNvPr>
              <p:cNvSpPr/>
              <p:nvPr/>
            </p:nvSpPr>
            <p:spPr>
              <a:xfrm>
                <a:off x="4185666" y="5577875"/>
                <a:ext cx="67094" cy="80373"/>
              </a:xfrm>
              <a:custGeom>
                <a:avLst/>
                <a:gdLst>
                  <a:gd name="connsiteX0" fmla="*/ 67020 w 67094"/>
                  <a:gd name="connsiteY0" fmla="*/ 43306 h 80373"/>
                  <a:gd name="connsiteX1" fmla="*/ 12823 w 67094"/>
                  <a:gd name="connsiteY1" fmla="*/ 43306 h 80373"/>
                  <a:gd name="connsiteX2" fmla="*/ 19720 w 67094"/>
                  <a:gd name="connsiteY2" fmla="*/ 63024 h 80373"/>
                  <a:gd name="connsiteX3" fmla="*/ 37866 w 67094"/>
                  <a:gd name="connsiteY3" fmla="*/ 69991 h 80373"/>
                  <a:gd name="connsiteX4" fmla="*/ 61691 w 67094"/>
                  <a:gd name="connsiteY4" fmla="*/ 61458 h 80373"/>
                  <a:gd name="connsiteX5" fmla="*/ 61691 w 67094"/>
                  <a:gd name="connsiteY5" fmla="*/ 72992 h 80373"/>
                  <a:gd name="connsiteX6" fmla="*/ 34938 w 67094"/>
                  <a:gd name="connsiteY6" fmla="*/ 80321 h 80373"/>
                  <a:gd name="connsiteX7" fmla="*/ 9380 w 67094"/>
                  <a:gd name="connsiteY7" fmla="*/ 69881 h 80373"/>
                  <a:gd name="connsiteX8" fmla="*/ 82 w 67094"/>
                  <a:gd name="connsiteY8" fmla="*/ 40491 h 80373"/>
                  <a:gd name="connsiteX9" fmla="*/ 10246 w 67094"/>
                  <a:gd name="connsiteY9" fmla="*/ 11319 h 80373"/>
                  <a:gd name="connsiteX10" fmla="*/ 35464 w 67094"/>
                  <a:gd name="connsiteY10" fmla="*/ 47 h 80373"/>
                  <a:gd name="connsiteX11" fmla="*/ 58774 w 67094"/>
                  <a:gd name="connsiteY11" fmla="*/ 9785 h 80373"/>
                  <a:gd name="connsiteX12" fmla="*/ 67020 w 67094"/>
                  <a:gd name="connsiteY12" fmla="*/ 36821 h 80373"/>
                  <a:gd name="connsiteX13" fmla="*/ 54422 w 67094"/>
                  <a:gd name="connsiteY13" fmla="*/ 32899 h 80373"/>
                  <a:gd name="connsiteX14" fmla="*/ 49301 w 67094"/>
                  <a:gd name="connsiteY14" fmla="*/ 16347 h 80373"/>
                  <a:gd name="connsiteX15" fmla="*/ 35234 w 67094"/>
                  <a:gd name="connsiteY15" fmla="*/ 10432 h 80373"/>
                  <a:gd name="connsiteX16" fmla="*/ 20476 w 67094"/>
                  <a:gd name="connsiteY16" fmla="*/ 16643 h 80373"/>
                  <a:gd name="connsiteX17" fmla="*/ 12977 w 67094"/>
                  <a:gd name="connsiteY17" fmla="*/ 32899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4" h="80373">
                    <a:moveTo>
                      <a:pt x="67020" y="43306"/>
                    </a:moveTo>
                    <a:lnTo>
                      <a:pt x="12823" y="43306"/>
                    </a:lnTo>
                    <a:cubicBezTo>
                      <a:pt x="12571" y="50514"/>
                      <a:pt x="15027" y="57547"/>
                      <a:pt x="19720" y="63024"/>
                    </a:cubicBezTo>
                    <a:cubicBezTo>
                      <a:pt x="24500" y="67822"/>
                      <a:pt x="31101" y="70352"/>
                      <a:pt x="37866" y="69991"/>
                    </a:cubicBezTo>
                    <a:cubicBezTo>
                      <a:pt x="46549" y="69980"/>
                      <a:pt x="54970" y="66957"/>
                      <a:pt x="61691" y="61458"/>
                    </a:cubicBezTo>
                    <a:lnTo>
                      <a:pt x="61691" y="72992"/>
                    </a:lnTo>
                    <a:cubicBezTo>
                      <a:pt x="53786" y="78218"/>
                      <a:pt x="44411" y="80781"/>
                      <a:pt x="34938" y="80321"/>
                    </a:cubicBezTo>
                    <a:cubicBezTo>
                      <a:pt x="25289" y="80814"/>
                      <a:pt x="15915" y="76991"/>
                      <a:pt x="9380" y="69881"/>
                    </a:cubicBezTo>
                    <a:cubicBezTo>
                      <a:pt x="2736" y="61578"/>
                      <a:pt x="-576" y="51106"/>
                      <a:pt x="82" y="40491"/>
                    </a:cubicBezTo>
                    <a:cubicBezTo>
                      <a:pt x="-367" y="29832"/>
                      <a:pt x="3262" y="19393"/>
                      <a:pt x="10246" y="11319"/>
                    </a:cubicBezTo>
                    <a:cubicBezTo>
                      <a:pt x="16562" y="4002"/>
                      <a:pt x="25805" y="-128"/>
                      <a:pt x="35464" y="47"/>
                    </a:cubicBezTo>
                    <a:cubicBezTo>
                      <a:pt x="44323" y="-457"/>
                      <a:pt x="52920" y="3136"/>
                      <a:pt x="58774" y="9785"/>
                    </a:cubicBezTo>
                    <a:cubicBezTo>
                      <a:pt x="64684" y="17519"/>
                      <a:pt x="67612" y="27115"/>
                      <a:pt x="67020" y="36821"/>
                    </a:cubicBezTo>
                    <a:close/>
                    <a:moveTo>
                      <a:pt x="54422" y="32899"/>
                    </a:moveTo>
                    <a:cubicBezTo>
                      <a:pt x="54740" y="26951"/>
                      <a:pt x="52931" y="21079"/>
                      <a:pt x="49301" y="16347"/>
                    </a:cubicBezTo>
                    <a:cubicBezTo>
                      <a:pt x="45760" y="12338"/>
                      <a:pt x="40585" y="10158"/>
                      <a:pt x="35234" y="10432"/>
                    </a:cubicBezTo>
                    <a:cubicBezTo>
                      <a:pt x="29664" y="10344"/>
                      <a:pt x="24303" y="12590"/>
                      <a:pt x="20476" y="16643"/>
                    </a:cubicBezTo>
                    <a:cubicBezTo>
                      <a:pt x="16277" y="21112"/>
                      <a:pt x="13645" y="26809"/>
                      <a:pt x="12977" y="3289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7" name="Freeform: Shape 356">
                <a:extLst>
                  <a:ext uri="{FF2B5EF4-FFF2-40B4-BE49-F238E27FC236}">
                    <a16:creationId xmlns:a16="http://schemas.microsoft.com/office/drawing/2014/main" id="{3B85FF7C-2D83-CBBE-608F-F374C798C0E9}"/>
                  </a:ext>
                </a:extLst>
              </p:cNvPr>
              <p:cNvSpPr/>
              <p:nvPr/>
            </p:nvSpPr>
            <p:spPr>
              <a:xfrm>
                <a:off x="4271128" y="5577965"/>
                <a:ext cx="63783" cy="78521"/>
              </a:xfrm>
              <a:custGeom>
                <a:avLst/>
                <a:gdLst>
                  <a:gd name="connsiteX0" fmla="*/ 63714 w 63783"/>
                  <a:gd name="connsiteY0" fmla="*/ 78478 h 78521"/>
                  <a:gd name="connsiteX1" fmla="*/ 51423 w 63783"/>
                  <a:gd name="connsiteY1" fmla="*/ 78478 h 78521"/>
                  <a:gd name="connsiteX2" fmla="*/ 51423 w 63783"/>
                  <a:gd name="connsiteY2" fmla="*/ 34748 h 78521"/>
                  <a:gd name="connsiteX3" fmla="*/ 33584 w 63783"/>
                  <a:gd name="connsiteY3" fmla="*/ 10341 h 78521"/>
                  <a:gd name="connsiteX4" fmla="*/ 18321 w 63783"/>
                  <a:gd name="connsiteY4" fmla="*/ 17264 h 78521"/>
                  <a:gd name="connsiteX5" fmla="*/ 12302 w 63783"/>
                  <a:gd name="connsiteY5" fmla="*/ 34792 h 78521"/>
                  <a:gd name="connsiteX6" fmla="*/ 12302 w 63783"/>
                  <a:gd name="connsiteY6" fmla="*/ 78522 h 78521"/>
                  <a:gd name="connsiteX7" fmla="*/ 0 w 63783"/>
                  <a:gd name="connsiteY7" fmla="*/ 78522 h 78521"/>
                  <a:gd name="connsiteX8" fmla="*/ 0 w 63783"/>
                  <a:gd name="connsiteY8" fmla="*/ 1840 h 78521"/>
                  <a:gd name="connsiteX9" fmla="*/ 12258 w 63783"/>
                  <a:gd name="connsiteY9" fmla="*/ 1840 h 78521"/>
                  <a:gd name="connsiteX10" fmla="*/ 12258 w 63783"/>
                  <a:gd name="connsiteY10" fmla="*/ 14581 h 78521"/>
                  <a:gd name="connsiteX11" fmla="*/ 12554 w 63783"/>
                  <a:gd name="connsiteY11" fmla="*/ 14581 h 78521"/>
                  <a:gd name="connsiteX12" fmla="*/ 37772 w 63783"/>
                  <a:gd name="connsiteY12" fmla="*/ 44 h 78521"/>
                  <a:gd name="connsiteX13" fmla="*/ 57037 w 63783"/>
                  <a:gd name="connsiteY13" fmla="*/ 8172 h 78521"/>
                  <a:gd name="connsiteX14" fmla="*/ 63703 w 63783"/>
                  <a:gd name="connsiteY14" fmla="*/ 31648 h 7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783" h="78521">
                    <a:moveTo>
                      <a:pt x="63714" y="78478"/>
                    </a:moveTo>
                    <a:lnTo>
                      <a:pt x="51423" y="78478"/>
                    </a:lnTo>
                    <a:lnTo>
                      <a:pt x="51423" y="34748"/>
                    </a:lnTo>
                    <a:cubicBezTo>
                      <a:pt x="51423" y="18469"/>
                      <a:pt x="45480" y="10330"/>
                      <a:pt x="33584" y="10341"/>
                    </a:cubicBezTo>
                    <a:cubicBezTo>
                      <a:pt x="27707" y="10221"/>
                      <a:pt x="22093" y="12762"/>
                      <a:pt x="18321" y="17264"/>
                    </a:cubicBezTo>
                    <a:cubicBezTo>
                      <a:pt x="14199" y="22161"/>
                      <a:pt x="12061" y="28405"/>
                      <a:pt x="12302" y="34792"/>
                    </a:cubicBezTo>
                    <a:lnTo>
                      <a:pt x="12302" y="78522"/>
                    </a:lnTo>
                    <a:lnTo>
                      <a:pt x="0" y="78522"/>
                    </a:lnTo>
                    <a:lnTo>
                      <a:pt x="0" y="1840"/>
                    </a:lnTo>
                    <a:lnTo>
                      <a:pt x="12258" y="1840"/>
                    </a:lnTo>
                    <a:lnTo>
                      <a:pt x="12258" y="14581"/>
                    </a:lnTo>
                    <a:lnTo>
                      <a:pt x="12554" y="14581"/>
                    </a:lnTo>
                    <a:cubicBezTo>
                      <a:pt x="17521" y="5357"/>
                      <a:pt x="27290" y="-274"/>
                      <a:pt x="37772" y="44"/>
                    </a:cubicBezTo>
                    <a:cubicBezTo>
                      <a:pt x="45118" y="-405"/>
                      <a:pt x="52245" y="2596"/>
                      <a:pt x="57037" y="8172"/>
                    </a:cubicBezTo>
                    <a:cubicBezTo>
                      <a:pt x="61905" y="14997"/>
                      <a:pt x="64262" y="23289"/>
                      <a:pt x="63703" y="3164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8" name="Freeform: Shape 357">
                <a:extLst>
                  <a:ext uri="{FF2B5EF4-FFF2-40B4-BE49-F238E27FC236}">
                    <a16:creationId xmlns:a16="http://schemas.microsoft.com/office/drawing/2014/main" id="{BE53252A-D383-06D1-9655-90D1B08A0183}"/>
                  </a:ext>
                </a:extLst>
              </p:cNvPr>
              <p:cNvSpPr/>
              <p:nvPr/>
            </p:nvSpPr>
            <p:spPr>
              <a:xfrm>
                <a:off x="4347385" y="5557031"/>
                <a:ext cx="44778" cy="101088"/>
              </a:xfrm>
              <a:custGeom>
                <a:avLst/>
                <a:gdLst>
                  <a:gd name="connsiteX0" fmla="*/ 44779 w 44778"/>
                  <a:gd name="connsiteY0" fmla="*/ 98667 h 101088"/>
                  <a:gd name="connsiteX1" fmla="*/ 33321 w 44778"/>
                  <a:gd name="connsiteY1" fmla="*/ 101066 h 101088"/>
                  <a:gd name="connsiteX2" fmla="*/ 13157 w 44778"/>
                  <a:gd name="connsiteY2" fmla="*/ 78598 h 101088"/>
                  <a:gd name="connsiteX3" fmla="*/ 13157 w 44778"/>
                  <a:gd name="connsiteY3" fmla="*/ 33214 h 101088"/>
                  <a:gd name="connsiteX4" fmla="*/ 0 w 44778"/>
                  <a:gd name="connsiteY4" fmla="*/ 33214 h 101088"/>
                  <a:gd name="connsiteX5" fmla="*/ 0 w 44778"/>
                  <a:gd name="connsiteY5" fmla="*/ 22730 h 101088"/>
                  <a:gd name="connsiteX6" fmla="*/ 13157 w 44778"/>
                  <a:gd name="connsiteY6" fmla="*/ 22730 h 101088"/>
                  <a:gd name="connsiteX7" fmla="*/ 13157 w 44778"/>
                  <a:gd name="connsiteY7" fmla="*/ 3966 h 101088"/>
                  <a:gd name="connsiteX8" fmla="*/ 25449 w 44778"/>
                  <a:gd name="connsiteY8" fmla="*/ 0 h 101088"/>
                  <a:gd name="connsiteX9" fmla="*/ 25449 w 44778"/>
                  <a:gd name="connsiteY9" fmla="*/ 22687 h 101088"/>
                  <a:gd name="connsiteX10" fmla="*/ 44779 w 44778"/>
                  <a:gd name="connsiteY10" fmla="*/ 22687 h 101088"/>
                  <a:gd name="connsiteX11" fmla="*/ 44779 w 44778"/>
                  <a:gd name="connsiteY11" fmla="*/ 33170 h 101088"/>
                  <a:gd name="connsiteX12" fmla="*/ 25449 w 44778"/>
                  <a:gd name="connsiteY12" fmla="*/ 33170 h 101088"/>
                  <a:gd name="connsiteX13" fmla="*/ 25449 w 44778"/>
                  <a:gd name="connsiteY13" fmla="*/ 76385 h 101088"/>
                  <a:gd name="connsiteX14" fmla="*/ 28069 w 44778"/>
                  <a:gd name="connsiteY14" fmla="*/ 87395 h 101088"/>
                  <a:gd name="connsiteX15" fmla="*/ 36764 w 44778"/>
                  <a:gd name="connsiteY15" fmla="*/ 90681 h 101088"/>
                  <a:gd name="connsiteX16" fmla="*/ 44779 w 44778"/>
                  <a:gd name="connsiteY16" fmla="*/ 88140 h 10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88">
                    <a:moveTo>
                      <a:pt x="44779" y="98667"/>
                    </a:moveTo>
                    <a:cubicBezTo>
                      <a:pt x="41226" y="100420"/>
                      <a:pt x="37279" y="101241"/>
                      <a:pt x="33321" y="101066"/>
                    </a:cubicBezTo>
                    <a:cubicBezTo>
                      <a:pt x="19879" y="101066"/>
                      <a:pt x="13157" y="93573"/>
                      <a:pt x="13157" y="78598"/>
                    </a:cubicBezTo>
                    <a:lnTo>
                      <a:pt x="13157" y="33214"/>
                    </a:lnTo>
                    <a:lnTo>
                      <a:pt x="0" y="33214"/>
                    </a:lnTo>
                    <a:lnTo>
                      <a:pt x="0" y="22730"/>
                    </a:lnTo>
                    <a:lnTo>
                      <a:pt x="13157" y="22730"/>
                    </a:lnTo>
                    <a:lnTo>
                      <a:pt x="13157" y="3966"/>
                    </a:lnTo>
                    <a:lnTo>
                      <a:pt x="25449" y="0"/>
                    </a:lnTo>
                    <a:lnTo>
                      <a:pt x="25449" y="22687"/>
                    </a:lnTo>
                    <a:lnTo>
                      <a:pt x="44779" y="22687"/>
                    </a:lnTo>
                    <a:lnTo>
                      <a:pt x="44779" y="33170"/>
                    </a:lnTo>
                    <a:lnTo>
                      <a:pt x="25449" y="33170"/>
                    </a:lnTo>
                    <a:lnTo>
                      <a:pt x="25449" y="76385"/>
                    </a:lnTo>
                    <a:cubicBezTo>
                      <a:pt x="25109" y="80241"/>
                      <a:pt x="26029" y="84097"/>
                      <a:pt x="28069" y="87395"/>
                    </a:cubicBezTo>
                    <a:cubicBezTo>
                      <a:pt x="30295" y="89783"/>
                      <a:pt x="33507" y="90999"/>
                      <a:pt x="36764" y="90681"/>
                    </a:cubicBezTo>
                    <a:cubicBezTo>
                      <a:pt x="39647" y="90758"/>
                      <a:pt x="42465" y="89860"/>
                      <a:pt x="44779" y="8814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9" name="Freeform: Shape 358">
                <a:extLst>
                  <a:ext uri="{FF2B5EF4-FFF2-40B4-BE49-F238E27FC236}">
                    <a16:creationId xmlns:a16="http://schemas.microsoft.com/office/drawing/2014/main" id="{D89FAF4B-2715-9EFC-B1EC-2633DD45B4CA}"/>
                  </a:ext>
                </a:extLst>
              </p:cNvPr>
              <p:cNvSpPr/>
              <p:nvPr/>
            </p:nvSpPr>
            <p:spPr>
              <a:xfrm>
                <a:off x="4401826" y="5577875"/>
                <a:ext cx="67083" cy="80373"/>
              </a:xfrm>
              <a:custGeom>
                <a:avLst/>
                <a:gdLst>
                  <a:gd name="connsiteX0" fmla="*/ 67022 w 67083"/>
                  <a:gd name="connsiteY0" fmla="*/ 43306 h 80373"/>
                  <a:gd name="connsiteX1" fmla="*/ 12825 w 67083"/>
                  <a:gd name="connsiteY1" fmla="*/ 43306 h 80373"/>
                  <a:gd name="connsiteX2" fmla="*/ 19722 w 67083"/>
                  <a:gd name="connsiteY2" fmla="*/ 63024 h 80373"/>
                  <a:gd name="connsiteX3" fmla="*/ 37857 w 67083"/>
                  <a:gd name="connsiteY3" fmla="*/ 69991 h 80373"/>
                  <a:gd name="connsiteX4" fmla="*/ 61694 w 67083"/>
                  <a:gd name="connsiteY4" fmla="*/ 61458 h 80373"/>
                  <a:gd name="connsiteX5" fmla="*/ 61694 w 67083"/>
                  <a:gd name="connsiteY5" fmla="*/ 72992 h 80373"/>
                  <a:gd name="connsiteX6" fmla="*/ 34941 w 67083"/>
                  <a:gd name="connsiteY6" fmla="*/ 80321 h 80373"/>
                  <a:gd name="connsiteX7" fmla="*/ 9383 w 67083"/>
                  <a:gd name="connsiteY7" fmla="*/ 69881 h 80373"/>
                  <a:gd name="connsiteX8" fmla="*/ 85 w 67083"/>
                  <a:gd name="connsiteY8" fmla="*/ 40491 h 80373"/>
                  <a:gd name="connsiteX9" fmla="*/ 10238 w 67083"/>
                  <a:gd name="connsiteY9" fmla="*/ 11319 h 80373"/>
                  <a:gd name="connsiteX10" fmla="*/ 35456 w 67083"/>
                  <a:gd name="connsiteY10" fmla="*/ 47 h 80373"/>
                  <a:gd name="connsiteX11" fmla="*/ 58766 w 67083"/>
                  <a:gd name="connsiteY11" fmla="*/ 9785 h 80373"/>
                  <a:gd name="connsiteX12" fmla="*/ 67011 w 67083"/>
                  <a:gd name="connsiteY12" fmla="*/ 36821 h 80373"/>
                  <a:gd name="connsiteX13" fmla="*/ 54424 w 67083"/>
                  <a:gd name="connsiteY13" fmla="*/ 32899 h 80373"/>
                  <a:gd name="connsiteX14" fmla="*/ 49282 w 67083"/>
                  <a:gd name="connsiteY14" fmla="*/ 16347 h 80373"/>
                  <a:gd name="connsiteX15" fmla="*/ 35237 w 67083"/>
                  <a:gd name="connsiteY15" fmla="*/ 10432 h 80373"/>
                  <a:gd name="connsiteX16" fmla="*/ 20479 w 67083"/>
                  <a:gd name="connsiteY16" fmla="*/ 16643 h 80373"/>
                  <a:gd name="connsiteX17" fmla="*/ 12979 w 67083"/>
                  <a:gd name="connsiteY17" fmla="*/ 32899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73">
                    <a:moveTo>
                      <a:pt x="67022" y="43306"/>
                    </a:moveTo>
                    <a:lnTo>
                      <a:pt x="12825" y="43306"/>
                    </a:lnTo>
                    <a:cubicBezTo>
                      <a:pt x="12562" y="50514"/>
                      <a:pt x="15018" y="57558"/>
                      <a:pt x="19722" y="63024"/>
                    </a:cubicBezTo>
                    <a:cubicBezTo>
                      <a:pt x="24491" y="67822"/>
                      <a:pt x="31092" y="70352"/>
                      <a:pt x="37857" y="69991"/>
                    </a:cubicBezTo>
                    <a:cubicBezTo>
                      <a:pt x="46552" y="69969"/>
                      <a:pt x="54972" y="66957"/>
                      <a:pt x="61694" y="61458"/>
                    </a:cubicBezTo>
                    <a:lnTo>
                      <a:pt x="61694" y="72992"/>
                    </a:lnTo>
                    <a:cubicBezTo>
                      <a:pt x="53788" y="78218"/>
                      <a:pt x="44414" y="80781"/>
                      <a:pt x="34941" y="80321"/>
                    </a:cubicBezTo>
                    <a:cubicBezTo>
                      <a:pt x="25292" y="80825"/>
                      <a:pt x="15917" y="76991"/>
                      <a:pt x="9383" y="69881"/>
                    </a:cubicBezTo>
                    <a:cubicBezTo>
                      <a:pt x="2727" y="61578"/>
                      <a:pt x="-584" y="51106"/>
                      <a:pt x="85" y="40491"/>
                    </a:cubicBezTo>
                    <a:cubicBezTo>
                      <a:pt x="-365" y="29832"/>
                      <a:pt x="3264" y="19403"/>
                      <a:pt x="10238" y="11319"/>
                    </a:cubicBezTo>
                    <a:cubicBezTo>
                      <a:pt x="16553" y="4012"/>
                      <a:pt x="25796" y="-117"/>
                      <a:pt x="35456" y="47"/>
                    </a:cubicBezTo>
                    <a:cubicBezTo>
                      <a:pt x="44315" y="-457"/>
                      <a:pt x="52900" y="3136"/>
                      <a:pt x="58766" y="9785"/>
                    </a:cubicBezTo>
                    <a:cubicBezTo>
                      <a:pt x="64665" y="17519"/>
                      <a:pt x="67593" y="27115"/>
                      <a:pt x="67011" y="36821"/>
                    </a:cubicBezTo>
                    <a:close/>
                    <a:moveTo>
                      <a:pt x="54424" y="32899"/>
                    </a:moveTo>
                    <a:cubicBezTo>
                      <a:pt x="54742" y="26951"/>
                      <a:pt x="52922" y="21079"/>
                      <a:pt x="49282" y="16347"/>
                    </a:cubicBezTo>
                    <a:cubicBezTo>
                      <a:pt x="45751" y="12327"/>
                      <a:pt x="40576" y="10147"/>
                      <a:pt x="35237" y="10432"/>
                    </a:cubicBezTo>
                    <a:cubicBezTo>
                      <a:pt x="29667" y="10333"/>
                      <a:pt x="24305" y="12590"/>
                      <a:pt x="20479" y="16643"/>
                    </a:cubicBezTo>
                    <a:cubicBezTo>
                      <a:pt x="16279" y="21101"/>
                      <a:pt x="13637" y="26809"/>
                      <a:pt x="12979" y="3289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0" name="Freeform: Shape 359">
                <a:extLst>
                  <a:ext uri="{FF2B5EF4-FFF2-40B4-BE49-F238E27FC236}">
                    <a16:creationId xmlns:a16="http://schemas.microsoft.com/office/drawing/2014/main" id="{A1B5021C-298E-FDDB-4AE0-AFF5489587C9}"/>
                  </a:ext>
                </a:extLst>
              </p:cNvPr>
              <p:cNvSpPr/>
              <p:nvPr/>
            </p:nvSpPr>
            <p:spPr>
              <a:xfrm>
                <a:off x="4487324" y="5578399"/>
                <a:ext cx="40019" cy="78044"/>
              </a:xfrm>
              <a:custGeom>
                <a:avLst/>
                <a:gdLst>
                  <a:gd name="connsiteX0" fmla="*/ 39998 w 40019"/>
                  <a:gd name="connsiteY0" fmla="*/ 13796 h 78044"/>
                  <a:gd name="connsiteX1" fmla="*/ 30700 w 40019"/>
                  <a:gd name="connsiteY1" fmla="*/ 11331 h 78044"/>
                  <a:gd name="connsiteX2" fmla="*/ 17543 w 40019"/>
                  <a:gd name="connsiteY2" fmla="*/ 18737 h 78044"/>
                  <a:gd name="connsiteX3" fmla="*/ 12258 w 40019"/>
                  <a:gd name="connsiteY3" fmla="*/ 38959 h 78044"/>
                  <a:gd name="connsiteX4" fmla="*/ 12258 w 40019"/>
                  <a:gd name="connsiteY4" fmla="*/ 78044 h 78044"/>
                  <a:gd name="connsiteX5" fmla="*/ 0 w 40019"/>
                  <a:gd name="connsiteY5" fmla="*/ 78044 h 78044"/>
                  <a:gd name="connsiteX6" fmla="*/ 0 w 40019"/>
                  <a:gd name="connsiteY6" fmla="*/ 1363 h 78044"/>
                  <a:gd name="connsiteX7" fmla="*/ 12291 w 40019"/>
                  <a:gd name="connsiteY7" fmla="*/ 1363 h 78044"/>
                  <a:gd name="connsiteX8" fmla="*/ 12291 w 40019"/>
                  <a:gd name="connsiteY8" fmla="*/ 17170 h 78044"/>
                  <a:gd name="connsiteX9" fmla="*/ 12598 w 40019"/>
                  <a:gd name="connsiteY9" fmla="*/ 17170 h 78044"/>
                  <a:gd name="connsiteX10" fmla="*/ 20613 w 40019"/>
                  <a:gd name="connsiteY10" fmla="*/ 4551 h 78044"/>
                  <a:gd name="connsiteX11" fmla="*/ 32674 w 40019"/>
                  <a:gd name="connsiteY11" fmla="*/ 16 h 78044"/>
                  <a:gd name="connsiteX12" fmla="*/ 40020 w 40019"/>
                  <a:gd name="connsiteY12" fmla="*/ 1111 h 7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19" h="78044">
                    <a:moveTo>
                      <a:pt x="39998" y="13796"/>
                    </a:moveTo>
                    <a:cubicBezTo>
                      <a:pt x="37246" y="11989"/>
                      <a:pt x="33990" y="11123"/>
                      <a:pt x="30700" y="11331"/>
                    </a:cubicBezTo>
                    <a:cubicBezTo>
                      <a:pt x="25339" y="11386"/>
                      <a:pt x="20372" y="14180"/>
                      <a:pt x="17543" y="18737"/>
                    </a:cubicBezTo>
                    <a:cubicBezTo>
                      <a:pt x="13717" y="24762"/>
                      <a:pt x="11875" y="31838"/>
                      <a:pt x="12258" y="38959"/>
                    </a:cubicBezTo>
                    <a:lnTo>
                      <a:pt x="12258" y="78044"/>
                    </a:lnTo>
                    <a:lnTo>
                      <a:pt x="0" y="78044"/>
                    </a:lnTo>
                    <a:lnTo>
                      <a:pt x="0" y="1363"/>
                    </a:lnTo>
                    <a:lnTo>
                      <a:pt x="12291" y="1363"/>
                    </a:lnTo>
                    <a:lnTo>
                      <a:pt x="12291" y="17170"/>
                    </a:lnTo>
                    <a:lnTo>
                      <a:pt x="12598" y="17170"/>
                    </a:lnTo>
                    <a:cubicBezTo>
                      <a:pt x="14013" y="12284"/>
                      <a:pt x="16798" y="7914"/>
                      <a:pt x="20613" y="4551"/>
                    </a:cubicBezTo>
                    <a:cubicBezTo>
                      <a:pt x="23946" y="1626"/>
                      <a:pt x="28233" y="16"/>
                      <a:pt x="32674" y="16"/>
                    </a:cubicBezTo>
                    <a:cubicBezTo>
                      <a:pt x="35174" y="-83"/>
                      <a:pt x="37663" y="289"/>
                      <a:pt x="40020" y="111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 name="Graphic 2" descr="Diagram showing responsibility zones.">
              <a:extLst>
                <a:ext uri="{FF2B5EF4-FFF2-40B4-BE49-F238E27FC236}">
                  <a16:creationId xmlns:a16="http://schemas.microsoft.com/office/drawing/2014/main" id="{0947655E-E0FD-3468-C893-7E6371C8A8C3}"/>
                </a:ext>
              </a:extLst>
            </p:cNvPr>
            <p:cNvGrpSpPr/>
            <p:nvPr/>
          </p:nvGrpSpPr>
          <p:grpSpPr>
            <a:xfrm>
              <a:off x="4663033" y="1521654"/>
              <a:ext cx="1003976" cy="149557"/>
              <a:chOff x="3255156" y="2210988"/>
              <a:chExt cx="1003976" cy="149557"/>
            </a:xfrm>
            <a:solidFill>
              <a:srgbClr val="2F2F2F"/>
            </a:solidFill>
          </p:grpSpPr>
          <p:sp>
            <p:nvSpPr>
              <p:cNvPr id="165" name="Freeform: Shape 164">
                <a:extLst>
                  <a:ext uri="{FF2B5EF4-FFF2-40B4-BE49-F238E27FC236}">
                    <a16:creationId xmlns:a16="http://schemas.microsoft.com/office/drawing/2014/main" id="{317607EA-125F-AC1B-14BE-3A9AB0B8C216}"/>
                  </a:ext>
                </a:extLst>
              </p:cNvPr>
              <p:cNvSpPr/>
              <p:nvPr/>
            </p:nvSpPr>
            <p:spPr>
              <a:xfrm>
                <a:off x="3255156" y="2217156"/>
                <a:ext cx="90171" cy="107353"/>
              </a:xfrm>
              <a:custGeom>
                <a:avLst/>
                <a:gdLst>
                  <a:gd name="connsiteX0" fmla="*/ 90171 w 90171"/>
                  <a:gd name="connsiteY0" fmla="*/ 107354 h 107353"/>
                  <a:gd name="connsiteX1" fmla="*/ 62365 w 90171"/>
                  <a:gd name="connsiteY1" fmla="*/ 107354 h 107353"/>
                  <a:gd name="connsiteX2" fmla="*/ 45645 w 90171"/>
                  <a:gd name="connsiteY2" fmla="*/ 79716 h 107353"/>
                  <a:gd name="connsiteX3" fmla="*/ 42049 w 90171"/>
                  <a:gd name="connsiteY3" fmla="*/ 74107 h 107353"/>
                  <a:gd name="connsiteX4" fmla="*/ 38562 w 90171"/>
                  <a:gd name="connsiteY4" fmla="*/ 69868 h 107353"/>
                  <a:gd name="connsiteX5" fmla="*/ 34889 w 90171"/>
                  <a:gd name="connsiteY5" fmla="*/ 67173 h 107353"/>
                  <a:gd name="connsiteX6" fmla="*/ 30733 w 90171"/>
                  <a:gd name="connsiteY6" fmla="*/ 66242 h 107353"/>
                  <a:gd name="connsiteX7" fmla="*/ 24209 w 90171"/>
                  <a:gd name="connsiteY7" fmla="*/ 66242 h 107353"/>
                  <a:gd name="connsiteX8" fmla="*/ 24209 w 90171"/>
                  <a:gd name="connsiteY8" fmla="*/ 107354 h 107353"/>
                  <a:gd name="connsiteX9" fmla="*/ 0 w 90171"/>
                  <a:gd name="connsiteY9" fmla="*/ 107354 h 107353"/>
                  <a:gd name="connsiteX10" fmla="*/ 0 w 90171"/>
                  <a:gd name="connsiteY10" fmla="*/ 0 h 107353"/>
                  <a:gd name="connsiteX11" fmla="*/ 38375 w 90171"/>
                  <a:gd name="connsiteY11" fmla="*/ 0 h 107353"/>
                  <a:gd name="connsiteX12" fmla="*/ 77507 w 90171"/>
                  <a:gd name="connsiteY12" fmla="*/ 29205 h 107353"/>
                  <a:gd name="connsiteX13" fmla="*/ 75775 w 90171"/>
                  <a:gd name="connsiteY13" fmla="*/ 39579 h 107353"/>
                  <a:gd name="connsiteX14" fmla="*/ 70907 w 90171"/>
                  <a:gd name="connsiteY14" fmla="*/ 48156 h 107353"/>
                  <a:gd name="connsiteX15" fmla="*/ 63298 w 90171"/>
                  <a:gd name="connsiteY15" fmla="*/ 54729 h 107353"/>
                  <a:gd name="connsiteX16" fmla="*/ 53364 w 90171"/>
                  <a:gd name="connsiteY16" fmla="*/ 59110 h 107353"/>
                  <a:gd name="connsiteX17" fmla="*/ 53364 w 90171"/>
                  <a:gd name="connsiteY17" fmla="*/ 59406 h 107353"/>
                  <a:gd name="connsiteX18" fmla="*/ 58013 w 90171"/>
                  <a:gd name="connsiteY18" fmla="*/ 61838 h 107353"/>
                  <a:gd name="connsiteX19" fmla="*/ 62398 w 90171"/>
                  <a:gd name="connsiteY19" fmla="*/ 65771 h 107353"/>
                  <a:gd name="connsiteX20" fmla="*/ 66411 w 90171"/>
                  <a:gd name="connsiteY20" fmla="*/ 70602 h 107353"/>
                  <a:gd name="connsiteX21" fmla="*/ 69887 w 90171"/>
                  <a:gd name="connsiteY21" fmla="*/ 75652 h 107353"/>
                  <a:gd name="connsiteX22" fmla="*/ 24209 w 90171"/>
                  <a:gd name="connsiteY22" fmla="*/ 18064 h 107353"/>
                  <a:gd name="connsiteX23" fmla="*/ 24209 w 90171"/>
                  <a:gd name="connsiteY23" fmla="*/ 47970 h 107353"/>
                  <a:gd name="connsiteX24" fmla="*/ 34702 w 90171"/>
                  <a:gd name="connsiteY24" fmla="*/ 47970 h 107353"/>
                  <a:gd name="connsiteX25" fmla="*/ 47224 w 90171"/>
                  <a:gd name="connsiteY25" fmla="*/ 43478 h 107353"/>
                  <a:gd name="connsiteX26" fmla="*/ 52015 w 90171"/>
                  <a:gd name="connsiteY26" fmla="*/ 32173 h 107353"/>
                  <a:gd name="connsiteX27" fmla="*/ 35152 w 90171"/>
                  <a:gd name="connsiteY27" fmla="*/ 1808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0171" h="107353">
                    <a:moveTo>
                      <a:pt x="90171" y="107354"/>
                    </a:moveTo>
                    <a:lnTo>
                      <a:pt x="62365" y="107354"/>
                    </a:lnTo>
                    <a:lnTo>
                      <a:pt x="45645" y="79716"/>
                    </a:lnTo>
                    <a:cubicBezTo>
                      <a:pt x="44406" y="77623"/>
                      <a:pt x="43200" y="75750"/>
                      <a:pt x="42049" y="74107"/>
                    </a:cubicBezTo>
                    <a:cubicBezTo>
                      <a:pt x="41018" y="72594"/>
                      <a:pt x="39845" y="71176"/>
                      <a:pt x="38562" y="69868"/>
                    </a:cubicBezTo>
                    <a:cubicBezTo>
                      <a:pt x="37498" y="68774"/>
                      <a:pt x="36248" y="67864"/>
                      <a:pt x="34889" y="67173"/>
                    </a:cubicBezTo>
                    <a:cubicBezTo>
                      <a:pt x="33595" y="66545"/>
                      <a:pt x="32170" y="66226"/>
                      <a:pt x="30733" y="66242"/>
                    </a:cubicBezTo>
                    <a:lnTo>
                      <a:pt x="24209" y="66242"/>
                    </a:lnTo>
                    <a:lnTo>
                      <a:pt x="24209" y="107354"/>
                    </a:lnTo>
                    <a:lnTo>
                      <a:pt x="0" y="107354"/>
                    </a:lnTo>
                    <a:lnTo>
                      <a:pt x="0" y="0"/>
                    </a:lnTo>
                    <a:lnTo>
                      <a:pt x="38375" y="0"/>
                    </a:lnTo>
                    <a:cubicBezTo>
                      <a:pt x="64460" y="0"/>
                      <a:pt x="77507" y="9735"/>
                      <a:pt x="77507" y="29205"/>
                    </a:cubicBezTo>
                    <a:cubicBezTo>
                      <a:pt x="77540" y="32737"/>
                      <a:pt x="76959" y="36248"/>
                      <a:pt x="75775" y="39579"/>
                    </a:cubicBezTo>
                    <a:cubicBezTo>
                      <a:pt x="74657" y="42694"/>
                      <a:pt x="73001" y="45595"/>
                      <a:pt x="70907" y="48156"/>
                    </a:cubicBezTo>
                    <a:cubicBezTo>
                      <a:pt x="68747" y="50749"/>
                      <a:pt x="66181" y="52969"/>
                      <a:pt x="63298" y="54729"/>
                    </a:cubicBezTo>
                    <a:cubicBezTo>
                      <a:pt x="60205" y="56643"/>
                      <a:pt x="56861" y="58118"/>
                      <a:pt x="53364" y="59110"/>
                    </a:cubicBezTo>
                    <a:lnTo>
                      <a:pt x="53364" y="59406"/>
                    </a:lnTo>
                    <a:cubicBezTo>
                      <a:pt x="55041" y="59943"/>
                      <a:pt x="56620" y="60766"/>
                      <a:pt x="58013" y="61838"/>
                    </a:cubicBezTo>
                    <a:cubicBezTo>
                      <a:pt x="59591" y="63018"/>
                      <a:pt x="61050" y="64333"/>
                      <a:pt x="62398" y="65771"/>
                    </a:cubicBezTo>
                    <a:cubicBezTo>
                      <a:pt x="63824" y="67309"/>
                      <a:pt x="65161" y="68921"/>
                      <a:pt x="66411" y="70602"/>
                    </a:cubicBezTo>
                    <a:cubicBezTo>
                      <a:pt x="67683" y="72318"/>
                      <a:pt x="68845" y="74001"/>
                      <a:pt x="69887" y="75652"/>
                    </a:cubicBezTo>
                    <a:close/>
                    <a:moveTo>
                      <a:pt x="24209" y="18064"/>
                    </a:moveTo>
                    <a:lnTo>
                      <a:pt x="24209" y="47970"/>
                    </a:lnTo>
                    <a:lnTo>
                      <a:pt x="34702" y="47970"/>
                    </a:lnTo>
                    <a:cubicBezTo>
                      <a:pt x="39307" y="48187"/>
                      <a:pt x="43814" y="46571"/>
                      <a:pt x="47224" y="43478"/>
                    </a:cubicBezTo>
                    <a:cubicBezTo>
                      <a:pt x="50359" y="40564"/>
                      <a:pt x="52103" y="36452"/>
                      <a:pt x="52015" y="32173"/>
                    </a:cubicBezTo>
                    <a:cubicBezTo>
                      <a:pt x="52015" y="22789"/>
                      <a:pt x="46390" y="18094"/>
                      <a:pt x="35152" y="1808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6" name="Freeform: Shape 165">
                <a:extLst>
                  <a:ext uri="{FF2B5EF4-FFF2-40B4-BE49-F238E27FC236}">
                    <a16:creationId xmlns:a16="http://schemas.microsoft.com/office/drawing/2014/main" id="{5B8894E7-8CDF-33AD-D9A7-7CFC7F92B202}"/>
                  </a:ext>
                </a:extLst>
              </p:cNvPr>
              <p:cNvSpPr/>
              <p:nvPr/>
            </p:nvSpPr>
            <p:spPr>
              <a:xfrm>
                <a:off x="3346417" y="2245870"/>
                <a:ext cx="73755" cy="80671"/>
              </a:xfrm>
              <a:custGeom>
                <a:avLst/>
                <a:gdLst>
                  <a:gd name="connsiteX0" fmla="*/ 73666 w 73755"/>
                  <a:gd name="connsiteY0" fmla="*/ 47035 h 80671"/>
                  <a:gd name="connsiteX1" fmla="*/ 23635 w 73755"/>
                  <a:gd name="connsiteY1" fmla="*/ 47035 h 80671"/>
                  <a:gd name="connsiteX2" fmla="*/ 44698 w 73755"/>
                  <a:gd name="connsiteY2" fmla="*/ 63730 h 80671"/>
                  <a:gd name="connsiteX3" fmla="*/ 66955 w 73755"/>
                  <a:gd name="connsiteY3" fmla="*/ 57749 h 80671"/>
                  <a:gd name="connsiteX4" fmla="*/ 66955 w 73755"/>
                  <a:gd name="connsiteY4" fmla="*/ 74794 h 80671"/>
                  <a:gd name="connsiteX5" fmla="*/ 39303 w 73755"/>
                  <a:gd name="connsiteY5" fmla="*/ 80490 h 80671"/>
                  <a:gd name="connsiteX6" fmla="*/ 182 w 73755"/>
                  <a:gd name="connsiteY6" fmla="*/ 48536 h 80671"/>
                  <a:gd name="connsiteX7" fmla="*/ 171 w 73755"/>
                  <a:gd name="connsiteY7" fmla="*/ 41471 h 80671"/>
                  <a:gd name="connsiteX8" fmla="*/ 11267 w 73755"/>
                  <a:gd name="connsiteY8" fmla="*/ 11214 h 80671"/>
                  <a:gd name="connsiteX9" fmla="*/ 38547 w 73755"/>
                  <a:gd name="connsiteY9" fmla="*/ 63 h 80671"/>
                  <a:gd name="connsiteX10" fmla="*/ 64521 w 73755"/>
                  <a:gd name="connsiteY10" fmla="*/ 10020 h 80671"/>
                  <a:gd name="connsiteX11" fmla="*/ 73698 w 73755"/>
                  <a:gd name="connsiteY11" fmla="*/ 37056 h 80671"/>
                  <a:gd name="connsiteX12" fmla="*/ 51737 w 73755"/>
                  <a:gd name="connsiteY12" fmla="*/ 32510 h 80671"/>
                  <a:gd name="connsiteX13" fmla="*/ 38404 w 73755"/>
                  <a:gd name="connsiteY13" fmla="*/ 16078 h 80671"/>
                  <a:gd name="connsiteX14" fmla="*/ 28536 w 73755"/>
                  <a:gd name="connsiteY14" fmla="*/ 20799 h 80671"/>
                  <a:gd name="connsiteX15" fmla="*/ 23471 w 73755"/>
                  <a:gd name="connsiteY15" fmla="*/ 32554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71">
                    <a:moveTo>
                      <a:pt x="73666" y="47035"/>
                    </a:moveTo>
                    <a:lnTo>
                      <a:pt x="23635" y="47035"/>
                    </a:lnTo>
                    <a:cubicBezTo>
                      <a:pt x="24435" y="58165"/>
                      <a:pt x="31453" y="63730"/>
                      <a:pt x="44698" y="63730"/>
                    </a:cubicBezTo>
                    <a:cubicBezTo>
                      <a:pt x="52537" y="63895"/>
                      <a:pt x="60256" y="61821"/>
                      <a:pt x="66955" y="57749"/>
                    </a:cubicBezTo>
                    <a:lnTo>
                      <a:pt x="66955" y="74794"/>
                    </a:lnTo>
                    <a:cubicBezTo>
                      <a:pt x="58337" y="78920"/>
                      <a:pt x="48853" y="80875"/>
                      <a:pt x="39303" y="80490"/>
                    </a:cubicBezTo>
                    <a:cubicBezTo>
                      <a:pt x="19666" y="82461"/>
                      <a:pt x="2145" y="68155"/>
                      <a:pt x="182" y="48536"/>
                    </a:cubicBezTo>
                    <a:cubicBezTo>
                      <a:pt x="-59" y="46186"/>
                      <a:pt x="-59" y="43820"/>
                      <a:pt x="171" y="41471"/>
                    </a:cubicBezTo>
                    <a:cubicBezTo>
                      <a:pt x="-410" y="30296"/>
                      <a:pt x="3603" y="19370"/>
                      <a:pt x="11267" y="11214"/>
                    </a:cubicBezTo>
                    <a:cubicBezTo>
                      <a:pt x="18416" y="3877"/>
                      <a:pt x="28295" y="-163"/>
                      <a:pt x="38547" y="63"/>
                    </a:cubicBezTo>
                    <a:cubicBezTo>
                      <a:pt x="48239" y="-530"/>
                      <a:pt x="57712" y="3101"/>
                      <a:pt x="64521" y="10020"/>
                    </a:cubicBezTo>
                    <a:cubicBezTo>
                      <a:pt x="70946" y="17516"/>
                      <a:pt x="74236" y="27200"/>
                      <a:pt x="73698" y="37056"/>
                    </a:cubicBezTo>
                    <a:close/>
                    <a:moveTo>
                      <a:pt x="51737" y="32510"/>
                    </a:moveTo>
                    <a:cubicBezTo>
                      <a:pt x="51737" y="21555"/>
                      <a:pt x="47296" y="16078"/>
                      <a:pt x="38404" y="16078"/>
                    </a:cubicBezTo>
                    <a:cubicBezTo>
                      <a:pt x="34567" y="16089"/>
                      <a:pt x="30948" y="17823"/>
                      <a:pt x="28536" y="20799"/>
                    </a:cubicBezTo>
                    <a:cubicBezTo>
                      <a:pt x="25685" y="24111"/>
                      <a:pt x="23920" y="28211"/>
                      <a:pt x="23471" y="3255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7" name="Freeform: Shape 166">
                <a:extLst>
                  <a:ext uri="{FF2B5EF4-FFF2-40B4-BE49-F238E27FC236}">
                    <a16:creationId xmlns:a16="http://schemas.microsoft.com/office/drawing/2014/main" id="{7B71A2DE-8A74-69F9-8EB9-BA61C28BC255}"/>
                  </a:ext>
                </a:extLst>
              </p:cNvPr>
              <p:cNvSpPr/>
              <p:nvPr/>
            </p:nvSpPr>
            <p:spPr>
              <a:xfrm>
                <a:off x="3430832" y="2245922"/>
                <a:ext cx="58931" cy="80399"/>
              </a:xfrm>
              <a:custGeom>
                <a:avLst/>
                <a:gdLst>
                  <a:gd name="connsiteX0" fmla="*/ 84 w 58931"/>
                  <a:gd name="connsiteY0" fmla="*/ 76561 h 80399"/>
                  <a:gd name="connsiteX1" fmla="*/ 84 w 58931"/>
                  <a:gd name="connsiteY1" fmla="*/ 57391 h 80399"/>
                  <a:gd name="connsiteX2" fmla="*/ 11739 w 58931"/>
                  <a:gd name="connsiteY2" fmla="*/ 62638 h 80399"/>
                  <a:gd name="connsiteX3" fmla="*/ 22703 w 58931"/>
                  <a:gd name="connsiteY3" fmla="*/ 64358 h 80399"/>
                  <a:gd name="connsiteX4" fmla="*/ 32571 w 58931"/>
                  <a:gd name="connsiteY4" fmla="*/ 62638 h 80399"/>
                  <a:gd name="connsiteX5" fmla="*/ 36211 w 58931"/>
                  <a:gd name="connsiteY5" fmla="*/ 57391 h 80399"/>
                  <a:gd name="connsiteX6" fmla="*/ 34556 w 58931"/>
                  <a:gd name="connsiteY6" fmla="*/ 53644 h 80399"/>
                  <a:gd name="connsiteX7" fmla="*/ 30323 w 58931"/>
                  <a:gd name="connsiteY7" fmla="*/ 51026 h 80399"/>
                  <a:gd name="connsiteX8" fmla="*/ 24666 w 58931"/>
                  <a:gd name="connsiteY8" fmla="*/ 49011 h 80399"/>
                  <a:gd name="connsiteX9" fmla="*/ 18745 w 58931"/>
                  <a:gd name="connsiteY9" fmla="*/ 46984 h 80399"/>
                  <a:gd name="connsiteX10" fmla="*/ 10686 w 58931"/>
                  <a:gd name="connsiteY10" fmla="*/ 43281 h 80399"/>
                  <a:gd name="connsiteX11" fmla="*/ 4842 w 58931"/>
                  <a:gd name="connsiteY11" fmla="*/ 38670 h 80399"/>
                  <a:gd name="connsiteX12" fmla="*/ 1246 w 58931"/>
                  <a:gd name="connsiteY12" fmla="*/ 32612 h 80399"/>
                  <a:gd name="connsiteX13" fmla="*/ 7 w 58931"/>
                  <a:gd name="connsiteY13" fmla="*/ 24440 h 80399"/>
                  <a:gd name="connsiteX14" fmla="*/ 2814 w 58931"/>
                  <a:gd name="connsiteY14" fmla="*/ 13365 h 80399"/>
                  <a:gd name="connsiteX15" fmla="*/ 10313 w 58931"/>
                  <a:gd name="connsiteY15" fmla="*/ 5762 h 80399"/>
                  <a:gd name="connsiteX16" fmla="*/ 21037 w 58931"/>
                  <a:gd name="connsiteY16" fmla="*/ 1381 h 80399"/>
                  <a:gd name="connsiteX17" fmla="*/ 33591 w 58931"/>
                  <a:gd name="connsiteY17" fmla="*/ 0 h 80399"/>
                  <a:gd name="connsiteX18" fmla="*/ 43930 w 58931"/>
                  <a:gd name="connsiteY18" fmla="*/ 789 h 80399"/>
                  <a:gd name="connsiteX19" fmla="*/ 54270 w 58931"/>
                  <a:gd name="connsiteY19" fmla="*/ 3068 h 80399"/>
                  <a:gd name="connsiteX20" fmla="*/ 54270 w 58931"/>
                  <a:gd name="connsiteY20" fmla="*/ 21340 h 80399"/>
                  <a:gd name="connsiteX21" fmla="*/ 44643 w 58931"/>
                  <a:gd name="connsiteY21" fmla="*/ 17407 h 80399"/>
                  <a:gd name="connsiteX22" fmla="*/ 34556 w 58931"/>
                  <a:gd name="connsiteY22" fmla="*/ 16103 h 80399"/>
                  <a:gd name="connsiteX23" fmla="*/ 30170 w 58931"/>
                  <a:gd name="connsiteY23" fmla="*/ 16509 h 80399"/>
                  <a:gd name="connsiteX24" fmla="*/ 26530 w 58931"/>
                  <a:gd name="connsiteY24" fmla="*/ 17714 h 80399"/>
                  <a:gd name="connsiteX25" fmla="*/ 24052 w 58931"/>
                  <a:gd name="connsiteY25" fmla="*/ 19729 h 80399"/>
                  <a:gd name="connsiteX26" fmla="*/ 23153 w 58931"/>
                  <a:gd name="connsiteY26" fmla="*/ 22545 h 80399"/>
                  <a:gd name="connsiteX27" fmla="*/ 24501 w 58931"/>
                  <a:gd name="connsiteY27" fmla="*/ 26138 h 80399"/>
                  <a:gd name="connsiteX28" fmla="*/ 28032 w 58931"/>
                  <a:gd name="connsiteY28" fmla="*/ 28723 h 80399"/>
                  <a:gd name="connsiteX29" fmla="*/ 32867 w 58931"/>
                  <a:gd name="connsiteY29" fmla="*/ 30662 h 80399"/>
                  <a:gd name="connsiteX30" fmla="*/ 38152 w 58931"/>
                  <a:gd name="connsiteY30" fmla="*/ 32426 h 80399"/>
                  <a:gd name="connsiteX31" fmla="*/ 46693 w 58931"/>
                  <a:gd name="connsiteY31" fmla="*/ 36019 h 80399"/>
                  <a:gd name="connsiteX32" fmla="*/ 53272 w 58931"/>
                  <a:gd name="connsiteY32" fmla="*/ 40587 h 80399"/>
                  <a:gd name="connsiteX33" fmla="*/ 57471 w 58931"/>
                  <a:gd name="connsiteY33" fmla="*/ 46732 h 80399"/>
                  <a:gd name="connsiteX34" fmla="*/ 55969 w 58931"/>
                  <a:gd name="connsiteY34" fmla="*/ 66757 h 80399"/>
                  <a:gd name="connsiteX35" fmla="*/ 48097 w 58931"/>
                  <a:gd name="connsiteY35" fmla="*/ 74622 h 80399"/>
                  <a:gd name="connsiteX36" fmla="*/ 36781 w 58931"/>
                  <a:gd name="connsiteY36" fmla="*/ 79004 h 80399"/>
                  <a:gd name="connsiteX37" fmla="*/ 23482 w 58931"/>
                  <a:gd name="connsiteY37" fmla="*/ 80395 h 80399"/>
                  <a:gd name="connsiteX38" fmla="*/ 84 w 58931"/>
                  <a:gd name="connsiteY38" fmla="*/ 76561 h 8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31" h="80399">
                    <a:moveTo>
                      <a:pt x="84" y="76561"/>
                    </a:moveTo>
                    <a:lnTo>
                      <a:pt x="84" y="57391"/>
                    </a:lnTo>
                    <a:cubicBezTo>
                      <a:pt x="3735" y="59628"/>
                      <a:pt x="7649" y="61391"/>
                      <a:pt x="11739" y="62638"/>
                    </a:cubicBezTo>
                    <a:cubicBezTo>
                      <a:pt x="15291" y="63737"/>
                      <a:pt x="18986" y="64316"/>
                      <a:pt x="22703" y="64358"/>
                    </a:cubicBezTo>
                    <a:cubicBezTo>
                      <a:pt x="26080" y="64499"/>
                      <a:pt x="29446" y="63913"/>
                      <a:pt x="32571" y="62638"/>
                    </a:cubicBezTo>
                    <a:cubicBezTo>
                      <a:pt x="34764" y="61827"/>
                      <a:pt x="36222" y="59731"/>
                      <a:pt x="36211" y="57391"/>
                    </a:cubicBezTo>
                    <a:cubicBezTo>
                      <a:pt x="36233" y="55959"/>
                      <a:pt x="35630" y="54589"/>
                      <a:pt x="34556" y="53644"/>
                    </a:cubicBezTo>
                    <a:cubicBezTo>
                      <a:pt x="33295" y="52550"/>
                      <a:pt x="31869" y="51666"/>
                      <a:pt x="30323" y="51026"/>
                    </a:cubicBezTo>
                    <a:cubicBezTo>
                      <a:pt x="28481" y="50235"/>
                      <a:pt x="26595" y="49562"/>
                      <a:pt x="24666" y="49011"/>
                    </a:cubicBezTo>
                    <a:cubicBezTo>
                      <a:pt x="22615" y="48411"/>
                      <a:pt x="20642" y="47737"/>
                      <a:pt x="18745" y="46984"/>
                    </a:cubicBezTo>
                    <a:cubicBezTo>
                      <a:pt x="15971" y="45958"/>
                      <a:pt x="13274" y="44720"/>
                      <a:pt x="10686" y="43281"/>
                    </a:cubicBezTo>
                    <a:cubicBezTo>
                      <a:pt x="8504" y="42068"/>
                      <a:pt x="6531" y="40510"/>
                      <a:pt x="4842" y="38670"/>
                    </a:cubicBezTo>
                    <a:cubicBezTo>
                      <a:pt x="3252" y="36907"/>
                      <a:pt x="2035" y="34849"/>
                      <a:pt x="1246" y="32612"/>
                    </a:cubicBezTo>
                    <a:cubicBezTo>
                      <a:pt x="369" y="29978"/>
                      <a:pt x="-48" y="27215"/>
                      <a:pt x="7" y="24440"/>
                    </a:cubicBezTo>
                    <a:cubicBezTo>
                      <a:pt x="-92" y="20560"/>
                      <a:pt x="873" y="16728"/>
                      <a:pt x="2814" y="13365"/>
                    </a:cubicBezTo>
                    <a:cubicBezTo>
                      <a:pt x="4678" y="10276"/>
                      <a:pt x="7254" y="7671"/>
                      <a:pt x="10313" y="5762"/>
                    </a:cubicBezTo>
                    <a:cubicBezTo>
                      <a:pt x="13614" y="3708"/>
                      <a:pt x="17243" y="2226"/>
                      <a:pt x="21037" y="1381"/>
                    </a:cubicBezTo>
                    <a:cubicBezTo>
                      <a:pt x="25159" y="448"/>
                      <a:pt x="29369" y="-14"/>
                      <a:pt x="33591" y="0"/>
                    </a:cubicBezTo>
                    <a:cubicBezTo>
                      <a:pt x="37056" y="5"/>
                      <a:pt x="40509" y="269"/>
                      <a:pt x="43930" y="789"/>
                    </a:cubicBezTo>
                    <a:cubicBezTo>
                      <a:pt x="47428" y="1313"/>
                      <a:pt x="50882" y="2074"/>
                      <a:pt x="54270" y="3068"/>
                    </a:cubicBezTo>
                    <a:lnTo>
                      <a:pt x="54270" y="21340"/>
                    </a:lnTo>
                    <a:cubicBezTo>
                      <a:pt x="51254" y="19589"/>
                      <a:pt x="48020" y="18266"/>
                      <a:pt x="44643" y="17407"/>
                    </a:cubicBezTo>
                    <a:cubicBezTo>
                      <a:pt x="41343" y="16556"/>
                      <a:pt x="37955" y="16119"/>
                      <a:pt x="34556" y="16103"/>
                    </a:cubicBezTo>
                    <a:cubicBezTo>
                      <a:pt x="33086" y="16094"/>
                      <a:pt x="31617" y="16229"/>
                      <a:pt x="30170" y="16509"/>
                    </a:cubicBezTo>
                    <a:cubicBezTo>
                      <a:pt x="28909" y="16745"/>
                      <a:pt x="27681" y="17151"/>
                      <a:pt x="26530" y="17714"/>
                    </a:cubicBezTo>
                    <a:cubicBezTo>
                      <a:pt x="25554" y="18172"/>
                      <a:pt x="24699" y="18864"/>
                      <a:pt x="24052" y="19729"/>
                    </a:cubicBezTo>
                    <a:cubicBezTo>
                      <a:pt x="23460" y="20548"/>
                      <a:pt x="23142" y="21535"/>
                      <a:pt x="23153" y="22545"/>
                    </a:cubicBezTo>
                    <a:cubicBezTo>
                      <a:pt x="23131" y="23870"/>
                      <a:pt x="23613" y="25155"/>
                      <a:pt x="24501" y="26138"/>
                    </a:cubicBezTo>
                    <a:cubicBezTo>
                      <a:pt x="25499" y="27215"/>
                      <a:pt x="26705" y="28092"/>
                      <a:pt x="28032" y="28723"/>
                    </a:cubicBezTo>
                    <a:cubicBezTo>
                      <a:pt x="29589" y="29486"/>
                      <a:pt x="31211" y="30135"/>
                      <a:pt x="32867" y="30662"/>
                    </a:cubicBezTo>
                    <a:cubicBezTo>
                      <a:pt x="34632" y="31232"/>
                      <a:pt x="36398" y="31820"/>
                      <a:pt x="38152" y="32426"/>
                    </a:cubicBezTo>
                    <a:cubicBezTo>
                      <a:pt x="41079" y="33428"/>
                      <a:pt x="43930" y="34627"/>
                      <a:pt x="46693" y="36019"/>
                    </a:cubicBezTo>
                    <a:cubicBezTo>
                      <a:pt x="49094" y="37210"/>
                      <a:pt x="51320" y="38750"/>
                      <a:pt x="53272" y="40587"/>
                    </a:cubicBezTo>
                    <a:cubicBezTo>
                      <a:pt x="55092" y="42317"/>
                      <a:pt x="56517" y="44412"/>
                      <a:pt x="57471" y="46732"/>
                    </a:cubicBezTo>
                    <a:cubicBezTo>
                      <a:pt x="59850" y="53316"/>
                      <a:pt x="59302" y="60600"/>
                      <a:pt x="55969" y="66757"/>
                    </a:cubicBezTo>
                    <a:cubicBezTo>
                      <a:pt x="54006" y="69965"/>
                      <a:pt x="51309" y="72662"/>
                      <a:pt x="48097" y="74622"/>
                    </a:cubicBezTo>
                    <a:cubicBezTo>
                      <a:pt x="44610" y="76723"/>
                      <a:pt x="40772" y="78205"/>
                      <a:pt x="36781" y="79004"/>
                    </a:cubicBezTo>
                    <a:cubicBezTo>
                      <a:pt x="32407" y="79944"/>
                      <a:pt x="27955" y="80409"/>
                      <a:pt x="23482" y="80395"/>
                    </a:cubicBezTo>
                    <a:cubicBezTo>
                      <a:pt x="15521" y="80484"/>
                      <a:pt x="7605" y="79186"/>
                      <a:pt x="84"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8" name="Freeform: Shape 167">
                <a:extLst>
                  <a:ext uri="{FF2B5EF4-FFF2-40B4-BE49-F238E27FC236}">
                    <a16:creationId xmlns:a16="http://schemas.microsoft.com/office/drawing/2014/main" id="{B5B76810-3273-5081-8291-25A8F14459A4}"/>
                  </a:ext>
                </a:extLst>
              </p:cNvPr>
              <p:cNvSpPr/>
              <p:nvPr/>
            </p:nvSpPr>
            <p:spPr>
              <a:xfrm>
                <a:off x="3504114" y="2245908"/>
                <a:ext cx="79900" cy="113875"/>
              </a:xfrm>
              <a:custGeom>
                <a:avLst/>
                <a:gdLst>
                  <a:gd name="connsiteX0" fmla="*/ 23990 w 79900"/>
                  <a:gd name="connsiteY0" fmla="*/ 69685 h 113875"/>
                  <a:gd name="connsiteX1" fmla="*/ 23683 w 79900"/>
                  <a:gd name="connsiteY1" fmla="*/ 69685 h 113875"/>
                  <a:gd name="connsiteX2" fmla="*/ 23683 w 79900"/>
                  <a:gd name="connsiteY2" fmla="*/ 113875 h 113875"/>
                  <a:gd name="connsiteX3" fmla="*/ 0 w 79900"/>
                  <a:gd name="connsiteY3" fmla="*/ 113875 h 113875"/>
                  <a:gd name="connsiteX4" fmla="*/ 0 w 79900"/>
                  <a:gd name="connsiteY4" fmla="*/ 1920 h 113875"/>
                  <a:gd name="connsiteX5" fmla="*/ 23683 w 79900"/>
                  <a:gd name="connsiteY5" fmla="*/ 1920 h 113875"/>
                  <a:gd name="connsiteX6" fmla="*/ 23683 w 79900"/>
                  <a:gd name="connsiteY6" fmla="*/ 13412 h 113875"/>
                  <a:gd name="connsiteX7" fmla="*/ 23990 w 79900"/>
                  <a:gd name="connsiteY7" fmla="*/ 13412 h 113875"/>
                  <a:gd name="connsiteX8" fmla="*/ 65775 w 79900"/>
                  <a:gd name="connsiteY8" fmla="*/ 5057 h 113875"/>
                  <a:gd name="connsiteX9" fmla="*/ 71685 w 79900"/>
                  <a:gd name="connsiteY9" fmla="*/ 10224 h 113875"/>
                  <a:gd name="connsiteX10" fmla="*/ 79832 w 79900"/>
                  <a:gd name="connsiteY10" fmla="*/ 38048 h 113875"/>
                  <a:gd name="connsiteX11" fmla="*/ 70336 w 79900"/>
                  <a:gd name="connsiteY11" fmla="*/ 68819 h 113875"/>
                  <a:gd name="connsiteX12" fmla="*/ 45118 w 79900"/>
                  <a:gd name="connsiteY12" fmla="*/ 80431 h 113875"/>
                  <a:gd name="connsiteX13" fmla="*/ 23990 w 79900"/>
                  <a:gd name="connsiteY13" fmla="*/ 69685 h 113875"/>
                  <a:gd name="connsiteX14" fmla="*/ 23310 w 79900"/>
                  <a:gd name="connsiteY14" fmla="*/ 38235 h 113875"/>
                  <a:gd name="connsiteX15" fmla="*/ 23310 w 79900"/>
                  <a:gd name="connsiteY15" fmla="*/ 44380 h 113875"/>
                  <a:gd name="connsiteX16" fmla="*/ 27510 w 79900"/>
                  <a:gd name="connsiteY16" fmla="*/ 57328 h 113875"/>
                  <a:gd name="connsiteX17" fmla="*/ 38529 w 79900"/>
                  <a:gd name="connsiteY17" fmla="*/ 62345 h 113875"/>
                  <a:gd name="connsiteX18" fmla="*/ 51083 w 79900"/>
                  <a:gd name="connsiteY18" fmla="*/ 56101 h 113875"/>
                  <a:gd name="connsiteX19" fmla="*/ 55546 w 79900"/>
                  <a:gd name="connsiteY19" fmla="*/ 38388 h 113875"/>
                  <a:gd name="connsiteX20" fmla="*/ 39801 w 79900"/>
                  <a:gd name="connsiteY20" fmla="*/ 18166 h 113875"/>
                  <a:gd name="connsiteX21" fmla="*/ 27926 w 79900"/>
                  <a:gd name="connsiteY21" fmla="*/ 23643 h 113875"/>
                  <a:gd name="connsiteX22" fmla="*/ 23310 w 79900"/>
                  <a:gd name="connsiteY22" fmla="*/ 38235 h 11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900" h="113875">
                    <a:moveTo>
                      <a:pt x="23990" y="69685"/>
                    </a:moveTo>
                    <a:lnTo>
                      <a:pt x="23683" y="69685"/>
                    </a:lnTo>
                    <a:lnTo>
                      <a:pt x="23683" y="113875"/>
                    </a:lnTo>
                    <a:lnTo>
                      <a:pt x="0" y="113875"/>
                    </a:lnTo>
                    <a:lnTo>
                      <a:pt x="0" y="1920"/>
                    </a:lnTo>
                    <a:lnTo>
                      <a:pt x="23683" y="1920"/>
                    </a:lnTo>
                    <a:lnTo>
                      <a:pt x="23683" y="13412"/>
                    </a:lnTo>
                    <a:lnTo>
                      <a:pt x="23990" y="13412"/>
                    </a:lnTo>
                    <a:cubicBezTo>
                      <a:pt x="33222" y="-423"/>
                      <a:pt x="51927" y="-4164"/>
                      <a:pt x="65775" y="5057"/>
                    </a:cubicBezTo>
                    <a:cubicBezTo>
                      <a:pt x="67957" y="6514"/>
                      <a:pt x="69953" y="8251"/>
                      <a:pt x="71685" y="10224"/>
                    </a:cubicBezTo>
                    <a:cubicBezTo>
                      <a:pt x="77507" y="18293"/>
                      <a:pt x="80391" y="28115"/>
                      <a:pt x="79832" y="38048"/>
                    </a:cubicBezTo>
                    <a:cubicBezTo>
                      <a:pt x="80380" y="49101"/>
                      <a:pt x="77025" y="59996"/>
                      <a:pt x="70336" y="68819"/>
                    </a:cubicBezTo>
                    <a:cubicBezTo>
                      <a:pt x="64251" y="76462"/>
                      <a:pt x="54888" y="80771"/>
                      <a:pt x="45118" y="80431"/>
                    </a:cubicBezTo>
                    <a:cubicBezTo>
                      <a:pt x="36665" y="80842"/>
                      <a:pt x="28628" y="76754"/>
                      <a:pt x="23990" y="69685"/>
                    </a:cubicBezTo>
                    <a:close/>
                    <a:moveTo>
                      <a:pt x="23310" y="38235"/>
                    </a:moveTo>
                    <a:lnTo>
                      <a:pt x="23310" y="44380"/>
                    </a:lnTo>
                    <a:cubicBezTo>
                      <a:pt x="23113" y="49060"/>
                      <a:pt x="24604" y="53656"/>
                      <a:pt x="27510" y="57328"/>
                    </a:cubicBezTo>
                    <a:cubicBezTo>
                      <a:pt x="30196" y="60625"/>
                      <a:pt x="34275" y="62481"/>
                      <a:pt x="38529" y="62345"/>
                    </a:cubicBezTo>
                    <a:cubicBezTo>
                      <a:pt x="43507" y="62553"/>
                      <a:pt x="48243" y="60196"/>
                      <a:pt x="51083" y="56101"/>
                    </a:cubicBezTo>
                    <a:cubicBezTo>
                      <a:pt x="54361" y="50798"/>
                      <a:pt x="55918" y="44611"/>
                      <a:pt x="55546" y="38388"/>
                    </a:cubicBezTo>
                    <a:cubicBezTo>
                      <a:pt x="55546" y="24900"/>
                      <a:pt x="50294" y="18158"/>
                      <a:pt x="39801" y="18166"/>
                    </a:cubicBezTo>
                    <a:cubicBezTo>
                      <a:pt x="35207" y="18045"/>
                      <a:pt x="30821" y="20071"/>
                      <a:pt x="27926" y="23643"/>
                    </a:cubicBezTo>
                    <a:cubicBezTo>
                      <a:pt x="24681" y="27795"/>
                      <a:pt x="23047" y="32974"/>
                      <a:pt x="23310" y="3823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9" name="Freeform: Shape 168">
                <a:extLst>
                  <a:ext uri="{FF2B5EF4-FFF2-40B4-BE49-F238E27FC236}">
                    <a16:creationId xmlns:a16="http://schemas.microsoft.com/office/drawing/2014/main" id="{D8BCFB49-0AFC-7F86-F267-16D3A3EFE2B1}"/>
                  </a:ext>
                </a:extLst>
              </p:cNvPr>
              <p:cNvSpPr/>
              <p:nvPr/>
            </p:nvSpPr>
            <p:spPr>
              <a:xfrm>
                <a:off x="3595188" y="2245889"/>
                <a:ext cx="83162" cy="80558"/>
              </a:xfrm>
              <a:custGeom>
                <a:avLst/>
                <a:gdLst>
                  <a:gd name="connsiteX0" fmla="*/ 41200 w 83162"/>
                  <a:gd name="connsiteY0" fmla="*/ 80494 h 80558"/>
                  <a:gd name="connsiteX1" fmla="*/ 11026 w 83162"/>
                  <a:gd name="connsiteY1" fmla="*/ 69747 h 80558"/>
                  <a:gd name="connsiteX2" fmla="*/ 62 w 83162"/>
                  <a:gd name="connsiteY2" fmla="*/ 40576 h 80558"/>
                  <a:gd name="connsiteX3" fmla="*/ 11454 w 83162"/>
                  <a:gd name="connsiteY3" fmla="*/ 10812 h 80558"/>
                  <a:gd name="connsiteX4" fmla="*/ 42264 w 83162"/>
                  <a:gd name="connsiteY4" fmla="*/ 66 h 80558"/>
                  <a:gd name="connsiteX5" fmla="*/ 72240 w 83162"/>
                  <a:gd name="connsiteY5" fmla="*/ 10812 h 80558"/>
                  <a:gd name="connsiteX6" fmla="*/ 83106 w 83162"/>
                  <a:gd name="connsiteY6" fmla="*/ 39228 h 80558"/>
                  <a:gd name="connsiteX7" fmla="*/ 71900 w 83162"/>
                  <a:gd name="connsiteY7" fmla="*/ 69408 h 80558"/>
                  <a:gd name="connsiteX8" fmla="*/ 41200 w 83162"/>
                  <a:gd name="connsiteY8" fmla="*/ 80494 h 80558"/>
                  <a:gd name="connsiteX9" fmla="*/ 41803 w 83162"/>
                  <a:gd name="connsiteY9" fmla="*/ 18185 h 80558"/>
                  <a:gd name="connsiteX10" fmla="*/ 28756 w 83162"/>
                  <a:gd name="connsiteY10" fmla="*/ 23958 h 80558"/>
                  <a:gd name="connsiteX11" fmla="*/ 24107 w 83162"/>
                  <a:gd name="connsiteY11" fmla="*/ 40280 h 80558"/>
                  <a:gd name="connsiteX12" fmla="*/ 41946 w 83162"/>
                  <a:gd name="connsiteY12" fmla="*/ 62364 h 80558"/>
                  <a:gd name="connsiteX13" fmla="*/ 58962 w 83162"/>
                  <a:gd name="connsiteY13" fmla="*/ 39677 h 80558"/>
                  <a:gd name="connsiteX14" fmla="*/ 41803 w 83162"/>
                  <a:gd name="connsiteY14" fmla="*/ 18185 h 8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162" h="80558">
                    <a:moveTo>
                      <a:pt x="41200" y="80494"/>
                    </a:moveTo>
                    <a:cubicBezTo>
                      <a:pt x="30104" y="81117"/>
                      <a:pt x="19227" y="77243"/>
                      <a:pt x="11026" y="69747"/>
                    </a:cubicBezTo>
                    <a:cubicBezTo>
                      <a:pt x="3472" y="61969"/>
                      <a:pt x="-497" y="51400"/>
                      <a:pt x="62" y="40576"/>
                    </a:cubicBezTo>
                    <a:cubicBezTo>
                      <a:pt x="-563" y="29485"/>
                      <a:pt x="3581" y="18656"/>
                      <a:pt x="11454" y="10812"/>
                    </a:cubicBezTo>
                    <a:cubicBezTo>
                      <a:pt x="19918" y="3328"/>
                      <a:pt x="30981" y="-532"/>
                      <a:pt x="42264" y="66"/>
                    </a:cubicBezTo>
                    <a:cubicBezTo>
                      <a:pt x="53305" y="-563"/>
                      <a:pt x="64116" y="3316"/>
                      <a:pt x="72240" y="10812"/>
                    </a:cubicBezTo>
                    <a:cubicBezTo>
                      <a:pt x="79641" y="18374"/>
                      <a:pt x="83578" y="28663"/>
                      <a:pt x="83106" y="39228"/>
                    </a:cubicBezTo>
                    <a:cubicBezTo>
                      <a:pt x="83698" y="50402"/>
                      <a:pt x="79641" y="61325"/>
                      <a:pt x="71900" y="69408"/>
                    </a:cubicBezTo>
                    <a:cubicBezTo>
                      <a:pt x="63600" y="77113"/>
                      <a:pt x="52515" y="81115"/>
                      <a:pt x="41200" y="80494"/>
                    </a:cubicBezTo>
                    <a:close/>
                    <a:moveTo>
                      <a:pt x="41803" y="18185"/>
                    </a:moveTo>
                    <a:cubicBezTo>
                      <a:pt x="36781" y="17925"/>
                      <a:pt x="31935" y="20069"/>
                      <a:pt x="28756" y="23958"/>
                    </a:cubicBezTo>
                    <a:cubicBezTo>
                      <a:pt x="25379" y="28704"/>
                      <a:pt x="23734" y="34468"/>
                      <a:pt x="24107" y="40280"/>
                    </a:cubicBezTo>
                    <a:cubicBezTo>
                      <a:pt x="24107" y="55003"/>
                      <a:pt x="30049" y="62364"/>
                      <a:pt x="41946" y="62364"/>
                    </a:cubicBezTo>
                    <a:cubicBezTo>
                      <a:pt x="53283" y="62364"/>
                      <a:pt x="58951" y="54802"/>
                      <a:pt x="58962" y="39677"/>
                    </a:cubicBezTo>
                    <a:cubicBezTo>
                      <a:pt x="58962" y="25349"/>
                      <a:pt x="53239" y="18185"/>
                      <a:pt x="41803" y="1818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0" name="Freeform: Shape 169">
                <a:extLst>
                  <a:ext uri="{FF2B5EF4-FFF2-40B4-BE49-F238E27FC236}">
                    <a16:creationId xmlns:a16="http://schemas.microsoft.com/office/drawing/2014/main" id="{63131D02-9A38-6722-ABCA-B2311B032AAC}"/>
                  </a:ext>
                </a:extLst>
              </p:cNvPr>
              <p:cNvSpPr/>
              <p:nvPr/>
            </p:nvSpPr>
            <p:spPr>
              <a:xfrm>
                <a:off x="3693425" y="2245940"/>
                <a:ext cx="74130" cy="78569"/>
              </a:xfrm>
              <a:custGeom>
                <a:avLst/>
                <a:gdLst>
                  <a:gd name="connsiteX0" fmla="*/ 74119 w 74130"/>
                  <a:gd name="connsiteY0" fmla="*/ 78569 h 78569"/>
                  <a:gd name="connsiteX1" fmla="*/ 50513 w 74130"/>
                  <a:gd name="connsiteY1" fmla="*/ 78569 h 78569"/>
                  <a:gd name="connsiteX2" fmla="*/ 50513 w 74130"/>
                  <a:gd name="connsiteY2" fmla="*/ 35956 h 78569"/>
                  <a:gd name="connsiteX3" fmla="*/ 37772 w 74130"/>
                  <a:gd name="connsiteY3" fmla="*/ 18134 h 78569"/>
                  <a:gd name="connsiteX4" fmla="*/ 27652 w 74130"/>
                  <a:gd name="connsiteY4" fmla="*/ 22855 h 78569"/>
                  <a:gd name="connsiteX5" fmla="*/ 23683 w 74130"/>
                  <a:gd name="connsiteY5" fmla="*/ 34839 h 78569"/>
                  <a:gd name="connsiteX6" fmla="*/ 23683 w 74130"/>
                  <a:gd name="connsiteY6" fmla="*/ 78569 h 78569"/>
                  <a:gd name="connsiteX7" fmla="*/ 0 w 74130"/>
                  <a:gd name="connsiteY7" fmla="*/ 78569 h 78569"/>
                  <a:gd name="connsiteX8" fmla="*/ 0 w 74130"/>
                  <a:gd name="connsiteY8" fmla="*/ 1888 h 78569"/>
                  <a:gd name="connsiteX9" fmla="*/ 23683 w 74130"/>
                  <a:gd name="connsiteY9" fmla="*/ 1888 h 78569"/>
                  <a:gd name="connsiteX10" fmla="*/ 23683 w 74130"/>
                  <a:gd name="connsiteY10" fmla="*/ 14015 h 78569"/>
                  <a:gd name="connsiteX11" fmla="*/ 23979 w 74130"/>
                  <a:gd name="connsiteY11" fmla="*/ 14015 h 78569"/>
                  <a:gd name="connsiteX12" fmla="*/ 48649 w 74130"/>
                  <a:gd name="connsiteY12" fmla="*/ 15 h 78569"/>
                  <a:gd name="connsiteX13" fmla="*/ 74130 w 74130"/>
                  <a:gd name="connsiteY13" fmla="*/ 31618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30" h="78569">
                    <a:moveTo>
                      <a:pt x="74119" y="78569"/>
                    </a:moveTo>
                    <a:lnTo>
                      <a:pt x="50513" y="78569"/>
                    </a:lnTo>
                    <a:lnTo>
                      <a:pt x="50513" y="35956"/>
                    </a:lnTo>
                    <a:cubicBezTo>
                      <a:pt x="50513" y="24082"/>
                      <a:pt x="46270" y="18141"/>
                      <a:pt x="37772" y="18134"/>
                    </a:cubicBezTo>
                    <a:cubicBezTo>
                      <a:pt x="33847" y="18059"/>
                      <a:pt x="30108" y="19802"/>
                      <a:pt x="27652" y="22855"/>
                    </a:cubicBezTo>
                    <a:cubicBezTo>
                      <a:pt x="24922" y="26240"/>
                      <a:pt x="23518" y="30497"/>
                      <a:pt x="23683" y="34839"/>
                    </a:cubicBezTo>
                    <a:lnTo>
                      <a:pt x="23683" y="78569"/>
                    </a:lnTo>
                    <a:lnTo>
                      <a:pt x="0" y="78569"/>
                    </a:lnTo>
                    <a:lnTo>
                      <a:pt x="0" y="1888"/>
                    </a:lnTo>
                    <a:lnTo>
                      <a:pt x="23683" y="1888"/>
                    </a:lnTo>
                    <a:lnTo>
                      <a:pt x="23683" y="14015"/>
                    </a:lnTo>
                    <a:lnTo>
                      <a:pt x="23979" y="14015"/>
                    </a:lnTo>
                    <a:cubicBezTo>
                      <a:pt x="28913" y="5087"/>
                      <a:pt x="38441" y="-321"/>
                      <a:pt x="48649" y="15"/>
                    </a:cubicBezTo>
                    <a:cubicBezTo>
                      <a:pt x="65633" y="15"/>
                      <a:pt x="74130" y="10550"/>
                      <a:pt x="74130" y="3161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1" name="Freeform: Shape 170">
                <a:extLst>
                  <a:ext uri="{FF2B5EF4-FFF2-40B4-BE49-F238E27FC236}">
                    <a16:creationId xmlns:a16="http://schemas.microsoft.com/office/drawing/2014/main" id="{C4E50C5C-6671-B051-4BA4-A01E7A2C65C6}"/>
                  </a:ext>
                </a:extLst>
              </p:cNvPr>
              <p:cNvSpPr/>
              <p:nvPr/>
            </p:nvSpPr>
            <p:spPr>
              <a:xfrm>
                <a:off x="3782535" y="2245922"/>
                <a:ext cx="58951" cy="80399"/>
              </a:xfrm>
              <a:custGeom>
                <a:avLst/>
                <a:gdLst>
                  <a:gd name="connsiteX0" fmla="*/ 85 w 58951"/>
                  <a:gd name="connsiteY0" fmla="*/ 76561 h 80399"/>
                  <a:gd name="connsiteX1" fmla="*/ 85 w 58951"/>
                  <a:gd name="connsiteY1" fmla="*/ 57391 h 80399"/>
                  <a:gd name="connsiteX2" fmla="*/ 11729 w 58951"/>
                  <a:gd name="connsiteY2" fmla="*/ 62638 h 80399"/>
                  <a:gd name="connsiteX3" fmla="*/ 22694 w 58951"/>
                  <a:gd name="connsiteY3" fmla="*/ 64358 h 80399"/>
                  <a:gd name="connsiteX4" fmla="*/ 32562 w 58951"/>
                  <a:gd name="connsiteY4" fmla="*/ 62638 h 80399"/>
                  <a:gd name="connsiteX5" fmla="*/ 36202 w 58951"/>
                  <a:gd name="connsiteY5" fmla="*/ 57391 h 80399"/>
                  <a:gd name="connsiteX6" fmla="*/ 34557 w 58951"/>
                  <a:gd name="connsiteY6" fmla="*/ 53644 h 80399"/>
                  <a:gd name="connsiteX7" fmla="*/ 30314 w 58951"/>
                  <a:gd name="connsiteY7" fmla="*/ 51026 h 80399"/>
                  <a:gd name="connsiteX8" fmla="*/ 24667 w 58951"/>
                  <a:gd name="connsiteY8" fmla="*/ 49011 h 80399"/>
                  <a:gd name="connsiteX9" fmla="*/ 18746 w 58951"/>
                  <a:gd name="connsiteY9" fmla="*/ 46984 h 80399"/>
                  <a:gd name="connsiteX10" fmla="*/ 10677 w 58951"/>
                  <a:gd name="connsiteY10" fmla="*/ 43281 h 80399"/>
                  <a:gd name="connsiteX11" fmla="*/ 4833 w 58951"/>
                  <a:gd name="connsiteY11" fmla="*/ 38670 h 80399"/>
                  <a:gd name="connsiteX12" fmla="*/ 1236 w 58951"/>
                  <a:gd name="connsiteY12" fmla="*/ 32612 h 80399"/>
                  <a:gd name="connsiteX13" fmla="*/ 8 w 58951"/>
                  <a:gd name="connsiteY13" fmla="*/ 24440 h 80399"/>
                  <a:gd name="connsiteX14" fmla="*/ 2815 w 58951"/>
                  <a:gd name="connsiteY14" fmla="*/ 13365 h 80399"/>
                  <a:gd name="connsiteX15" fmla="*/ 10304 w 58951"/>
                  <a:gd name="connsiteY15" fmla="*/ 5762 h 80399"/>
                  <a:gd name="connsiteX16" fmla="*/ 21027 w 58951"/>
                  <a:gd name="connsiteY16" fmla="*/ 1381 h 80399"/>
                  <a:gd name="connsiteX17" fmla="*/ 33581 w 58951"/>
                  <a:gd name="connsiteY17" fmla="*/ 0 h 80399"/>
                  <a:gd name="connsiteX18" fmla="*/ 43932 w 58951"/>
                  <a:gd name="connsiteY18" fmla="*/ 789 h 80399"/>
                  <a:gd name="connsiteX19" fmla="*/ 54271 w 58951"/>
                  <a:gd name="connsiteY19" fmla="*/ 3068 h 80399"/>
                  <a:gd name="connsiteX20" fmla="*/ 54271 w 58951"/>
                  <a:gd name="connsiteY20" fmla="*/ 21340 h 80399"/>
                  <a:gd name="connsiteX21" fmla="*/ 44633 w 58951"/>
                  <a:gd name="connsiteY21" fmla="*/ 17407 h 80399"/>
                  <a:gd name="connsiteX22" fmla="*/ 34557 w 58951"/>
                  <a:gd name="connsiteY22" fmla="*/ 16103 h 80399"/>
                  <a:gd name="connsiteX23" fmla="*/ 30171 w 58951"/>
                  <a:gd name="connsiteY23" fmla="*/ 16509 h 80399"/>
                  <a:gd name="connsiteX24" fmla="*/ 26542 w 58951"/>
                  <a:gd name="connsiteY24" fmla="*/ 17714 h 80399"/>
                  <a:gd name="connsiteX25" fmla="*/ 24064 w 58951"/>
                  <a:gd name="connsiteY25" fmla="*/ 19729 h 80399"/>
                  <a:gd name="connsiteX26" fmla="*/ 23165 w 58951"/>
                  <a:gd name="connsiteY26" fmla="*/ 22545 h 80399"/>
                  <a:gd name="connsiteX27" fmla="*/ 24514 w 58951"/>
                  <a:gd name="connsiteY27" fmla="*/ 26138 h 80399"/>
                  <a:gd name="connsiteX28" fmla="*/ 28033 w 58951"/>
                  <a:gd name="connsiteY28" fmla="*/ 28723 h 80399"/>
                  <a:gd name="connsiteX29" fmla="*/ 32869 w 58951"/>
                  <a:gd name="connsiteY29" fmla="*/ 30662 h 80399"/>
                  <a:gd name="connsiteX30" fmla="*/ 38153 w 58951"/>
                  <a:gd name="connsiteY30" fmla="*/ 32426 h 80399"/>
                  <a:gd name="connsiteX31" fmla="*/ 46706 w 58951"/>
                  <a:gd name="connsiteY31" fmla="*/ 36019 h 80399"/>
                  <a:gd name="connsiteX32" fmla="*/ 53284 w 58951"/>
                  <a:gd name="connsiteY32" fmla="*/ 40587 h 80399"/>
                  <a:gd name="connsiteX33" fmla="*/ 57484 w 58951"/>
                  <a:gd name="connsiteY33" fmla="*/ 46732 h 80399"/>
                  <a:gd name="connsiteX34" fmla="*/ 55982 w 58951"/>
                  <a:gd name="connsiteY34" fmla="*/ 66757 h 80399"/>
                  <a:gd name="connsiteX35" fmla="*/ 48109 w 58951"/>
                  <a:gd name="connsiteY35" fmla="*/ 74622 h 80399"/>
                  <a:gd name="connsiteX36" fmla="*/ 36794 w 58951"/>
                  <a:gd name="connsiteY36" fmla="*/ 79004 h 80399"/>
                  <a:gd name="connsiteX37" fmla="*/ 23494 w 58951"/>
                  <a:gd name="connsiteY37" fmla="*/ 80395 h 80399"/>
                  <a:gd name="connsiteX38" fmla="*/ 85 w 58951"/>
                  <a:gd name="connsiteY38" fmla="*/ 76561 h 8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51" h="80399">
                    <a:moveTo>
                      <a:pt x="85" y="76561"/>
                    </a:moveTo>
                    <a:lnTo>
                      <a:pt x="85" y="57391"/>
                    </a:lnTo>
                    <a:cubicBezTo>
                      <a:pt x="3725" y="59628"/>
                      <a:pt x="7639" y="61391"/>
                      <a:pt x="11729" y="62638"/>
                    </a:cubicBezTo>
                    <a:cubicBezTo>
                      <a:pt x="15282" y="63734"/>
                      <a:pt x="18977" y="64314"/>
                      <a:pt x="22694" y="64358"/>
                    </a:cubicBezTo>
                    <a:cubicBezTo>
                      <a:pt x="26071" y="64501"/>
                      <a:pt x="29437" y="63915"/>
                      <a:pt x="32562" y="62638"/>
                    </a:cubicBezTo>
                    <a:cubicBezTo>
                      <a:pt x="34765" y="61830"/>
                      <a:pt x="36213" y="59732"/>
                      <a:pt x="36202" y="57391"/>
                    </a:cubicBezTo>
                    <a:cubicBezTo>
                      <a:pt x="36224" y="55961"/>
                      <a:pt x="35632" y="54593"/>
                      <a:pt x="34557" y="53644"/>
                    </a:cubicBezTo>
                    <a:cubicBezTo>
                      <a:pt x="33296" y="52548"/>
                      <a:pt x="31860" y="51663"/>
                      <a:pt x="30314" y="51026"/>
                    </a:cubicBezTo>
                    <a:cubicBezTo>
                      <a:pt x="28472" y="50236"/>
                      <a:pt x="26586" y="49564"/>
                      <a:pt x="24667" y="49011"/>
                    </a:cubicBezTo>
                    <a:cubicBezTo>
                      <a:pt x="22606" y="48408"/>
                      <a:pt x="20643" y="47729"/>
                      <a:pt x="18746" y="46984"/>
                    </a:cubicBezTo>
                    <a:cubicBezTo>
                      <a:pt x="15961" y="45960"/>
                      <a:pt x="13264" y="44721"/>
                      <a:pt x="10677" y="43281"/>
                    </a:cubicBezTo>
                    <a:cubicBezTo>
                      <a:pt x="8495" y="42068"/>
                      <a:pt x="6521" y="40510"/>
                      <a:pt x="4833" y="38670"/>
                    </a:cubicBezTo>
                    <a:cubicBezTo>
                      <a:pt x="3254" y="36905"/>
                      <a:pt x="2026" y="34846"/>
                      <a:pt x="1236" y="32612"/>
                    </a:cubicBezTo>
                    <a:cubicBezTo>
                      <a:pt x="359" y="29978"/>
                      <a:pt x="-58" y="27213"/>
                      <a:pt x="8" y="24440"/>
                    </a:cubicBezTo>
                    <a:cubicBezTo>
                      <a:pt x="-101" y="20560"/>
                      <a:pt x="875" y="16726"/>
                      <a:pt x="2815" y="13365"/>
                    </a:cubicBezTo>
                    <a:cubicBezTo>
                      <a:pt x="4679" y="10277"/>
                      <a:pt x="7245" y="7672"/>
                      <a:pt x="10304" y="5762"/>
                    </a:cubicBezTo>
                    <a:cubicBezTo>
                      <a:pt x="13604" y="3709"/>
                      <a:pt x="17233" y="2228"/>
                      <a:pt x="21027" y="1381"/>
                    </a:cubicBezTo>
                    <a:cubicBezTo>
                      <a:pt x="25150" y="451"/>
                      <a:pt x="29360" y="-13"/>
                      <a:pt x="33581" y="0"/>
                    </a:cubicBezTo>
                    <a:cubicBezTo>
                      <a:pt x="37046" y="6"/>
                      <a:pt x="40511" y="270"/>
                      <a:pt x="43932" y="789"/>
                    </a:cubicBezTo>
                    <a:cubicBezTo>
                      <a:pt x="47429" y="1315"/>
                      <a:pt x="50883" y="2076"/>
                      <a:pt x="54271" y="3068"/>
                    </a:cubicBezTo>
                    <a:lnTo>
                      <a:pt x="54271" y="21340"/>
                    </a:lnTo>
                    <a:cubicBezTo>
                      <a:pt x="51256" y="19588"/>
                      <a:pt x="48010" y="18264"/>
                      <a:pt x="44633" y="17407"/>
                    </a:cubicBezTo>
                    <a:cubicBezTo>
                      <a:pt x="41344" y="16556"/>
                      <a:pt x="37956" y="16118"/>
                      <a:pt x="34557" y="16103"/>
                    </a:cubicBezTo>
                    <a:cubicBezTo>
                      <a:pt x="33088" y="16095"/>
                      <a:pt x="31619" y="16230"/>
                      <a:pt x="30171" y="16509"/>
                    </a:cubicBezTo>
                    <a:cubicBezTo>
                      <a:pt x="28910" y="16745"/>
                      <a:pt x="27693" y="17151"/>
                      <a:pt x="26542" y="17714"/>
                    </a:cubicBezTo>
                    <a:cubicBezTo>
                      <a:pt x="25566" y="18172"/>
                      <a:pt x="24711" y="18864"/>
                      <a:pt x="24064" y="19729"/>
                    </a:cubicBezTo>
                    <a:cubicBezTo>
                      <a:pt x="23461" y="20545"/>
                      <a:pt x="23154" y="21533"/>
                      <a:pt x="23165" y="22545"/>
                    </a:cubicBezTo>
                    <a:cubicBezTo>
                      <a:pt x="23143" y="23870"/>
                      <a:pt x="23626" y="25155"/>
                      <a:pt x="24514" y="26138"/>
                    </a:cubicBezTo>
                    <a:cubicBezTo>
                      <a:pt x="25511" y="27212"/>
                      <a:pt x="26707" y="28089"/>
                      <a:pt x="28033" y="28723"/>
                    </a:cubicBezTo>
                    <a:cubicBezTo>
                      <a:pt x="29601" y="29484"/>
                      <a:pt x="31213" y="30133"/>
                      <a:pt x="32869" y="30662"/>
                    </a:cubicBezTo>
                    <a:cubicBezTo>
                      <a:pt x="34645" y="31231"/>
                      <a:pt x="36399" y="31823"/>
                      <a:pt x="38153" y="32426"/>
                    </a:cubicBezTo>
                    <a:cubicBezTo>
                      <a:pt x="41081" y="33428"/>
                      <a:pt x="43943" y="34627"/>
                      <a:pt x="46706" y="36019"/>
                    </a:cubicBezTo>
                    <a:cubicBezTo>
                      <a:pt x="49107" y="37209"/>
                      <a:pt x="51333" y="38748"/>
                      <a:pt x="53284" y="40587"/>
                    </a:cubicBezTo>
                    <a:cubicBezTo>
                      <a:pt x="55104" y="42317"/>
                      <a:pt x="56530" y="44412"/>
                      <a:pt x="57484" y="46732"/>
                    </a:cubicBezTo>
                    <a:cubicBezTo>
                      <a:pt x="59874" y="53315"/>
                      <a:pt x="59326" y="60605"/>
                      <a:pt x="55982" y="66757"/>
                    </a:cubicBezTo>
                    <a:cubicBezTo>
                      <a:pt x="54019" y="69969"/>
                      <a:pt x="51322" y="72665"/>
                      <a:pt x="48109" y="74622"/>
                    </a:cubicBezTo>
                    <a:cubicBezTo>
                      <a:pt x="44622" y="76724"/>
                      <a:pt x="40796" y="78206"/>
                      <a:pt x="36794" y="79004"/>
                    </a:cubicBezTo>
                    <a:cubicBezTo>
                      <a:pt x="32419" y="79944"/>
                      <a:pt x="27967" y="80410"/>
                      <a:pt x="23494" y="80395"/>
                    </a:cubicBezTo>
                    <a:cubicBezTo>
                      <a:pt x="15523" y="80486"/>
                      <a:pt x="7607" y="79189"/>
                      <a:pt x="85"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2" name="Freeform: Shape 171">
                <a:extLst>
                  <a:ext uri="{FF2B5EF4-FFF2-40B4-BE49-F238E27FC236}">
                    <a16:creationId xmlns:a16="http://schemas.microsoft.com/office/drawing/2014/main" id="{04C20793-357F-2431-7573-0054FC2DC58B}"/>
                  </a:ext>
                </a:extLst>
              </p:cNvPr>
              <p:cNvSpPr/>
              <p:nvPr/>
            </p:nvSpPr>
            <p:spPr>
              <a:xfrm>
                <a:off x="3853818" y="2211328"/>
                <a:ext cx="27288" cy="113181"/>
              </a:xfrm>
              <a:custGeom>
                <a:avLst/>
                <a:gdLst>
                  <a:gd name="connsiteX0" fmla="*/ 13644 w 27288"/>
                  <a:gd name="connsiteY0" fmla="*/ 24362 h 113181"/>
                  <a:gd name="connsiteX1" fmla="*/ 3831 w 27288"/>
                  <a:gd name="connsiteY1" fmla="*/ 20813 h 113181"/>
                  <a:gd name="connsiteX2" fmla="*/ 5 w 27288"/>
                  <a:gd name="connsiteY2" fmla="*/ 12050 h 113181"/>
                  <a:gd name="connsiteX3" fmla="*/ 3831 w 27288"/>
                  <a:gd name="connsiteY3" fmla="*/ 3363 h 113181"/>
                  <a:gd name="connsiteX4" fmla="*/ 23502 w 27288"/>
                  <a:gd name="connsiteY4" fmla="*/ 3363 h 113181"/>
                  <a:gd name="connsiteX5" fmla="*/ 27284 w 27288"/>
                  <a:gd name="connsiteY5" fmla="*/ 12050 h 113181"/>
                  <a:gd name="connsiteX6" fmla="*/ 23502 w 27288"/>
                  <a:gd name="connsiteY6" fmla="*/ 20890 h 113181"/>
                  <a:gd name="connsiteX7" fmla="*/ 13644 w 27288"/>
                  <a:gd name="connsiteY7" fmla="*/ 24362 h 113181"/>
                  <a:gd name="connsiteX8" fmla="*/ 25333 w 27288"/>
                  <a:gd name="connsiteY8" fmla="*/ 113181 h 113181"/>
                  <a:gd name="connsiteX9" fmla="*/ 1649 w 27288"/>
                  <a:gd name="connsiteY9" fmla="*/ 113181 h 113181"/>
                  <a:gd name="connsiteX10" fmla="*/ 1649 w 27288"/>
                  <a:gd name="connsiteY10" fmla="*/ 36500 h 113181"/>
                  <a:gd name="connsiteX11" fmla="*/ 25333 w 27288"/>
                  <a:gd name="connsiteY11" fmla="*/ 36500 h 1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8" h="113181">
                    <a:moveTo>
                      <a:pt x="13644" y="24362"/>
                    </a:moveTo>
                    <a:cubicBezTo>
                      <a:pt x="10037" y="24505"/>
                      <a:pt x="6518" y="23231"/>
                      <a:pt x="3831" y="20813"/>
                    </a:cubicBezTo>
                    <a:cubicBezTo>
                      <a:pt x="1342" y="18588"/>
                      <a:pt x="-61" y="15389"/>
                      <a:pt x="5" y="12050"/>
                    </a:cubicBezTo>
                    <a:cubicBezTo>
                      <a:pt x="-94" y="8726"/>
                      <a:pt x="1310" y="5535"/>
                      <a:pt x="3831" y="3363"/>
                    </a:cubicBezTo>
                    <a:cubicBezTo>
                      <a:pt x="9620" y="-1121"/>
                      <a:pt x="17712" y="-1121"/>
                      <a:pt x="23502" y="3363"/>
                    </a:cubicBezTo>
                    <a:cubicBezTo>
                      <a:pt x="25990" y="5550"/>
                      <a:pt x="27383" y="8735"/>
                      <a:pt x="27284" y="12050"/>
                    </a:cubicBezTo>
                    <a:cubicBezTo>
                      <a:pt x="27383" y="15408"/>
                      <a:pt x="26001" y="18642"/>
                      <a:pt x="23502" y="20890"/>
                    </a:cubicBezTo>
                    <a:cubicBezTo>
                      <a:pt x="20782" y="23266"/>
                      <a:pt x="17252" y="24509"/>
                      <a:pt x="13644" y="24362"/>
                    </a:cubicBezTo>
                    <a:close/>
                    <a:moveTo>
                      <a:pt x="25333" y="113181"/>
                    </a:moveTo>
                    <a:lnTo>
                      <a:pt x="1649" y="113181"/>
                    </a:lnTo>
                    <a:lnTo>
                      <a:pt x="1649" y="36500"/>
                    </a:lnTo>
                    <a:lnTo>
                      <a:pt x="25333" y="3650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3" name="Freeform: Shape 172">
                <a:extLst>
                  <a:ext uri="{FF2B5EF4-FFF2-40B4-BE49-F238E27FC236}">
                    <a16:creationId xmlns:a16="http://schemas.microsoft.com/office/drawing/2014/main" id="{6704A227-0961-69D0-3AB8-53DCEF329433}"/>
                  </a:ext>
                </a:extLst>
              </p:cNvPr>
              <p:cNvSpPr/>
              <p:nvPr/>
            </p:nvSpPr>
            <p:spPr>
              <a:xfrm>
                <a:off x="3898679" y="2210988"/>
                <a:ext cx="79963" cy="115433"/>
              </a:xfrm>
              <a:custGeom>
                <a:avLst/>
                <a:gdLst>
                  <a:gd name="connsiteX0" fmla="*/ 23979 w 79963"/>
                  <a:gd name="connsiteY0" fmla="*/ 104604 h 115433"/>
                  <a:gd name="connsiteX1" fmla="*/ 23683 w 79963"/>
                  <a:gd name="connsiteY1" fmla="*/ 104604 h 115433"/>
                  <a:gd name="connsiteX2" fmla="*/ 23683 w 79963"/>
                  <a:gd name="connsiteY2" fmla="*/ 113521 h 115433"/>
                  <a:gd name="connsiteX3" fmla="*/ 0 w 79963"/>
                  <a:gd name="connsiteY3" fmla="*/ 113521 h 115433"/>
                  <a:gd name="connsiteX4" fmla="*/ 0 w 79963"/>
                  <a:gd name="connsiteY4" fmla="*/ 0 h 115433"/>
                  <a:gd name="connsiteX5" fmla="*/ 23683 w 79963"/>
                  <a:gd name="connsiteY5" fmla="*/ 0 h 115433"/>
                  <a:gd name="connsiteX6" fmla="*/ 23683 w 79963"/>
                  <a:gd name="connsiteY6" fmla="*/ 48331 h 115433"/>
                  <a:gd name="connsiteX7" fmla="*/ 23979 w 79963"/>
                  <a:gd name="connsiteY7" fmla="*/ 48331 h 115433"/>
                  <a:gd name="connsiteX8" fmla="*/ 48945 w 79963"/>
                  <a:gd name="connsiteY8" fmla="*/ 34923 h 115433"/>
                  <a:gd name="connsiteX9" fmla="*/ 71795 w 79963"/>
                  <a:gd name="connsiteY9" fmla="*/ 45111 h 115433"/>
                  <a:gd name="connsiteX10" fmla="*/ 79897 w 79963"/>
                  <a:gd name="connsiteY10" fmla="*/ 73012 h 115433"/>
                  <a:gd name="connsiteX11" fmla="*/ 70523 w 79963"/>
                  <a:gd name="connsiteY11" fmla="*/ 103783 h 115433"/>
                  <a:gd name="connsiteX12" fmla="*/ 45491 w 79963"/>
                  <a:gd name="connsiteY12" fmla="*/ 115394 h 115433"/>
                  <a:gd name="connsiteX13" fmla="*/ 23979 w 79963"/>
                  <a:gd name="connsiteY13" fmla="*/ 104604 h 115433"/>
                  <a:gd name="connsiteX14" fmla="*/ 23310 w 79963"/>
                  <a:gd name="connsiteY14" fmla="*/ 72256 h 115433"/>
                  <a:gd name="connsiteX15" fmla="*/ 23310 w 79963"/>
                  <a:gd name="connsiteY15" fmla="*/ 80099 h 115433"/>
                  <a:gd name="connsiteX16" fmla="*/ 27575 w 79963"/>
                  <a:gd name="connsiteY16" fmla="*/ 92379 h 115433"/>
                  <a:gd name="connsiteX17" fmla="*/ 38540 w 79963"/>
                  <a:gd name="connsiteY17" fmla="*/ 97243 h 115433"/>
                  <a:gd name="connsiteX18" fmla="*/ 51094 w 79963"/>
                  <a:gd name="connsiteY18" fmla="*/ 90999 h 115433"/>
                  <a:gd name="connsiteX19" fmla="*/ 55556 w 79963"/>
                  <a:gd name="connsiteY19" fmla="*/ 73285 h 115433"/>
                  <a:gd name="connsiteX20" fmla="*/ 51467 w 79963"/>
                  <a:gd name="connsiteY20" fmla="*/ 58420 h 115433"/>
                  <a:gd name="connsiteX21" fmla="*/ 39823 w 79963"/>
                  <a:gd name="connsiteY21" fmla="*/ 53063 h 115433"/>
                  <a:gd name="connsiteX22" fmla="*/ 28003 w 79963"/>
                  <a:gd name="connsiteY22" fmla="*/ 58387 h 115433"/>
                  <a:gd name="connsiteX23" fmla="*/ 23332 w 79963"/>
                  <a:gd name="connsiteY23" fmla="*/ 72256 h 11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963" h="115433">
                    <a:moveTo>
                      <a:pt x="23979" y="104604"/>
                    </a:moveTo>
                    <a:lnTo>
                      <a:pt x="23683" y="104604"/>
                    </a:lnTo>
                    <a:lnTo>
                      <a:pt x="23683" y="113521"/>
                    </a:lnTo>
                    <a:lnTo>
                      <a:pt x="0" y="113521"/>
                    </a:lnTo>
                    <a:lnTo>
                      <a:pt x="0" y="0"/>
                    </a:lnTo>
                    <a:lnTo>
                      <a:pt x="23683" y="0"/>
                    </a:lnTo>
                    <a:lnTo>
                      <a:pt x="23683" y="48331"/>
                    </a:lnTo>
                    <a:lnTo>
                      <a:pt x="23979" y="48331"/>
                    </a:lnTo>
                    <a:cubicBezTo>
                      <a:pt x="29275" y="39689"/>
                      <a:pt x="38814" y="34565"/>
                      <a:pt x="48945" y="34923"/>
                    </a:cubicBezTo>
                    <a:cubicBezTo>
                      <a:pt x="57760" y="34445"/>
                      <a:pt x="66269" y="38237"/>
                      <a:pt x="71795" y="45111"/>
                    </a:cubicBezTo>
                    <a:cubicBezTo>
                      <a:pt x="77595" y="53220"/>
                      <a:pt x="80445" y="63062"/>
                      <a:pt x="79897" y="73012"/>
                    </a:cubicBezTo>
                    <a:cubicBezTo>
                      <a:pt x="80445" y="84045"/>
                      <a:pt x="77134" y="94926"/>
                      <a:pt x="70523" y="103783"/>
                    </a:cubicBezTo>
                    <a:cubicBezTo>
                      <a:pt x="64503" y="111418"/>
                      <a:pt x="55205" y="115731"/>
                      <a:pt x="45491" y="115394"/>
                    </a:cubicBezTo>
                    <a:cubicBezTo>
                      <a:pt x="36906" y="115885"/>
                      <a:pt x="28716" y="111774"/>
                      <a:pt x="23979" y="104604"/>
                    </a:cubicBezTo>
                    <a:close/>
                    <a:moveTo>
                      <a:pt x="23310" y="72256"/>
                    </a:moveTo>
                    <a:lnTo>
                      <a:pt x="23310" y="80099"/>
                    </a:lnTo>
                    <a:cubicBezTo>
                      <a:pt x="23146" y="84581"/>
                      <a:pt x="24670" y="88960"/>
                      <a:pt x="27575" y="92379"/>
                    </a:cubicBezTo>
                    <a:cubicBezTo>
                      <a:pt x="30305" y="95573"/>
                      <a:pt x="34340" y="97361"/>
                      <a:pt x="38540" y="97243"/>
                    </a:cubicBezTo>
                    <a:cubicBezTo>
                      <a:pt x="43518" y="97453"/>
                      <a:pt x="48265" y="95096"/>
                      <a:pt x="51094" y="90999"/>
                    </a:cubicBezTo>
                    <a:cubicBezTo>
                      <a:pt x="54372" y="85696"/>
                      <a:pt x="55929" y="79509"/>
                      <a:pt x="55556" y="73285"/>
                    </a:cubicBezTo>
                    <a:cubicBezTo>
                      <a:pt x="55864" y="68015"/>
                      <a:pt x="54427" y="62790"/>
                      <a:pt x="51467" y="58420"/>
                    </a:cubicBezTo>
                    <a:cubicBezTo>
                      <a:pt x="48704" y="54828"/>
                      <a:pt x="44351" y="52826"/>
                      <a:pt x="39823" y="53063"/>
                    </a:cubicBezTo>
                    <a:cubicBezTo>
                      <a:pt x="35283" y="52968"/>
                      <a:pt x="30941" y="54925"/>
                      <a:pt x="28003" y="58387"/>
                    </a:cubicBezTo>
                    <a:cubicBezTo>
                      <a:pt x="24768" y="62265"/>
                      <a:pt x="23102" y="67212"/>
                      <a:pt x="23332" y="7225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4" name="Freeform: Shape 173">
                <a:extLst>
                  <a:ext uri="{FF2B5EF4-FFF2-40B4-BE49-F238E27FC236}">
                    <a16:creationId xmlns:a16="http://schemas.microsoft.com/office/drawing/2014/main" id="{EE06CAAD-781D-7A96-1671-C35985D2D824}"/>
                  </a:ext>
                </a:extLst>
              </p:cNvPr>
              <p:cNvSpPr/>
              <p:nvPr/>
            </p:nvSpPr>
            <p:spPr>
              <a:xfrm>
                <a:off x="3992233" y="2211327"/>
                <a:ext cx="27289" cy="113182"/>
              </a:xfrm>
              <a:custGeom>
                <a:avLst/>
                <a:gdLst>
                  <a:gd name="connsiteX0" fmla="*/ 13644 w 27289"/>
                  <a:gd name="connsiteY0" fmla="*/ 24364 h 113182"/>
                  <a:gd name="connsiteX1" fmla="*/ 3831 w 27289"/>
                  <a:gd name="connsiteY1" fmla="*/ 20815 h 113182"/>
                  <a:gd name="connsiteX2" fmla="*/ 5 w 27289"/>
                  <a:gd name="connsiteY2" fmla="*/ 12051 h 113182"/>
                  <a:gd name="connsiteX3" fmla="*/ 3831 w 27289"/>
                  <a:gd name="connsiteY3" fmla="*/ 3364 h 113182"/>
                  <a:gd name="connsiteX4" fmla="*/ 23491 w 27289"/>
                  <a:gd name="connsiteY4" fmla="*/ 3364 h 113182"/>
                  <a:gd name="connsiteX5" fmla="*/ 27284 w 27289"/>
                  <a:gd name="connsiteY5" fmla="*/ 12051 h 113182"/>
                  <a:gd name="connsiteX6" fmla="*/ 23491 w 27289"/>
                  <a:gd name="connsiteY6" fmla="*/ 20892 h 113182"/>
                  <a:gd name="connsiteX7" fmla="*/ 13644 w 27289"/>
                  <a:gd name="connsiteY7" fmla="*/ 24364 h 113182"/>
                  <a:gd name="connsiteX8" fmla="*/ 25333 w 27289"/>
                  <a:gd name="connsiteY8" fmla="*/ 113183 h 113182"/>
                  <a:gd name="connsiteX9" fmla="*/ 1693 w 27289"/>
                  <a:gd name="connsiteY9" fmla="*/ 113183 h 113182"/>
                  <a:gd name="connsiteX10" fmla="*/ 1693 w 27289"/>
                  <a:gd name="connsiteY10" fmla="*/ 36502 h 113182"/>
                  <a:gd name="connsiteX11" fmla="*/ 25376 w 27289"/>
                  <a:gd name="connsiteY11" fmla="*/ 36502 h 1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82">
                    <a:moveTo>
                      <a:pt x="13644" y="24364"/>
                    </a:moveTo>
                    <a:cubicBezTo>
                      <a:pt x="10037" y="24508"/>
                      <a:pt x="6518" y="23234"/>
                      <a:pt x="3831" y="20815"/>
                    </a:cubicBezTo>
                    <a:cubicBezTo>
                      <a:pt x="1343" y="18590"/>
                      <a:pt x="-61" y="15390"/>
                      <a:pt x="5" y="12051"/>
                    </a:cubicBezTo>
                    <a:cubicBezTo>
                      <a:pt x="-94" y="8728"/>
                      <a:pt x="1310" y="5537"/>
                      <a:pt x="3831" y="3364"/>
                    </a:cubicBezTo>
                    <a:cubicBezTo>
                      <a:pt x="9620" y="-1121"/>
                      <a:pt x="17701" y="-1121"/>
                      <a:pt x="23491" y="3364"/>
                    </a:cubicBezTo>
                    <a:cubicBezTo>
                      <a:pt x="25990" y="5547"/>
                      <a:pt x="27383" y="8734"/>
                      <a:pt x="27284" y="12051"/>
                    </a:cubicBezTo>
                    <a:cubicBezTo>
                      <a:pt x="27383" y="15413"/>
                      <a:pt x="26001" y="18648"/>
                      <a:pt x="23491" y="20892"/>
                    </a:cubicBezTo>
                    <a:cubicBezTo>
                      <a:pt x="20772" y="23269"/>
                      <a:pt x="17252" y="24513"/>
                      <a:pt x="13644" y="24364"/>
                    </a:cubicBezTo>
                    <a:close/>
                    <a:moveTo>
                      <a:pt x="25333" y="113183"/>
                    </a:moveTo>
                    <a:lnTo>
                      <a:pt x="1693" y="113183"/>
                    </a:lnTo>
                    <a:lnTo>
                      <a:pt x="1693" y="36502"/>
                    </a:lnTo>
                    <a:lnTo>
                      <a:pt x="25376" y="36502"/>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5" name="Freeform: Shape 174">
                <a:extLst>
                  <a:ext uri="{FF2B5EF4-FFF2-40B4-BE49-F238E27FC236}">
                    <a16:creationId xmlns:a16="http://schemas.microsoft.com/office/drawing/2014/main" id="{DF2AF289-EB10-9DA0-B2CB-76D1F944159E}"/>
                  </a:ext>
                </a:extLst>
              </p:cNvPr>
              <p:cNvSpPr/>
              <p:nvPr/>
            </p:nvSpPr>
            <p:spPr>
              <a:xfrm>
                <a:off x="4037038" y="2210988"/>
                <a:ext cx="23683" cy="113521"/>
              </a:xfrm>
              <a:custGeom>
                <a:avLst/>
                <a:gdLst>
                  <a:gd name="connsiteX0" fmla="*/ 23683 w 23683"/>
                  <a:gd name="connsiteY0" fmla="*/ 113521 h 113521"/>
                  <a:gd name="connsiteX1" fmla="*/ 0 w 23683"/>
                  <a:gd name="connsiteY1" fmla="*/ 113521 h 113521"/>
                  <a:gd name="connsiteX2" fmla="*/ 0 w 23683"/>
                  <a:gd name="connsiteY2" fmla="*/ 0 h 113521"/>
                  <a:gd name="connsiteX3" fmla="*/ 23683 w 23683"/>
                  <a:gd name="connsiteY3" fmla="*/ 0 h 113521"/>
                </a:gdLst>
                <a:ahLst/>
                <a:cxnLst>
                  <a:cxn ang="0">
                    <a:pos x="connsiteX0" y="connsiteY0"/>
                  </a:cxn>
                  <a:cxn ang="0">
                    <a:pos x="connsiteX1" y="connsiteY1"/>
                  </a:cxn>
                  <a:cxn ang="0">
                    <a:pos x="connsiteX2" y="connsiteY2"/>
                  </a:cxn>
                  <a:cxn ang="0">
                    <a:pos x="connsiteX3" y="connsiteY3"/>
                  </a:cxn>
                </a:cxnLst>
                <a:rect l="l" t="t" r="r" b="b"/>
                <a:pathLst>
                  <a:path w="23683" h="113521">
                    <a:moveTo>
                      <a:pt x="23683" y="113521"/>
                    </a:moveTo>
                    <a:lnTo>
                      <a:pt x="0" y="113521"/>
                    </a:lnTo>
                    <a:lnTo>
                      <a:pt x="0" y="0"/>
                    </a:lnTo>
                    <a:lnTo>
                      <a:pt x="23683"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6" name="Freeform: Shape 175">
                <a:extLst>
                  <a:ext uri="{FF2B5EF4-FFF2-40B4-BE49-F238E27FC236}">
                    <a16:creationId xmlns:a16="http://schemas.microsoft.com/office/drawing/2014/main" id="{68408142-0B50-C27A-E280-4DDAB9CAFA9A}"/>
                  </a:ext>
                </a:extLst>
              </p:cNvPr>
              <p:cNvSpPr/>
              <p:nvPr/>
            </p:nvSpPr>
            <p:spPr>
              <a:xfrm>
                <a:off x="4078468" y="2211305"/>
                <a:ext cx="27344" cy="113204"/>
              </a:xfrm>
              <a:custGeom>
                <a:avLst/>
                <a:gdLst>
                  <a:gd name="connsiteX0" fmla="*/ 13699 w 27344"/>
                  <a:gd name="connsiteY0" fmla="*/ 24385 h 113204"/>
                  <a:gd name="connsiteX1" fmla="*/ 3831 w 27344"/>
                  <a:gd name="connsiteY1" fmla="*/ 20836 h 113204"/>
                  <a:gd name="connsiteX2" fmla="*/ 5 w 27344"/>
                  <a:gd name="connsiteY2" fmla="*/ 12073 h 113204"/>
                  <a:gd name="connsiteX3" fmla="*/ 3831 w 27344"/>
                  <a:gd name="connsiteY3" fmla="*/ 3386 h 113204"/>
                  <a:gd name="connsiteX4" fmla="*/ 23568 w 27344"/>
                  <a:gd name="connsiteY4" fmla="*/ 3386 h 113204"/>
                  <a:gd name="connsiteX5" fmla="*/ 27339 w 27344"/>
                  <a:gd name="connsiteY5" fmla="*/ 12073 h 113204"/>
                  <a:gd name="connsiteX6" fmla="*/ 23568 w 27344"/>
                  <a:gd name="connsiteY6" fmla="*/ 20913 h 113204"/>
                  <a:gd name="connsiteX7" fmla="*/ 13699 w 27344"/>
                  <a:gd name="connsiteY7" fmla="*/ 24385 h 113204"/>
                  <a:gd name="connsiteX8" fmla="*/ 25399 w 27344"/>
                  <a:gd name="connsiteY8" fmla="*/ 113204 h 113204"/>
                  <a:gd name="connsiteX9" fmla="*/ 1704 w 27344"/>
                  <a:gd name="connsiteY9" fmla="*/ 113204 h 113204"/>
                  <a:gd name="connsiteX10" fmla="*/ 1704 w 27344"/>
                  <a:gd name="connsiteY10" fmla="*/ 36523 h 113204"/>
                  <a:gd name="connsiteX11" fmla="*/ 25399 w 27344"/>
                  <a:gd name="connsiteY11" fmla="*/ 36523 h 11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44" h="113204">
                    <a:moveTo>
                      <a:pt x="13699" y="24385"/>
                    </a:moveTo>
                    <a:cubicBezTo>
                      <a:pt x="10070" y="24542"/>
                      <a:pt x="6529" y="23267"/>
                      <a:pt x="3831" y="20836"/>
                    </a:cubicBezTo>
                    <a:cubicBezTo>
                      <a:pt x="1343" y="18611"/>
                      <a:pt x="-61" y="15412"/>
                      <a:pt x="5" y="12073"/>
                    </a:cubicBezTo>
                    <a:cubicBezTo>
                      <a:pt x="-94" y="8749"/>
                      <a:pt x="1310" y="5558"/>
                      <a:pt x="3831" y="3386"/>
                    </a:cubicBezTo>
                    <a:cubicBezTo>
                      <a:pt x="9632" y="-1129"/>
                      <a:pt x="17767" y="-1129"/>
                      <a:pt x="23568" y="3386"/>
                    </a:cubicBezTo>
                    <a:cubicBezTo>
                      <a:pt x="26056" y="5577"/>
                      <a:pt x="27438" y="8761"/>
                      <a:pt x="27339" y="12073"/>
                    </a:cubicBezTo>
                    <a:cubicBezTo>
                      <a:pt x="27438" y="15429"/>
                      <a:pt x="26056" y="18661"/>
                      <a:pt x="23568" y="20913"/>
                    </a:cubicBezTo>
                    <a:cubicBezTo>
                      <a:pt x="20848" y="23288"/>
                      <a:pt x="17307" y="24530"/>
                      <a:pt x="13699" y="24385"/>
                    </a:cubicBezTo>
                    <a:close/>
                    <a:moveTo>
                      <a:pt x="25399" y="113204"/>
                    </a:moveTo>
                    <a:lnTo>
                      <a:pt x="1704" y="113204"/>
                    </a:lnTo>
                    <a:lnTo>
                      <a:pt x="1704" y="36523"/>
                    </a:lnTo>
                    <a:lnTo>
                      <a:pt x="25399" y="36523"/>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7" name="Freeform: Shape 176">
                <a:extLst>
                  <a:ext uri="{FF2B5EF4-FFF2-40B4-BE49-F238E27FC236}">
                    <a16:creationId xmlns:a16="http://schemas.microsoft.com/office/drawing/2014/main" id="{9A97641E-DEFF-99A9-A4FD-D391483C428C}"/>
                  </a:ext>
                </a:extLst>
              </p:cNvPr>
              <p:cNvSpPr/>
              <p:nvPr/>
            </p:nvSpPr>
            <p:spPr>
              <a:xfrm>
                <a:off x="4115631" y="2224539"/>
                <a:ext cx="53319" cy="101900"/>
              </a:xfrm>
              <a:custGeom>
                <a:avLst/>
                <a:gdLst>
                  <a:gd name="connsiteX0" fmla="*/ 53320 w 53319"/>
                  <a:gd name="connsiteY0" fmla="*/ 99072 h 101900"/>
                  <a:gd name="connsiteX1" fmla="*/ 37509 w 53319"/>
                  <a:gd name="connsiteY1" fmla="*/ 101844 h 101900"/>
                  <a:gd name="connsiteX2" fmla="*/ 12466 w 53319"/>
                  <a:gd name="connsiteY2" fmla="*/ 75860 h 101900"/>
                  <a:gd name="connsiteX3" fmla="*/ 12466 w 53319"/>
                  <a:gd name="connsiteY3" fmla="*/ 40740 h 101900"/>
                  <a:gd name="connsiteX4" fmla="*/ 0 w 53319"/>
                  <a:gd name="connsiteY4" fmla="*/ 40740 h 101900"/>
                  <a:gd name="connsiteX5" fmla="*/ 0 w 53319"/>
                  <a:gd name="connsiteY5" fmla="*/ 23289 h 101900"/>
                  <a:gd name="connsiteX6" fmla="*/ 12434 w 53319"/>
                  <a:gd name="connsiteY6" fmla="*/ 23289 h 101900"/>
                  <a:gd name="connsiteX7" fmla="*/ 12434 w 53319"/>
                  <a:gd name="connsiteY7" fmla="*/ 6737 h 101900"/>
                  <a:gd name="connsiteX8" fmla="*/ 36051 w 53319"/>
                  <a:gd name="connsiteY8" fmla="*/ 0 h 101900"/>
                  <a:gd name="connsiteX9" fmla="*/ 36051 w 53319"/>
                  <a:gd name="connsiteY9" fmla="*/ 23289 h 101900"/>
                  <a:gd name="connsiteX10" fmla="*/ 53287 w 53319"/>
                  <a:gd name="connsiteY10" fmla="*/ 23289 h 101900"/>
                  <a:gd name="connsiteX11" fmla="*/ 53287 w 53319"/>
                  <a:gd name="connsiteY11" fmla="*/ 40740 h 101900"/>
                  <a:gd name="connsiteX12" fmla="*/ 36051 w 53319"/>
                  <a:gd name="connsiteY12" fmla="*/ 40740 h 101900"/>
                  <a:gd name="connsiteX13" fmla="*/ 36051 w 53319"/>
                  <a:gd name="connsiteY13" fmla="*/ 71741 h 101900"/>
                  <a:gd name="connsiteX14" fmla="*/ 45568 w 53319"/>
                  <a:gd name="connsiteY14" fmla="*/ 83714 h 101900"/>
                  <a:gd name="connsiteX15" fmla="*/ 53243 w 53319"/>
                  <a:gd name="connsiteY15" fmla="*/ 81523 h 10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319" h="101900">
                    <a:moveTo>
                      <a:pt x="53320" y="99072"/>
                    </a:moveTo>
                    <a:cubicBezTo>
                      <a:pt x="48331" y="101204"/>
                      <a:pt x="42926" y="102153"/>
                      <a:pt x="37509" y="101844"/>
                    </a:cubicBezTo>
                    <a:cubicBezTo>
                      <a:pt x="20811" y="101844"/>
                      <a:pt x="12466" y="93182"/>
                      <a:pt x="12466" y="75860"/>
                    </a:cubicBezTo>
                    <a:lnTo>
                      <a:pt x="12466" y="40740"/>
                    </a:lnTo>
                    <a:lnTo>
                      <a:pt x="0" y="40740"/>
                    </a:lnTo>
                    <a:lnTo>
                      <a:pt x="0" y="23289"/>
                    </a:lnTo>
                    <a:lnTo>
                      <a:pt x="12434" y="23289"/>
                    </a:lnTo>
                    <a:lnTo>
                      <a:pt x="12434" y="6737"/>
                    </a:lnTo>
                    <a:lnTo>
                      <a:pt x="36051" y="0"/>
                    </a:lnTo>
                    <a:lnTo>
                      <a:pt x="36051" y="23289"/>
                    </a:lnTo>
                    <a:lnTo>
                      <a:pt x="53287" y="23289"/>
                    </a:lnTo>
                    <a:lnTo>
                      <a:pt x="53287" y="40740"/>
                    </a:lnTo>
                    <a:lnTo>
                      <a:pt x="36051" y="40740"/>
                    </a:lnTo>
                    <a:lnTo>
                      <a:pt x="36051" y="71741"/>
                    </a:lnTo>
                    <a:cubicBezTo>
                      <a:pt x="36051" y="79723"/>
                      <a:pt x="39220" y="83714"/>
                      <a:pt x="45568" y="83714"/>
                    </a:cubicBezTo>
                    <a:cubicBezTo>
                      <a:pt x="48276" y="83645"/>
                      <a:pt x="50908" y="82891"/>
                      <a:pt x="53243" y="815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8" name="Freeform: Shape 177">
                <a:extLst>
                  <a:ext uri="{FF2B5EF4-FFF2-40B4-BE49-F238E27FC236}">
                    <a16:creationId xmlns:a16="http://schemas.microsoft.com/office/drawing/2014/main" id="{6CCD970D-6B43-7F0D-C4AF-8517AEF2D00D}"/>
                  </a:ext>
                </a:extLst>
              </p:cNvPr>
              <p:cNvSpPr/>
              <p:nvPr/>
            </p:nvSpPr>
            <p:spPr>
              <a:xfrm>
                <a:off x="4175781" y="2247828"/>
                <a:ext cx="83351" cy="112717"/>
              </a:xfrm>
              <a:custGeom>
                <a:avLst/>
                <a:gdLst>
                  <a:gd name="connsiteX0" fmla="*/ 83352 w 83351"/>
                  <a:gd name="connsiteY0" fmla="*/ 0 h 112717"/>
                  <a:gd name="connsiteX1" fmla="*/ 52169 w 83351"/>
                  <a:gd name="connsiteY1" fmla="*/ 82816 h 112717"/>
                  <a:gd name="connsiteX2" fmla="*/ 18289 w 83351"/>
                  <a:gd name="connsiteY2" fmla="*/ 112700 h 112717"/>
                  <a:gd name="connsiteX3" fmla="*/ 4123 w 83351"/>
                  <a:gd name="connsiteY3" fmla="*/ 110750 h 112717"/>
                  <a:gd name="connsiteX4" fmla="*/ 4123 w 83351"/>
                  <a:gd name="connsiteY4" fmla="*/ 91886 h 112717"/>
                  <a:gd name="connsiteX5" fmla="*/ 14396 w 83351"/>
                  <a:gd name="connsiteY5" fmla="*/ 94647 h 112717"/>
                  <a:gd name="connsiteX6" fmla="*/ 27137 w 83351"/>
                  <a:gd name="connsiteY6" fmla="*/ 86036 h 112717"/>
                  <a:gd name="connsiteX7" fmla="*/ 31183 w 83351"/>
                  <a:gd name="connsiteY7" fmla="*/ 76528 h 112717"/>
                  <a:gd name="connsiteX8" fmla="*/ 0 w 83351"/>
                  <a:gd name="connsiteY8" fmla="*/ 0 h 112717"/>
                  <a:gd name="connsiteX9" fmla="*/ 26238 w 83351"/>
                  <a:gd name="connsiteY9" fmla="*/ 0 h 112717"/>
                  <a:gd name="connsiteX10" fmla="*/ 40546 w 83351"/>
                  <a:gd name="connsiteY10" fmla="*/ 46655 h 112717"/>
                  <a:gd name="connsiteX11" fmla="*/ 42652 w 83351"/>
                  <a:gd name="connsiteY11" fmla="*/ 56908 h 112717"/>
                  <a:gd name="connsiteX12" fmla="*/ 42948 w 83351"/>
                  <a:gd name="connsiteY12" fmla="*/ 56908 h 112717"/>
                  <a:gd name="connsiteX13" fmla="*/ 45426 w 83351"/>
                  <a:gd name="connsiteY13" fmla="*/ 46798 h 112717"/>
                  <a:gd name="connsiteX14" fmla="*/ 59888 w 83351"/>
                  <a:gd name="connsiteY14" fmla="*/ 0 h 11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51" h="112717">
                    <a:moveTo>
                      <a:pt x="83352" y="0"/>
                    </a:moveTo>
                    <a:lnTo>
                      <a:pt x="52169" y="82816"/>
                    </a:lnTo>
                    <a:cubicBezTo>
                      <a:pt x="44669" y="102745"/>
                      <a:pt x="33376" y="112707"/>
                      <a:pt x="18289" y="112700"/>
                    </a:cubicBezTo>
                    <a:cubicBezTo>
                      <a:pt x="13486" y="112838"/>
                      <a:pt x="8706" y="112179"/>
                      <a:pt x="4123" y="110750"/>
                    </a:cubicBezTo>
                    <a:lnTo>
                      <a:pt x="4123" y="91886"/>
                    </a:lnTo>
                    <a:cubicBezTo>
                      <a:pt x="7237" y="93717"/>
                      <a:pt x="10789" y="94670"/>
                      <a:pt x="14396" y="94647"/>
                    </a:cubicBezTo>
                    <a:cubicBezTo>
                      <a:pt x="20087" y="94921"/>
                      <a:pt x="25273" y="91414"/>
                      <a:pt x="27137" y="86036"/>
                    </a:cubicBezTo>
                    <a:lnTo>
                      <a:pt x="31183" y="76528"/>
                    </a:lnTo>
                    <a:lnTo>
                      <a:pt x="0" y="0"/>
                    </a:lnTo>
                    <a:lnTo>
                      <a:pt x="26238" y="0"/>
                    </a:lnTo>
                    <a:lnTo>
                      <a:pt x="40546" y="46655"/>
                    </a:lnTo>
                    <a:cubicBezTo>
                      <a:pt x="41544" y="50005"/>
                      <a:pt x="42246" y="53436"/>
                      <a:pt x="42652" y="56908"/>
                    </a:cubicBezTo>
                    <a:lnTo>
                      <a:pt x="42948" y="56908"/>
                    </a:lnTo>
                    <a:cubicBezTo>
                      <a:pt x="43529" y="53482"/>
                      <a:pt x="44351" y="50102"/>
                      <a:pt x="45426" y="46798"/>
                    </a:cubicBezTo>
                    <a:lnTo>
                      <a:pt x="59888"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8" name="Graphic 2" descr="Diagram showing responsibility zones.">
              <a:extLst>
                <a:ext uri="{FF2B5EF4-FFF2-40B4-BE49-F238E27FC236}">
                  <a16:creationId xmlns:a16="http://schemas.microsoft.com/office/drawing/2014/main" id="{17442CF0-245A-78F8-ECA0-F94DE0E74EA6}"/>
                </a:ext>
              </a:extLst>
            </p:cNvPr>
            <p:cNvGrpSpPr/>
            <p:nvPr/>
          </p:nvGrpSpPr>
          <p:grpSpPr>
            <a:xfrm>
              <a:off x="7289894" y="1525989"/>
              <a:ext cx="325877" cy="111149"/>
              <a:chOff x="5882017" y="2215323"/>
              <a:chExt cx="325877" cy="111149"/>
            </a:xfrm>
            <a:solidFill>
              <a:srgbClr val="2F2F2F"/>
            </a:solidFill>
          </p:grpSpPr>
          <p:sp>
            <p:nvSpPr>
              <p:cNvPr id="161" name="Freeform: Shape 160">
                <a:extLst>
                  <a:ext uri="{FF2B5EF4-FFF2-40B4-BE49-F238E27FC236}">
                    <a16:creationId xmlns:a16="http://schemas.microsoft.com/office/drawing/2014/main" id="{4CAB0266-2C24-F92E-B4B6-3D2148B09F80}"/>
                  </a:ext>
                </a:extLst>
              </p:cNvPr>
              <p:cNvSpPr/>
              <p:nvPr/>
            </p:nvSpPr>
            <p:spPr>
              <a:xfrm>
                <a:off x="5882017" y="2215323"/>
                <a:ext cx="73729" cy="111071"/>
              </a:xfrm>
              <a:custGeom>
                <a:avLst/>
                <a:gdLst>
                  <a:gd name="connsiteX0" fmla="*/ 493 w 73729"/>
                  <a:gd name="connsiteY0" fmla="*/ 105068 h 111071"/>
                  <a:gd name="connsiteX1" fmla="*/ 493 w 73729"/>
                  <a:gd name="connsiteY1" fmla="*/ 81099 h 111071"/>
                  <a:gd name="connsiteX2" fmla="*/ 14658 w 73729"/>
                  <a:gd name="connsiteY2" fmla="*/ 89304 h 111071"/>
                  <a:gd name="connsiteX3" fmla="*/ 30096 w 73729"/>
                  <a:gd name="connsiteY3" fmla="*/ 92032 h 111071"/>
                  <a:gd name="connsiteX4" fmla="*/ 38079 w 73729"/>
                  <a:gd name="connsiteY4" fmla="*/ 91210 h 111071"/>
                  <a:gd name="connsiteX5" fmla="*/ 43780 w 73729"/>
                  <a:gd name="connsiteY5" fmla="*/ 88932 h 111071"/>
                  <a:gd name="connsiteX6" fmla="*/ 47190 w 73729"/>
                  <a:gd name="connsiteY6" fmla="*/ 85481 h 111071"/>
                  <a:gd name="connsiteX7" fmla="*/ 48286 w 73729"/>
                  <a:gd name="connsiteY7" fmla="*/ 81176 h 111071"/>
                  <a:gd name="connsiteX8" fmla="*/ 46488 w 73729"/>
                  <a:gd name="connsiteY8" fmla="*/ 75556 h 111071"/>
                  <a:gd name="connsiteX9" fmla="*/ 41565 w 73729"/>
                  <a:gd name="connsiteY9" fmla="*/ 70999 h 111071"/>
                  <a:gd name="connsiteX10" fmla="*/ 34186 w 73729"/>
                  <a:gd name="connsiteY10" fmla="*/ 66946 h 111071"/>
                  <a:gd name="connsiteX11" fmla="*/ 24976 w 73729"/>
                  <a:gd name="connsiteY11" fmla="*/ 62981 h 111071"/>
                  <a:gd name="connsiteX12" fmla="*/ 6194 w 73729"/>
                  <a:gd name="connsiteY12" fmla="*/ 50175 h 111071"/>
                  <a:gd name="connsiteX13" fmla="*/ 10 w 73729"/>
                  <a:gd name="connsiteY13" fmla="*/ 31903 h 111071"/>
                  <a:gd name="connsiteX14" fmla="*/ 3387 w 73729"/>
                  <a:gd name="connsiteY14" fmla="*/ 17487 h 111071"/>
                  <a:gd name="connsiteX15" fmla="*/ 12564 w 73729"/>
                  <a:gd name="connsiteY15" fmla="*/ 7562 h 111071"/>
                  <a:gd name="connsiteX16" fmla="*/ 26018 w 73729"/>
                  <a:gd name="connsiteY16" fmla="*/ 1844 h 111071"/>
                  <a:gd name="connsiteX17" fmla="*/ 42212 w 73729"/>
                  <a:gd name="connsiteY17" fmla="*/ 3 h 111071"/>
                  <a:gd name="connsiteX18" fmla="*/ 57080 w 73729"/>
                  <a:gd name="connsiteY18" fmla="*/ 1011 h 111071"/>
                  <a:gd name="connsiteX19" fmla="*/ 69042 w 73729"/>
                  <a:gd name="connsiteY19" fmla="*/ 4122 h 111071"/>
                  <a:gd name="connsiteX20" fmla="*/ 69042 w 73729"/>
                  <a:gd name="connsiteY20" fmla="*/ 26469 h 111071"/>
                  <a:gd name="connsiteX21" fmla="*/ 63154 w 73729"/>
                  <a:gd name="connsiteY21" fmla="*/ 23183 h 111071"/>
                  <a:gd name="connsiteX22" fmla="*/ 56575 w 73729"/>
                  <a:gd name="connsiteY22" fmla="*/ 20828 h 111071"/>
                  <a:gd name="connsiteX23" fmla="*/ 49865 w 73729"/>
                  <a:gd name="connsiteY23" fmla="*/ 19437 h 111071"/>
                  <a:gd name="connsiteX24" fmla="*/ 43539 w 73729"/>
                  <a:gd name="connsiteY24" fmla="*/ 18988 h 111071"/>
                  <a:gd name="connsiteX25" fmla="*/ 36039 w 73729"/>
                  <a:gd name="connsiteY25" fmla="*/ 19776 h 111071"/>
                  <a:gd name="connsiteX26" fmla="*/ 30348 w 73729"/>
                  <a:gd name="connsiteY26" fmla="*/ 21967 h 111071"/>
                  <a:gd name="connsiteX27" fmla="*/ 26752 w 73729"/>
                  <a:gd name="connsiteY27" fmla="*/ 25374 h 111071"/>
                  <a:gd name="connsiteX28" fmla="*/ 25469 w 73729"/>
                  <a:gd name="connsiteY28" fmla="*/ 29832 h 111071"/>
                  <a:gd name="connsiteX29" fmla="*/ 26895 w 73729"/>
                  <a:gd name="connsiteY29" fmla="*/ 34652 h 111071"/>
                  <a:gd name="connsiteX30" fmla="*/ 30941 w 73729"/>
                  <a:gd name="connsiteY30" fmla="*/ 38706 h 111071"/>
                  <a:gd name="connsiteX31" fmla="*/ 37322 w 73729"/>
                  <a:gd name="connsiteY31" fmla="*/ 42441 h 111071"/>
                  <a:gd name="connsiteX32" fmla="*/ 45787 w 73729"/>
                  <a:gd name="connsiteY32" fmla="*/ 46231 h 111071"/>
                  <a:gd name="connsiteX33" fmla="*/ 57365 w 73729"/>
                  <a:gd name="connsiteY33" fmla="*/ 51960 h 111071"/>
                  <a:gd name="connsiteX34" fmla="*/ 66136 w 73729"/>
                  <a:gd name="connsiteY34" fmla="*/ 58807 h 111071"/>
                  <a:gd name="connsiteX35" fmla="*/ 71761 w 73729"/>
                  <a:gd name="connsiteY35" fmla="*/ 67571 h 111071"/>
                  <a:gd name="connsiteX36" fmla="*/ 73713 w 73729"/>
                  <a:gd name="connsiteY36" fmla="*/ 78996 h 111071"/>
                  <a:gd name="connsiteX37" fmla="*/ 70292 w 73729"/>
                  <a:gd name="connsiteY37" fmla="*/ 94080 h 111071"/>
                  <a:gd name="connsiteX38" fmla="*/ 61049 w 73729"/>
                  <a:gd name="connsiteY38" fmla="*/ 103939 h 111071"/>
                  <a:gd name="connsiteX39" fmla="*/ 47431 w 73729"/>
                  <a:gd name="connsiteY39" fmla="*/ 109417 h 111071"/>
                  <a:gd name="connsiteX40" fmla="*/ 31061 w 73729"/>
                  <a:gd name="connsiteY40" fmla="*/ 111071 h 111071"/>
                  <a:gd name="connsiteX41" fmla="*/ 14231 w 73729"/>
                  <a:gd name="connsiteY41" fmla="*/ 109570 h 111071"/>
                  <a:gd name="connsiteX42" fmla="*/ 493 w 73729"/>
                  <a:gd name="connsiteY42" fmla="*/ 105068 h 11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3729" h="111071">
                    <a:moveTo>
                      <a:pt x="493" y="105068"/>
                    </a:moveTo>
                    <a:lnTo>
                      <a:pt x="493" y="81099"/>
                    </a:lnTo>
                    <a:cubicBezTo>
                      <a:pt x="4692" y="84655"/>
                      <a:pt x="9483" y="87433"/>
                      <a:pt x="14658" y="89304"/>
                    </a:cubicBezTo>
                    <a:cubicBezTo>
                      <a:pt x="19604" y="91096"/>
                      <a:pt x="24834" y="92020"/>
                      <a:pt x="30096" y="92032"/>
                    </a:cubicBezTo>
                    <a:cubicBezTo>
                      <a:pt x="32783" y="92071"/>
                      <a:pt x="35458" y="91795"/>
                      <a:pt x="38079" y="91210"/>
                    </a:cubicBezTo>
                    <a:cubicBezTo>
                      <a:pt x="40096" y="90771"/>
                      <a:pt x="42015" y="90001"/>
                      <a:pt x="43780" y="88932"/>
                    </a:cubicBezTo>
                    <a:cubicBezTo>
                      <a:pt x="45183" y="88081"/>
                      <a:pt x="46356" y="86895"/>
                      <a:pt x="47190" y="85481"/>
                    </a:cubicBezTo>
                    <a:cubicBezTo>
                      <a:pt x="47924" y="84167"/>
                      <a:pt x="48308" y="82682"/>
                      <a:pt x="48286" y="81176"/>
                    </a:cubicBezTo>
                    <a:cubicBezTo>
                      <a:pt x="48308" y="79158"/>
                      <a:pt x="47672" y="77188"/>
                      <a:pt x="46488" y="75556"/>
                    </a:cubicBezTo>
                    <a:cubicBezTo>
                      <a:pt x="45128" y="73762"/>
                      <a:pt x="43462" y="72220"/>
                      <a:pt x="41565" y="70999"/>
                    </a:cubicBezTo>
                    <a:cubicBezTo>
                      <a:pt x="39219" y="69446"/>
                      <a:pt x="36752" y="68090"/>
                      <a:pt x="34186" y="66946"/>
                    </a:cubicBezTo>
                    <a:cubicBezTo>
                      <a:pt x="31346" y="65654"/>
                      <a:pt x="28265" y="64328"/>
                      <a:pt x="24976" y="62981"/>
                    </a:cubicBezTo>
                    <a:cubicBezTo>
                      <a:pt x="17761" y="60313"/>
                      <a:pt x="11314" y="55916"/>
                      <a:pt x="6194" y="50175"/>
                    </a:cubicBezTo>
                    <a:cubicBezTo>
                      <a:pt x="2027" y="45011"/>
                      <a:pt x="-165" y="38534"/>
                      <a:pt x="10" y="31903"/>
                    </a:cubicBezTo>
                    <a:cubicBezTo>
                      <a:pt x="-121" y="26887"/>
                      <a:pt x="1041" y="21921"/>
                      <a:pt x="3387" y="17487"/>
                    </a:cubicBezTo>
                    <a:cubicBezTo>
                      <a:pt x="5613" y="13496"/>
                      <a:pt x="8760" y="10094"/>
                      <a:pt x="12564" y="7562"/>
                    </a:cubicBezTo>
                    <a:cubicBezTo>
                      <a:pt x="16676" y="4869"/>
                      <a:pt x="21226" y="2933"/>
                      <a:pt x="26018" y="1844"/>
                    </a:cubicBezTo>
                    <a:cubicBezTo>
                      <a:pt x="31325" y="593"/>
                      <a:pt x="36763" y="-25"/>
                      <a:pt x="42212" y="3"/>
                    </a:cubicBezTo>
                    <a:cubicBezTo>
                      <a:pt x="47190" y="-38"/>
                      <a:pt x="52157" y="298"/>
                      <a:pt x="57080" y="1011"/>
                    </a:cubicBezTo>
                    <a:cubicBezTo>
                      <a:pt x="61169" y="1629"/>
                      <a:pt x="65171" y="2672"/>
                      <a:pt x="69042" y="4122"/>
                    </a:cubicBezTo>
                    <a:lnTo>
                      <a:pt x="69042" y="26469"/>
                    </a:lnTo>
                    <a:cubicBezTo>
                      <a:pt x="67189" y="25194"/>
                      <a:pt x="65215" y="24093"/>
                      <a:pt x="63154" y="23183"/>
                    </a:cubicBezTo>
                    <a:cubicBezTo>
                      <a:pt x="61027" y="22237"/>
                      <a:pt x="58823" y="21449"/>
                      <a:pt x="56575" y="20828"/>
                    </a:cubicBezTo>
                    <a:cubicBezTo>
                      <a:pt x="54372" y="20214"/>
                      <a:pt x="52135" y="19750"/>
                      <a:pt x="49865" y="19437"/>
                    </a:cubicBezTo>
                    <a:cubicBezTo>
                      <a:pt x="47771" y="19147"/>
                      <a:pt x="45655" y="18997"/>
                      <a:pt x="43539" y="18988"/>
                    </a:cubicBezTo>
                    <a:cubicBezTo>
                      <a:pt x="41017" y="18962"/>
                      <a:pt x="38495" y="19227"/>
                      <a:pt x="36039" y="19776"/>
                    </a:cubicBezTo>
                    <a:cubicBezTo>
                      <a:pt x="34033" y="20195"/>
                      <a:pt x="32114" y="20935"/>
                      <a:pt x="30348" y="21967"/>
                    </a:cubicBezTo>
                    <a:cubicBezTo>
                      <a:pt x="28901" y="22808"/>
                      <a:pt x="27673" y="23975"/>
                      <a:pt x="26752" y="25374"/>
                    </a:cubicBezTo>
                    <a:cubicBezTo>
                      <a:pt x="25897" y="26702"/>
                      <a:pt x="25448" y="28253"/>
                      <a:pt x="25469" y="29832"/>
                    </a:cubicBezTo>
                    <a:cubicBezTo>
                      <a:pt x="25448" y="31547"/>
                      <a:pt x="25941" y="33228"/>
                      <a:pt x="26895" y="34652"/>
                    </a:cubicBezTo>
                    <a:cubicBezTo>
                      <a:pt x="27991" y="36232"/>
                      <a:pt x="29362" y="37605"/>
                      <a:pt x="30941" y="38706"/>
                    </a:cubicBezTo>
                    <a:cubicBezTo>
                      <a:pt x="32958" y="40134"/>
                      <a:pt x="35085" y="41384"/>
                      <a:pt x="37322" y="42441"/>
                    </a:cubicBezTo>
                    <a:cubicBezTo>
                      <a:pt x="39811" y="43668"/>
                      <a:pt x="42640" y="44928"/>
                      <a:pt x="45787" y="46231"/>
                    </a:cubicBezTo>
                    <a:cubicBezTo>
                      <a:pt x="49777" y="47871"/>
                      <a:pt x="53648" y="49786"/>
                      <a:pt x="57365" y="51960"/>
                    </a:cubicBezTo>
                    <a:cubicBezTo>
                      <a:pt x="60588" y="53834"/>
                      <a:pt x="63538" y="56137"/>
                      <a:pt x="66136" y="58807"/>
                    </a:cubicBezTo>
                    <a:cubicBezTo>
                      <a:pt x="68560" y="61335"/>
                      <a:pt x="70478" y="64312"/>
                      <a:pt x="71761" y="67571"/>
                    </a:cubicBezTo>
                    <a:cubicBezTo>
                      <a:pt x="73121" y="71223"/>
                      <a:pt x="73789" y="75099"/>
                      <a:pt x="73713" y="78996"/>
                    </a:cubicBezTo>
                    <a:cubicBezTo>
                      <a:pt x="73888" y="84235"/>
                      <a:pt x="72715" y="89430"/>
                      <a:pt x="70292" y="94080"/>
                    </a:cubicBezTo>
                    <a:cubicBezTo>
                      <a:pt x="68077" y="98081"/>
                      <a:pt x="64897" y="101469"/>
                      <a:pt x="61049" y="103939"/>
                    </a:cubicBezTo>
                    <a:cubicBezTo>
                      <a:pt x="56882" y="106585"/>
                      <a:pt x="52266" y="108442"/>
                      <a:pt x="47431" y="109417"/>
                    </a:cubicBezTo>
                    <a:cubicBezTo>
                      <a:pt x="42048" y="110538"/>
                      <a:pt x="36565" y="111093"/>
                      <a:pt x="31061" y="111071"/>
                    </a:cubicBezTo>
                    <a:cubicBezTo>
                      <a:pt x="25415" y="111092"/>
                      <a:pt x="19779" y="110590"/>
                      <a:pt x="14231" y="109570"/>
                    </a:cubicBezTo>
                    <a:cubicBezTo>
                      <a:pt x="9461" y="108730"/>
                      <a:pt x="4834" y="107214"/>
                      <a:pt x="493" y="10506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2" name="Freeform: Shape 161">
                <a:extLst>
                  <a:ext uri="{FF2B5EF4-FFF2-40B4-BE49-F238E27FC236}">
                    <a16:creationId xmlns:a16="http://schemas.microsoft.com/office/drawing/2014/main" id="{117749A7-1EB5-5579-9887-7F749E99DC92}"/>
                  </a:ext>
                </a:extLst>
              </p:cNvPr>
              <p:cNvSpPr/>
              <p:nvPr/>
            </p:nvSpPr>
            <p:spPr>
              <a:xfrm>
                <a:off x="5965934" y="2245647"/>
                <a:ext cx="69923" cy="80825"/>
              </a:xfrm>
              <a:custGeom>
                <a:avLst/>
                <a:gdLst>
                  <a:gd name="connsiteX0" fmla="*/ 69561 w 69923"/>
                  <a:gd name="connsiteY0" fmla="*/ 78862 h 80825"/>
                  <a:gd name="connsiteX1" fmla="*/ 47150 w 69923"/>
                  <a:gd name="connsiteY1" fmla="*/ 78862 h 80825"/>
                  <a:gd name="connsiteX2" fmla="*/ 47150 w 69923"/>
                  <a:gd name="connsiteY2" fmla="*/ 67908 h 80825"/>
                  <a:gd name="connsiteX3" fmla="*/ 46843 w 69923"/>
                  <a:gd name="connsiteY3" fmla="*/ 67908 h 80825"/>
                  <a:gd name="connsiteX4" fmla="*/ 23982 w 69923"/>
                  <a:gd name="connsiteY4" fmla="*/ 80790 h 80825"/>
                  <a:gd name="connsiteX5" fmla="*/ 6439 w 69923"/>
                  <a:gd name="connsiteY5" fmla="*/ 74459 h 80825"/>
                  <a:gd name="connsiteX6" fmla="*/ 25 w 69923"/>
                  <a:gd name="connsiteY6" fmla="*/ 57578 h 80825"/>
                  <a:gd name="connsiteX7" fmla="*/ 26482 w 69923"/>
                  <a:gd name="connsiteY7" fmla="*/ 31813 h 80825"/>
                  <a:gd name="connsiteX8" fmla="*/ 47315 w 69923"/>
                  <a:gd name="connsiteY8" fmla="*/ 29041 h 80825"/>
                  <a:gd name="connsiteX9" fmla="*/ 33675 w 69923"/>
                  <a:gd name="connsiteY9" fmla="*/ 16466 h 80825"/>
                  <a:gd name="connsiteX10" fmla="*/ 7591 w 69923"/>
                  <a:gd name="connsiteY10" fmla="*/ 24627 h 80825"/>
                  <a:gd name="connsiteX11" fmla="*/ 7591 w 69923"/>
                  <a:gd name="connsiteY11" fmla="*/ 6749 h 80825"/>
                  <a:gd name="connsiteX12" fmla="*/ 21132 w 69923"/>
                  <a:gd name="connsiteY12" fmla="*/ 2258 h 80825"/>
                  <a:gd name="connsiteX13" fmla="*/ 36745 w 69923"/>
                  <a:gd name="connsiteY13" fmla="*/ 308 h 80825"/>
                  <a:gd name="connsiteX14" fmla="*/ 69616 w 69923"/>
                  <a:gd name="connsiteY14" fmla="*/ 24781 h 80825"/>
                  <a:gd name="connsiteX15" fmla="*/ 69638 w 69923"/>
                  <a:gd name="connsiteY15" fmla="*/ 33029 h 80825"/>
                  <a:gd name="connsiteX16" fmla="*/ 47293 w 69923"/>
                  <a:gd name="connsiteY16" fmla="*/ 47708 h 80825"/>
                  <a:gd name="connsiteX17" fmla="*/ 47293 w 69923"/>
                  <a:gd name="connsiteY17" fmla="*/ 42537 h 80825"/>
                  <a:gd name="connsiteX18" fmla="*/ 33357 w 69923"/>
                  <a:gd name="connsiteY18" fmla="*/ 44334 h 80825"/>
                  <a:gd name="connsiteX19" fmla="*/ 21811 w 69923"/>
                  <a:gd name="connsiteY19" fmla="*/ 54752 h 80825"/>
                  <a:gd name="connsiteX20" fmla="*/ 24629 w 69923"/>
                  <a:gd name="connsiteY20" fmla="*/ 61379 h 80825"/>
                  <a:gd name="connsiteX21" fmla="*/ 32228 w 69923"/>
                  <a:gd name="connsiteY21" fmla="*/ 63953 h 80825"/>
                  <a:gd name="connsiteX22" fmla="*/ 43093 w 69923"/>
                  <a:gd name="connsiteY22" fmla="*/ 59352 h 80825"/>
                  <a:gd name="connsiteX23" fmla="*/ 47249 w 69923"/>
                  <a:gd name="connsiteY23" fmla="*/ 47708 h 8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923" h="80825">
                    <a:moveTo>
                      <a:pt x="69561" y="78862"/>
                    </a:moveTo>
                    <a:lnTo>
                      <a:pt x="47150" y="78862"/>
                    </a:lnTo>
                    <a:lnTo>
                      <a:pt x="47150" y="67908"/>
                    </a:lnTo>
                    <a:lnTo>
                      <a:pt x="46843" y="67908"/>
                    </a:lnTo>
                    <a:cubicBezTo>
                      <a:pt x="42271" y="76175"/>
                      <a:pt x="33423" y="81159"/>
                      <a:pt x="23982" y="80790"/>
                    </a:cubicBezTo>
                    <a:cubicBezTo>
                      <a:pt x="17513" y="81141"/>
                      <a:pt x="11187" y="78856"/>
                      <a:pt x="6439" y="74459"/>
                    </a:cubicBezTo>
                    <a:cubicBezTo>
                      <a:pt x="2054" y="69963"/>
                      <a:pt x="-271" y="63849"/>
                      <a:pt x="25" y="57578"/>
                    </a:cubicBezTo>
                    <a:cubicBezTo>
                      <a:pt x="25" y="42702"/>
                      <a:pt x="8841" y="34113"/>
                      <a:pt x="26482" y="31813"/>
                    </a:cubicBezTo>
                    <a:lnTo>
                      <a:pt x="47315" y="29041"/>
                    </a:lnTo>
                    <a:cubicBezTo>
                      <a:pt x="47315" y="20650"/>
                      <a:pt x="42765" y="16458"/>
                      <a:pt x="33675" y="16466"/>
                    </a:cubicBezTo>
                    <a:cubicBezTo>
                      <a:pt x="24355" y="16516"/>
                      <a:pt x="15277" y="19360"/>
                      <a:pt x="7591" y="24627"/>
                    </a:cubicBezTo>
                    <a:lnTo>
                      <a:pt x="7591" y="6749"/>
                    </a:lnTo>
                    <a:cubicBezTo>
                      <a:pt x="11900" y="4704"/>
                      <a:pt x="16450" y="3195"/>
                      <a:pt x="21132" y="2258"/>
                    </a:cubicBezTo>
                    <a:cubicBezTo>
                      <a:pt x="26252" y="1030"/>
                      <a:pt x="31482" y="376"/>
                      <a:pt x="36745" y="308"/>
                    </a:cubicBezTo>
                    <a:cubicBezTo>
                      <a:pt x="52589" y="-2004"/>
                      <a:pt x="67303" y="8953"/>
                      <a:pt x="69616" y="24781"/>
                    </a:cubicBezTo>
                    <a:cubicBezTo>
                      <a:pt x="70022" y="27515"/>
                      <a:pt x="70022" y="30292"/>
                      <a:pt x="69638" y="33029"/>
                    </a:cubicBezTo>
                    <a:close/>
                    <a:moveTo>
                      <a:pt x="47293" y="47708"/>
                    </a:moveTo>
                    <a:lnTo>
                      <a:pt x="47293" y="42537"/>
                    </a:lnTo>
                    <a:lnTo>
                      <a:pt x="33357" y="44334"/>
                    </a:lnTo>
                    <a:cubicBezTo>
                      <a:pt x="25671" y="45342"/>
                      <a:pt x="21822" y="48814"/>
                      <a:pt x="21811" y="54752"/>
                    </a:cubicBezTo>
                    <a:cubicBezTo>
                      <a:pt x="21735" y="57266"/>
                      <a:pt x="22765" y="59686"/>
                      <a:pt x="24629" y="61379"/>
                    </a:cubicBezTo>
                    <a:cubicBezTo>
                      <a:pt x="26735" y="63180"/>
                      <a:pt x="29454" y="64102"/>
                      <a:pt x="32228" y="63953"/>
                    </a:cubicBezTo>
                    <a:cubicBezTo>
                      <a:pt x="36350" y="64095"/>
                      <a:pt x="40330" y="62411"/>
                      <a:pt x="43093" y="59352"/>
                    </a:cubicBezTo>
                    <a:cubicBezTo>
                      <a:pt x="45922" y="56150"/>
                      <a:pt x="47413" y="51979"/>
                      <a:pt x="47249" y="4770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3" name="Freeform: Shape 162">
                <a:extLst>
                  <a:ext uri="{FF2B5EF4-FFF2-40B4-BE49-F238E27FC236}">
                    <a16:creationId xmlns:a16="http://schemas.microsoft.com/office/drawing/2014/main" id="{97C60584-923A-AB62-8940-0A1B6E32F62B}"/>
                  </a:ext>
                </a:extLst>
              </p:cNvPr>
              <p:cNvSpPr/>
              <p:nvPr/>
            </p:nvSpPr>
            <p:spPr>
              <a:xfrm>
                <a:off x="6048847" y="2245655"/>
                <a:ext cx="69858" cy="80817"/>
              </a:xfrm>
              <a:custGeom>
                <a:avLst/>
                <a:gdLst>
                  <a:gd name="connsiteX0" fmla="*/ 69550 w 69858"/>
                  <a:gd name="connsiteY0" fmla="*/ 78855 h 80817"/>
                  <a:gd name="connsiteX1" fmla="*/ 47139 w 69858"/>
                  <a:gd name="connsiteY1" fmla="*/ 78855 h 80817"/>
                  <a:gd name="connsiteX2" fmla="*/ 47139 w 69858"/>
                  <a:gd name="connsiteY2" fmla="*/ 67900 h 80817"/>
                  <a:gd name="connsiteX3" fmla="*/ 46843 w 69858"/>
                  <a:gd name="connsiteY3" fmla="*/ 67900 h 80817"/>
                  <a:gd name="connsiteX4" fmla="*/ 23982 w 69858"/>
                  <a:gd name="connsiteY4" fmla="*/ 80783 h 80817"/>
                  <a:gd name="connsiteX5" fmla="*/ 6439 w 69858"/>
                  <a:gd name="connsiteY5" fmla="*/ 74451 h 80817"/>
                  <a:gd name="connsiteX6" fmla="*/ 25 w 69858"/>
                  <a:gd name="connsiteY6" fmla="*/ 57570 h 80817"/>
                  <a:gd name="connsiteX7" fmla="*/ 26482 w 69858"/>
                  <a:gd name="connsiteY7" fmla="*/ 31805 h 80817"/>
                  <a:gd name="connsiteX8" fmla="*/ 47314 w 69858"/>
                  <a:gd name="connsiteY8" fmla="*/ 29034 h 80817"/>
                  <a:gd name="connsiteX9" fmla="*/ 33675 w 69858"/>
                  <a:gd name="connsiteY9" fmla="*/ 16458 h 80817"/>
                  <a:gd name="connsiteX10" fmla="*/ 7591 w 69858"/>
                  <a:gd name="connsiteY10" fmla="*/ 24619 h 80817"/>
                  <a:gd name="connsiteX11" fmla="*/ 7591 w 69858"/>
                  <a:gd name="connsiteY11" fmla="*/ 6741 h 80817"/>
                  <a:gd name="connsiteX12" fmla="*/ 21120 w 69858"/>
                  <a:gd name="connsiteY12" fmla="*/ 2250 h 80817"/>
                  <a:gd name="connsiteX13" fmla="*/ 36745 w 69858"/>
                  <a:gd name="connsiteY13" fmla="*/ 300 h 80817"/>
                  <a:gd name="connsiteX14" fmla="*/ 69561 w 69858"/>
                  <a:gd name="connsiteY14" fmla="*/ 24825 h 80817"/>
                  <a:gd name="connsiteX15" fmla="*/ 69572 w 69858"/>
                  <a:gd name="connsiteY15" fmla="*/ 33021 h 80817"/>
                  <a:gd name="connsiteX16" fmla="*/ 47293 w 69858"/>
                  <a:gd name="connsiteY16" fmla="*/ 47700 h 80817"/>
                  <a:gd name="connsiteX17" fmla="*/ 47293 w 69858"/>
                  <a:gd name="connsiteY17" fmla="*/ 42530 h 80817"/>
                  <a:gd name="connsiteX18" fmla="*/ 33346 w 69858"/>
                  <a:gd name="connsiteY18" fmla="*/ 44326 h 80817"/>
                  <a:gd name="connsiteX19" fmla="*/ 21800 w 69858"/>
                  <a:gd name="connsiteY19" fmla="*/ 54744 h 80817"/>
                  <a:gd name="connsiteX20" fmla="*/ 24618 w 69858"/>
                  <a:gd name="connsiteY20" fmla="*/ 61371 h 80817"/>
                  <a:gd name="connsiteX21" fmla="*/ 32227 w 69858"/>
                  <a:gd name="connsiteY21" fmla="*/ 63946 h 80817"/>
                  <a:gd name="connsiteX22" fmla="*/ 43093 w 69858"/>
                  <a:gd name="connsiteY22" fmla="*/ 59345 h 80817"/>
                  <a:gd name="connsiteX23" fmla="*/ 47293 w 69858"/>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7">
                    <a:moveTo>
                      <a:pt x="69550" y="78855"/>
                    </a:moveTo>
                    <a:lnTo>
                      <a:pt x="47139" y="78855"/>
                    </a:lnTo>
                    <a:lnTo>
                      <a:pt x="47139" y="67900"/>
                    </a:lnTo>
                    <a:lnTo>
                      <a:pt x="46843" y="67900"/>
                    </a:lnTo>
                    <a:cubicBezTo>
                      <a:pt x="42271" y="76167"/>
                      <a:pt x="33423" y="81152"/>
                      <a:pt x="23982" y="80783"/>
                    </a:cubicBezTo>
                    <a:cubicBezTo>
                      <a:pt x="17513" y="81130"/>
                      <a:pt x="11187" y="78846"/>
                      <a:pt x="6439" y="74451"/>
                    </a:cubicBezTo>
                    <a:cubicBezTo>
                      <a:pt x="2054" y="69955"/>
                      <a:pt x="-271" y="63841"/>
                      <a:pt x="25" y="57570"/>
                    </a:cubicBezTo>
                    <a:cubicBezTo>
                      <a:pt x="25" y="42694"/>
                      <a:pt x="8840" y="34106"/>
                      <a:pt x="26482" y="31805"/>
                    </a:cubicBezTo>
                    <a:lnTo>
                      <a:pt x="47314" y="29034"/>
                    </a:lnTo>
                    <a:cubicBezTo>
                      <a:pt x="47314" y="20643"/>
                      <a:pt x="42764" y="16450"/>
                      <a:pt x="33675" y="16458"/>
                    </a:cubicBezTo>
                    <a:cubicBezTo>
                      <a:pt x="24355" y="16508"/>
                      <a:pt x="15277" y="19352"/>
                      <a:pt x="7591" y="24619"/>
                    </a:cubicBezTo>
                    <a:lnTo>
                      <a:pt x="7591" y="6741"/>
                    </a:lnTo>
                    <a:cubicBezTo>
                      <a:pt x="11900" y="4696"/>
                      <a:pt x="16439" y="3188"/>
                      <a:pt x="21120" y="2250"/>
                    </a:cubicBezTo>
                    <a:cubicBezTo>
                      <a:pt x="26241" y="1021"/>
                      <a:pt x="31482" y="367"/>
                      <a:pt x="36745" y="300"/>
                    </a:cubicBezTo>
                    <a:cubicBezTo>
                      <a:pt x="52589" y="-1982"/>
                      <a:pt x="67281" y="8998"/>
                      <a:pt x="69561" y="24825"/>
                    </a:cubicBezTo>
                    <a:cubicBezTo>
                      <a:pt x="69956" y="27543"/>
                      <a:pt x="69956" y="30302"/>
                      <a:pt x="69572" y="33021"/>
                    </a:cubicBezTo>
                    <a:close/>
                    <a:moveTo>
                      <a:pt x="47293" y="47700"/>
                    </a:moveTo>
                    <a:lnTo>
                      <a:pt x="47293" y="42530"/>
                    </a:lnTo>
                    <a:lnTo>
                      <a:pt x="33346" y="44326"/>
                    </a:lnTo>
                    <a:cubicBezTo>
                      <a:pt x="25660" y="45334"/>
                      <a:pt x="21811" y="48806"/>
                      <a:pt x="21800" y="54744"/>
                    </a:cubicBezTo>
                    <a:cubicBezTo>
                      <a:pt x="21724" y="57258"/>
                      <a:pt x="22754" y="59679"/>
                      <a:pt x="24618" y="61371"/>
                    </a:cubicBezTo>
                    <a:cubicBezTo>
                      <a:pt x="26735" y="63173"/>
                      <a:pt x="29454" y="64095"/>
                      <a:pt x="32227" y="63946"/>
                    </a:cubicBezTo>
                    <a:cubicBezTo>
                      <a:pt x="36350" y="64085"/>
                      <a:pt x="40330" y="62402"/>
                      <a:pt x="43093" y="59345"/>
                    </a:cubicBezTo>
                    <a:cubicBezTo>
                      <a:pt x="45944" y="56149"/>
                      <a:pt x="47446" y="51978"/>
                      <a:pt x="47293" y="4770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4" name="Freeform: Shape 163">
                <a:extLst>
                  <a:ext uri="{FF2B5EF4-FFF2-40B4-BE49-F238E27FC236}">
                    <a16:creationId xmlns:a16="http://schemas.microsoft.com/office/drawing/2014/main" id="{7C982C60-0FD3-2D58-D93C-6DFEAA7D31F0}"/>
                  </a:ext>
                </a:extLst>
              </p:cNvPr>
              <p:cNvSpPr/>
              <p:nvPr/>
            </p:nvSpPr>
            <p:spPr>
              <a:xfrm>
                <a:off x="6134165" y="2215367"/>
                <a:ext cx="73729" cy="111027"/>
              </a:xfrm>
              <a:custGeom>
                <a:avLst/>
                <a:gdLst>
                  <a:gd name="connsiteX0" fmla="*/ 503 w 73729"/>
                  <a:gd name="connsiteY0" fmla="*/ 105024 h 111027"/>
                  <a:gd name="connsiteX1" fmla="*/ 503 w 73729"/>
                  <a:gd name="connsiteY1" fmla="*/ 81056 h 111027"/>
                  <a:gd name="connsiteX2" fmla="*/ 14669 w 73729"/>
                  <a:gd name="connsiteY2" fmla="*/ 89260 h 111027"/>
                  <a:gd name="connsiteX3" fmla="*/ 30118 w 73729"/>
                  <a:gd name="connsiteY3" fmla="*/ 91988 h 111027"/>
                  <a:gd name="connsiteX4" fmla="*/ 38089 w 73729"/>
                  <a:gd name="connsiteY4" fmla="*/ 91167 h 111027"/>
                  <a:gd name="connsiteX5" fmla="*/ 43791 w 73729"/>
                  <a:gd name="connsiteY5" fmla="*/ 88888 h 111027"/>
                  <a:gd name="connsiteX6" fmla="*/ 47201 w 73729"/>
                  <a:gd name="connsiteY6" fmla="*/ 85437 h 111027"/>
                  <a:gd name="connsiteX7" fmla="*/ 48297 w 73729"/>
                  <a:gd name="connsiteY7" fmla="*/ 81132 h 111027"/>
                  <a:gd name="connsiteX8" fmla="*/ 46499 w 73729"/>
                  <a:gd name="connsiteY8" fmla="*/ 75513 h 111027"/>
                  <a:gd name="connsiteX9" fmla="*/ 41576 w 73729"/>
                  <a:gd name="connsiteY9" fmla="*/ 70956 h 111027"/>
                  <a:gd name="connsiteX10" fmla="*/ 34197 w 73729"/>
                  <a:gd name="connsiteY10" fmla="*/ 66902 h 111027"/>
                  <a:gd name="connsiteX11" fmla="*/ 24987 w 73729"/>
                  <a:gd name="connsiteY11" fmla="*/ 62937 h 111027"/>
                  <a:gd name="connsiteX12" fmla="*/ 6205 w 73729"/>
                  <a:gd name="connsiteY12" fmla="*/ 50131 h 111027"/>
                  <a:gd name="connsiteX13" fmla="*/ 10 w 73729"/>
                  <a:gd name="connsiteY13" fmla="*/ 31903 h 111027"/>
                  <a:gd name="connsiteX14" fmla="*/ 3387 w 73729"/>
                  <a:gd name="connsiteY14" fmla="*/ 17487 h 111027"/>
                  <a:gd name="connsiteX15" fmla="*/ 12564 w 73729"/>
                  <a:gd name="connsiteY15" fmla="*/ 7562 h 111027"/>
                  <a:gd name="connsiteX16" fmla="*/ 26017 w 73729"/>
                  <a:gd name="connsiteY16" fmla="*/ 1844 h 111027"/>
                  <a:gd name="connsiteX17" fmla="*/ 42212 w 73729"/>
                  <a:gd name="connsiteY17" fmla="*/ 3 h 111027"/>
                  <a:gd name="connsiteX18" fmla="*/ 57080 w 73729"/>
                  <a:gd name="connsiteY18" fmla="*/ 1011 h 111027"/>
                  <a:gd name="connsiteX19" fmla="*/ 69042 w 73729"/>
                  <a:gd name="connsiteY19" fmla="*/ 4122 h 111027"/>
                  <a:gd name="connsiteX20" fmla="*/ 69042 w 73729"/>
                  <a:gd name="connsiteY20" fmla="*/ 26426 h 111027"/>
                  <a:gd name="connsiteX21" fmla="*/ 63154 w 73729"/>
                  <a:gd name="connsiteY21" fmla="*/ 23139 h 111027"/>
                  <a:gd name="connsiteX22" fmla="*/ 56575 w 73729"/>
                  <a:gd name="connsiteY22" fmla="*/ 20784 h 111027"/>
                  <a:gd name="connsiteX23" fmla="*/ 49865 w 73729"/>
                  <a:gd name="connsiteY23" fmla="*/ 19393 h 111027"/>
                  <a:gd name="connsiteX24" fmla="*/ 43539 w 73729"/>
                  <a:gd name="connsiteY24" fmla="*/ 18944 h 111027"/>
                  <a:gd name="connsiteX25" fmla="*/ 36039 w 73729"/>
                  <a:gd name="connsiteY25" fmla="*/ 19732 h 111027"/>
                  <a:gd name="connsiteX26" fmla="*/ 30348 w 73729"/>
                  <a:gd name="connsiteY26" fmla="*/ 21923 h 111027"/>
                  <a:gd name="connsiteX27" fmla="*/ 26752 w 73729"/>
                  <a:gd name="connsiteY27" fmla="*/ 25330 h 111027"/>
                  <a:gd name="connsiteX28" fmla="*/ 25480 w 73729"/>
                  <a:gd name="connsiteY28" fmla="*/ 29789 h 111027"/>
                  <a:gd name="connsiteX29" fmla="*/ 26895 w 73729"/>
                  <a:gd name="connsiteY29" fmla="*/ 34609 h 111027"/>
                  <a:gd name="connsiteX30" fmla="*/ 30951 w 73729"/>
                  <a:gd name="connsiteY30" fmla="*/ 38662 h 111027"/>
                  <a:gd name="connsiteX31" fmla="*/ 37322 w 73729"/>
                  <a:gd name="connsiteY31" fmla="*/ 42397 h 111027"/>
                  <a:gd name="connsiteX32" fmla="*/ 45786 w 73729"/>
                  <a:gd name="connsiteY32" fmla="*/ 46187 h 111027"/>
                  <a:gd name="connsiteX33" fmla="*/ 57365 w 73729"/>
                  <a:gd name="connsiteY33" fmla="*/ 51917 h 111027"/>
                  <a:gd name="connsiteX34" fmla="*/ 66136 w 73729"/>
                  <a:gd name="connsiteY34" fmla="*/ 58763 h 111027"/>
                  <a:gd name="connsiteX35" fmla="*/ 71761 w 73729"/>
                  <a:gd name="connsiteY35" fmla="*/ 67527 h 111027"/>
                  <a:gd name="connsiteX36" fmla="*/ 73713 w 73729"/>
                  <a:gd name="connsiteY36" fmla="*/ 78952 h 111027"/>
                  <a:gd name="connsiteX37" fmla="*/ 70292 w 73729"/>
                  <a:gd name="connsiteY37" fmla="*/ 94037 h 111027"/>
                  <a:gd name="connsiteX38" fmla="*/ 61049 w 73729"/>
                  <a:gd name="connsiteY38" fmla="*/ 103896 h 111027"/>
                  <a:gd name="connsiteX39" fmla="*/ 47431 w 73729"/>
                  <a:gd name="connsiteY39" fmla="*/ 109373 h 111027"/>
                  <a:gd name="connsiteX40" fmla="*/ 31061 w 73729"/>
                  <a:gd name="connsiteY40" fmla="*/ 111027 h 111027"/>
                  <a:gd name="connsiteX41" fmla="*/ 14231 w 73729"/>
                  <a:gd name="connsiteY41" fmla="*/ 109526 h 111027"/>
                  <a:gd name="connsiteX42" fmla="*/ 503 w 73729"/>
                  <a:gd name="connsiteY42" fmla="*/ 105024 h 11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3729" h="111027">
                    <a:moveTo>
                      <a:pt x="503" y="105024"/>
                    </a:moveTo>
                    <a:lnTo>
                      <a:pt x="503" y="81056"/>
                    </a:lnTo>
                    <a:cubicBezTo>
                      <a:pt x="4703" y="84611"/>
                      <a:pt x="9494" y="87389"/>
                      <a:pt x="14669" y="89260"/>
                    </a:cubicBezTo>
                    <a:cubicBezTo>
                      <a:pt x="19625" y="91054"/>
                      <a:pt x="24844" y="91977"/>
                      <a:pt x="30118" y="91988"/>
                    </a:cubicBezTo>
                    <a:cubicBezTo>
                      <a:pt x="32793" y="92026"/>
                      <a:pt x="35469" y="91752"/>
                      <a:pt x="38089" y="91167"/>
                    </a:cubicBezTo>
                    <a:cubicBezTo>
                      <a:pt x="40107" y="90727"/>
                      <a:pt x="42026" y="89957"/>
                      <a:pt x="43791" y="88888"/>
                    </a:cubicBezTo>
                    <a:cubicBezTo>
                      <a:pt x="45194" y="88037"/>
                      <a:pt x="46367" y="86852"/>
                      <a:pt x="47201" y="85437"/>
                    </a:cubicBezTo>
                    <a:cubicBezTo>
                      <a:pt x="47935" y="84123"/>
                      <a:pt x="48319" y="82639"/>
                      <a:pt x="48297" y="81132"/>
                    </a:cubicBezTo>
                    <a:cubicBezTo>
                      <a:pt x="48319" y="79114"/>
                      <a:pt x="47683" y="77144"/>
                      <a:pt x="46499" y="75513"/>
                    </a:cubicBezTo>
                    <a:cubicBezTo>
                      <a:pt x="45139" y="73718"/>
                      <a:pt x="43473" y="72176"/>
                      <a:pt x="41576" y="70956"/>
                    </a:cubicBezTo>
                    <a:cubicBezTo>
                      <a:pt x="39230" y="69402"/>
                      <a:pt x="36763" y="68046"/>
                      <a:pt x="34197" y="66902"/>
                    </a:cubicBezTo>
                    <a:cubicBezTo>
                      <a:pt x="31357" y="65610"/>
                      <a:pt x="28276" y="64284"/>
                      <a:pt x="24987" y="62937"/>
                    </a:cubicBezTo>
                    <a:cubicBezTo>
                      <a:pt x="17772" y="60269"/>
                      <a:pt x="11325" y="55872"/>
                      <a:pt x="6205" y="50131"/>
                    </a:cubicBezTo>
                    <a:cubicBezTo>
                      <a:pt x="2049" y="44980"/>
                      <a:pt x="-155" y="38520"/>
                      <a:pt x="10" y="31903"/>
                    </a:cubicBezTo>
                    <a:cubicBezTo>
                      <a:pt x="-121" y="26887"/>
                      <a:pt x="1041" y="21921"/>
                      <a:pt x="3387" y="17487"/>
                    </a:cubicBezTo>
                    <a:cubicBezTo>
                      <a:pt x="5613" y="13496"/>
                      <a:pt x="8760" y="10094"/>
                      <a:pt x="12564" y="7562"/>
                    </a:cubicBezTo>
                    <a:cubicBezTo>
                      <a:pt x="16676" y="4872"/>
                      <a:pt x="21226" y="2935"/>
                      <a:pt x="26017" y="1844"/>
                    </a:cubicBezTo>
                    <a:cubicBezTo>
                      <a:pt x="31324" y="593"/>
                      <a:pt x="36763" y="-25"/>
                      <a:pt x="42212" y="3"/>
                    </a:cubicBezTo>
                    <a:cubicBezTo>
                      <a:pt x="47190" y="-38"/>
                      <a:pt x="52156" y="298"/>
                      <a:pt x="57080" y="1011"/>
                    </a:cubicBezTo>
                    <a:cubicBezTo>
                      <a:pt x="61169" y="1629"/>
                      <a:pt x="65171" y="2672"/>
                      <a:pt x="69042" y="4122"/>
                    </a:cubicBezTo>
                    <a:lnTo>
                      <a:pt x="69042" y="26426"/>
                    </a:lnTo>
                    <a:cubicBezTo>
                      <a:pt x="67189" y="25151"/>
                      <a:pt x="65215" y="24050"/>
                      <a:pt x="63154" y="23139"/>
                    </a:cubicBezTo>
                    <a:cubicBezTo>
                      <a:pt x="61027" y="22191"/>
                      <a:pt x="58823" y="21404"/>
                      <a:pt x="56575" y="20784"/>
                    </a:cubicBezTo>
                    <a:cubicBezTo>
                      <a:pt x="54372" y="20171"/>
                      <a:pt x="52135" y="19706"/>
                      <a:pt x="49865" y="19393"/>
                    </a:cubicBezTo>
                    <a:cubicBezTo>
                      <a:pt x="47771" y="19104"/>
                      <a:pt x="45655" y="18954"/>
                      <a:pt x="43539" y="18944"/>
                    </a:cubicBezTo>
                    <a:cubicBezTo>
                      <a:pt x="41017" y="18919"/>
                      <a:pt x="38506" y="19184"/>
                      <a:pt x="36039" y="19732"/>
                    </a:cubicBezTo>
                    <a:cubicBezTo>
                      <a:pt x="34033" y="20151"/>
                      <a:pt x="32114" y="20891"/>
                      <a:pt x="30348" y="21923"/>
                    </a:cubicBezTo>
                    <a:cubicBezTo>
                      <a:pt x="28901" y="22765"/>
                      <a:pt x="27673" y="23931"/>
                      <a:pt x="26752" y="25330"/>
                    </a:cubicBezTo>
                    <a:cubicBezTo>
                      <a:pt x="25897" y="26658"/>
                      <a:pt x="25458" y="28210"/>
                      <a:pt x="25480" y="29789"/>
                    </a:cubicBezTo>
                    <a:cubicBezTo>
                      <a:pt x="25448" y="31502"/>
                      <a:pt x="25941" y="33183"/>
                      <a:pt x="26895" y="34609"/>
                    </a:cubicBezTo>
                    <a:cubicBezTo>
                      <a:pt x="27991" y="36190"/>
                      <a:pt x="29373" y="37563"/>
                      <a:pt x="30951" y="38662"/>
                    </a:cubicBezTo>
                    <a:cubicBezTo>
                      <a:pt x="32958" y="40092"/>
                      <a:pt x="35096" y="41343"/>
                      <a:pt x="37322" y="42397"/>
                    </a:cubicBezTo>
                    <a:cubicBezTo>
                      <a:pt x="39811" y="43624"/>
                      <a:pt x="42640" y="44884"/>
                      <a:pt x="45786" y="46187"/>
                    </a:cubicBezTo>
                    <a:cubicBezTo>
                      <a:pt x="49777" y="47827"/>
                      <a:pt x="53637" y="49742"/>
                      <a:pt x="57365" y="51917"/>
                    </a:cubicBezTo>
                    <a:cubicBezTo>
                      <a:pt x="60588" y="53790"/>
                      <a:pt x="63538" y="56094"/>
                      <a:pt x="66136" y="58763"/>
                    </a:cubicBezTo>
                    <a:cubicBezTo>
                      <a:pt x="68559" y="61292"/>
                      <a:pt x="70478" y="64268"/>
                      <a:pt x="71761" y="67527"/>
                    </a:cubicBezTo>
                    <a:cubicBezTo>
                      <a:pt x="73121" y="71179"/>
                      <a:pt x="73789" y="75055"/>
                      <a:pt x="73713" y="78952"/>
                    </a:cubicBezTo>
                    <a:cubicBezTo>
                      <a:pt x="73888" y="84191"/>
                      <a:pt x="72715" y="89386"/>
                      <a:pt x="70292" y="94037"/>
                    </a:cubicBezTo>
                    <a:cubicBezTo>
                      <a:pt x="68077" y="98037"/>
                      <a:pt x="64897" y="101425"/>
                      <a:pt x="61049" y="103896"/>
                    </a:cubicBezTo>
                    <a:cubicBezTo>
                      <a:pt x="56882" y="106541"/>
                      <a:pt x="52266" y="108398"/>
                      <a:pt x="47431" y="109373"/>
                    </a:cubicBezTo>
                    <a:cubicBezTo>
                      <a:pt x="42047" y="110495"/>
                      <a:pt x="36565" y="111049"/>
                      <a:pt x="31061" y="111027"/>
                    </a:cubicBezTo>
                    <a:cubicBezTo>
                      <a:pt x="25414" y="111048"/>
                      <a:pt x="19779" y="110546"/>
                      <a:pt x="14231" y="109526"/>
                    </a:cubicBezTo>
                    <a:cubicBezTo>
                      <a:pt x="9461" y="108685"/>
                      <a:pt x="4845" y="107169"/>
                      <a:pt x="503" y="10502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9" name="Graphic 2" descr="Diagram showing responsibility zones.">
              <a:extLst>
                <a:ext uri="{FF2B5EF4-FFF2-40B4-BE49-F238E27FC236}">
                  <a16:creationId xmlns:a16="http://schemas.microsoft.com/office/drawing/2014/main" id="{5BEE6C0D-3EA6-751F-3255-FA0EC11DF616}"/>
                </a:ext>
              </a:extLst>
            </p:cNvPr>
            <p:cNvGrpSpPr/>
            <p:nvPr/>
          </p:nvGrpSpPr>
          <p:grpSpPr>
            <a:xfrm>
              <a:off x="7864932" y="1525989"/>
              <a:ext cx="325959" cy="111149"/>
              <a:chOff x="6457055" y="2215323"/>
              <a:chExt cx="325959" cy="111149"/>
            </a:xfrm>
            <a:solidFill>
              <a:srgbClr val="2F2F2F"/>
            </a:solidFill>
          </p:grpSpPr>
          <p:sp>
            <p:nvSpPr>
              <p:cNvPr id="157" name="Freeform: Shape 156">
                <a:extLst>
                  <a:ext uri="{FF2B5EF4-FFF2-40B4-BE49-F238E27FC236}">
                    <a16:creationId xmlns:a16="http://schemas.microsoft.com/office/drawing/2014/main" id="{1A08B487-92B1-C396-4B49-5924E82AE5EA}"/>
                  </a:ext>
                </a:extLst>
              </p:cNvPr>
              <p:cNvSpPr/>
              <p:nvPr/>
            </p:nvSpPr>
            <p:spPr>
              <a:xfrm>
                <a:off x="6457055" y="2217156"/>
                <a:ext cx="78566" cy="107353"/>
              </a:xfrm>
              <a:custGeom>
                <a:avLst/>
                <a:gdLst>
                  <a:gd name="connsiteX0" fmla="*/ 24220 w 78566"/>
                  <a:gd name="connsiteY0" fmla="*/ 70361 h 107353"/>
                  <a:gd name="connsiteX1" fmla="*/ 24220 w 78566"/>
                  <a:gd name="connsiteY1" fmla="*/ 107354 h 107353"/>
                  <a:gd name="connsiteX2" fmla="*/ 0 w 78566"/>
                  <a:gd name="connsiteY2" fmla="*/ 107354 h 107353"/>
                  <a:gd name="connsiteX3" fmla="*/ 0 w 78566"/>
                  <a:gd name="connsiteY3" fmla="*/ 0 h 107353"/>
                  <a:gd name="connsiteX4" fmla="*/ 37926 w 78566"/>
                  <a:gd name="connsiteY4" fmla="*/ 0 h 107353"/>
                  <a:gd name="connsiteX5" fmla="*/ 78549 w 78566"/>
                  <a:gd name="connsiteY5" fmla="*/ 34222 h 107353"/>
                  <a:gd name="connsiteX6" fmla="*/ 66894 w 78566"/>
                  <a:gd name="connsiteY6" fmla="*/ 60392 h 107353"/>
                  <a:gd name="connsiteX7" fmla="*/ 35755 w 78566"/>
                  <a:gd name="connsiteY7" fmla="*/ 70393 h 107353"/>
                  <a:gd name="connsiteX8" fmla="*/ 24220 w 78566"/>
                  <a:gd name="connsiteY8" fmla="*/ 18535 h 107353"/>
                  <a:gd name="connsiteX9" fmla="*/ 24220 w 78566"/>
                  <a:gd name="connsiteY9" fmla="*/ 52023 h 107353"/>
                  <a:gd name="connsiteX10" fmla="*/ 33727 w 78566"/>
                  <a:gd name="connsiteY10" fmla="*/ 52023 h 107353"/>
                  <a:gd name="connsiteX11" fmla="*/ 53057 w 78566"/>
                  <a:gd name="connsiteY11" fmla="*/ 35098 h 107353"/>
                  <a:gd name="connsiteX12" fmla="*/ 33727 w 78566"/>
                  <a:gd name="connsiteY12" fmla="*/ 1854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566" h="107353">
                    <a:moveTo>
                      <a:pt x="24220" y="70361"/>
                    </a:moveTo>
                    <a:lnTo>
                      <a:pt x="24220" y="107354"/>
                    </a:lnTo>
                    <a:lnTo>
                      <a:pt x="0" y="107354"/>
                    </a:lnTo>
                    <a:lnTo>
                      <a:pt x="0" y="0"/>
                    </a:lnTo>
                    <a:lnTo>
                      <a:pt x="37926" y="0"/>
                    </a:lnTo>
                    <a:cubicBezTo>
                      <a:pt x="65008" y="0"/>
                      <a:pt x="78549" y="11407"/>
                      <a:pt x="78549" y="34222"/>
                    </a:cubicBezTo>
                    <a:cubicBezTo>
                      <a:pt x="78878" y="44267"/>
                      <a:pt x="74579" y="53908"/>
                      <a:pt x="66894" y="60392"/>
                    </a:cubicBezTo>
                    <a:cubicBezTo>
                      <a:pt x="58089" y="67413"/>
                      <a:pt x="47005" y="70971"/>
                      <a:pt x="35755" y="70393"/>
                    </a:cubicBezTo>
                    <a:close/>
                    <a:moveTo>
                      <a:pt x="24220" y="18535"/>
                    </a:moveTo>
                    <a:lnTo>
                      <a:pt x="24220" y="52023"/>
                    </a:lnTo>
                    <a:lnTo>
                      <a:pt x="33727" y="52023"/>
                    </a:lnTo>
                    <a:cubicBezTo>
                      <a:pt x="46620" y="52023"/>
                      <a:pt x="53068" y="46381"/>
                      <a:pt x="53057" y="35098"/>
                    </a:cubicBezTo>
                    <a:cubicBezTo>
                      <a:pt x="53057" y="24070"/>
                      <a:pt x="46610" y="18554"/>
                      <a:pt x="33727" y="1854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8" name="Freeform: Shape 157">
                <a:extLst>
                  <a:ext uri="{FF2B5EF4-FFF2-40B4-BE49-F238E27FC236}">
                    <a16:creationId xmlns:a16="http://schemas.microsoft.com/office/drawing/2014/main" id="{DC4A750B-EA87-DEE7-A26C-5EE39E4A5E9C}"/>
                  </a:ext>
                </a:extLst>
              </p:cNvPr>
              <p:cNvSpPr/>
              <p:nvPr/>
            </p:nvSpPr>
            <p:spPr>
              <a:xfrm>
                <a:off x="6540927" y="2245655"/>
                <a:ext cx="69871" cy="80817"/>
              </a:xfrm>
              <a:custGeom>
                <a:avLst/>
                <a:gdLst>
                  <a:gd name="connsiteX0" fmla="*/ 69628 w 69871"/>
                  <a:gd name="connsiteY0" fmla="*/ 78855 h 80817"/>
                  <a:gd name="connsiteX1" fmla="*/ 47174 w 69871"/>
                  <a:gd name="connsiteY1" fmla="*/ 78855 h 80817"/>
                  <a:gd name="connsiteX2" fmla="*/ 47174 w 69871"/>
                  <a:gd name="connsiteY2" fmla="*/ 67900 h 80817"/>
                  <a:gd name="connsiteX3" fmla="*/ 46866 w 69871"/>
                  <a:gd name="connsiteY3" fmla="*/ 67900 h 80817"/>
                  <a:gd name="connsiteX4" fmla="*/ 24017 w 69871"/>
                  <a:gd name="connsiteY4" fmla="*/ 80783 h 80817"/>
                  <a:gd name="connsiteX5" fmla="*/ 6474 w 69871"/>
                  <a:gd name="connsiteY5" fmla="*/ 74451 h 80817"/>
                  <a:gd name="connsiteX6" fmla="*/ 27 w 69871"/>
                  <a:gd name="connsiteY6" fmla="*/ 57482 h 80817"/>
                  <a:gd name="connsiteX7" fmla="*/ 26473 w 69871"/>
                  <a:gd name="connsiteY7" fmla="*/ 31717 h 80817"/>
                  <a:gd name="connsiteX8" fmla="*/ 47305 w 69871"/>
                  <a:gd name="connsiteY8" fmla="*/ 28946 h 80817"/>
                  <a:gd name="connsiteX9" fmla="*/ 33666 w 69871"/>
                  <a:gd name="connsiteY9" fmla="*/ 16370 h 80817"/>
                  <a:gd name="connsiteX10" fmla="*/ 7581 w 69871"/>
                  <a:gd name="connsiteY10" fmla="*/ 24531 h 80817"/>
                  <a:gd name="connsiteX11" fmla="*/ 7581 w 69871"/>
                  <a:gd name="connsiteY11" fmla="*/ 6741 h 80817"/>
                  <a:gd name="connsiteX12" fmla="*/ 21122 w 69871"/>
                  <a:gd name="connsiteY12" fmla="*/ 2250 h 80817"/>
                  <a:gd name="connsiteX13" fmla="*/ 36757 w 69871"/>
                  <a:gd name="connsiteY13" fmla="*/ 300 h 80817"/>
                  <a:gd name="connsiteX14" fmla="*/ 69574 w 69871"/>
                  <a:gd name="connsiteY14" fmla="*/ 24825 h 80817"/>
                  <a:gd name="connsiteX15" fmla="*/ 69585 w 69871"/>
                  <a:gd name="connsiteY15" fmla="*/ 33021 h 80817"/>
                  <a:gd name="connsiteX16" fmla="*/ 47349 w 69871"/>
                  <a:gd name="connsiteY16" fmla="*/ 47700 h 80817"/>
                  <a:gd name="connsiteX17" fmla="*/ 47349 w 69871"/>
                  <a:gd name="connsiteY17" fmla="*/ 42530 h 80817"/>
                  <a:gd name="connsiteX18" fmla="*/ 33413 w 69871"/>
                  <a:gd name="connsiteY18" fmla="*/ 44326 h 80817"/>
                  <a:gd name="connsiteX19" fmla="*/ 21868 w 69871"/>
                  <a:gd name="connsiteY19" fmla="*/ 54744 h 80817"/>
                  <a:gd name="connsiteX20" fmla="*/ 24685 w 69871"/>
                  <a:gd name="connsiteY20" fmla="*/ 61371 h 80817"/>
                  <a:gd name="connsiteX21" fmla="*/ 32295 w 69871"/>
                  <a:gd name="connsiteY21" fmla="*/ 63946 h 80817"/>
                  <a:gd name="connsiteX22" fmla="*/ 43160 w 69871"/>
                  <a:gd name="connsiteY22" fmla="*/ 59345 h 80817"/>
                  <a:gd name="connsiteX23" fmla="*/ 47349 w 69871"/>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71" h="80817">
                    <a:moveTo>
                      <a:pt x="69628" y="78855"/>
                    </a:moveTo>
                    <a:lnTo>
                      <a:pt x="47174" y="78855"/>
                    </a:lnTo>
                    <a:lnTo>
                      <a:pt x="47174" y="67900"/>
                    </a:lnTo>
                    <a:lnTo>
                      <a:pt x="46866" y="67900"/>
                    </a:lnTo>
                    <a:cubicBezTo>
                      <a:pt x="42306" y="76165"/>
                      <a:pt x="33457" y="81151"/>
                      <a:pt x="24017" y="80783"/>
                    </a:cubicBezTo>
                    <a:cubicBezTo>
                      <a:pt x="17548" y="81130"/>
                      <a:pt x="11221" y="78846"/>
                      <a:pt x="6474" y="74451"/>
                    </a:cubicBezTo>
                    <a:cubicBezTo>
                      <a:pt x="2055" y="69940"/>
                      <a:pt x="-280" y="63789"/>
                      <a:pt x="27" y="57482"/>
                    </a:cubicBezTo>
                    <a:cubicBezTo>
                      <a:pt x="27" y="42606"/>
                      <a:pt x="8842" y="34018"/>
                      <a:pt x="26473" y="31717"/>
                    </a:cubicBezTo>
                    <a:lnTo>
                      <a:pt x="47305" y="28946"/>
                    </a:lnTo>
                    <a:cubicBezTo>
                      <a:pt x="47305" y="20555"/>
                      <a:pt x="42755" y="16363"/>
                      <a:pt x="33666" y="16370"/>
                    </a:cubicBezTo>
                    <a:cubicBezTo>
                      <a:pt x="24346" y="16421"/>
                      <a:pt x="15268" y="19264"/>
                      <a:pt x="7581" y="24531"/>
                    </a:cubicBezTo>
                    <a:lnTo>
                      <a:pt x="7581" y="6741"/>
                    </a:lnTo>
                    <a:cubicBezTo>
                      <a:pt x="11890" y="4698"/>
                      <a:pt x="16441" y="3190"/>
                      <a:pt x="21122" y="2250"/>
                    </a:cubicBezTo>
                    <a:cubicBezTo>
                      <a:pt x="26243" y="1021"/>
                      <a:pt x="31483" y="367"/>
                      <a:pt x="36757" y="300"/>
                    </a:cubicBezTo>
                    <a:cubicBezTo>
                      <a:pt x="52601" y="-1982"/>
                      <a:pt x="67294" y="8998"/>
                      <a:pt x="69574" y="24825"/>
                    </a:cubicBezTo>
                    <a:cubicBezTo>
                      <a:pt x="69968" y="27543"/>
                      <a:pt x="69968" y="30302"/>
                      <a:pt x="69585" y="33021"/>
                    </a:cubicBezTo>
                    <a:close/>
                    <a:moveTo>
                      <a:pt x="47349" y="47700"/>
                    </a:moveTo>
                    <a:lnTo>
                      <a:pt x="47349" y="42530"/>
                    </a:lnTo>
                    <a:lnTo>
                      <a:pt x="33413" y="44326"/>
                    </a:lnTo>
                    <a:cubicBezTo>
                      <a:pt x="25727" y="45334"/>
                      <a:pt x="21879" y="48806"/>
                      <a:pt x="21868" y="54744"/>
                    </a:cubicBezTo>
                    <a:cubicBezTo>
                      <a:pt x="21791" y="57258"/>
                      <a:pt x="22822" y="59679"/>
                      <a:pt x="24685" y="61371"/>
                    </a:cubicBezTo>
                    <a:cubicBezTo>
                      <a:pt x="26802" y="63174"/>
                      <a:pt x="29521" y="64096"/>
                      <a:pt x="32295" y="63946"/>
                    </a:cubicBezTo>
                    <a:cubicBezTo>
                      <a:pt x="36417" y="64085"/>
                      <a:pt x="40398" y="62402"/>
                      <a:pt x="43160" y="59345"/>
                    </a:cubicBezTo>
                    <a:cubicBezTo>
                      <a:pt x="46001" y="56145"/>
                      <a:pt x="47503" y="51976"/>
                      <a:pt x="47349" y="4770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9" name="Freeform: Shape 158">
                <a:extLst>
                  <a:ext uri="{FF2B5EF4-FFF2-40B4-BE49-F238E27FC236}">
                    <a16:creationId xmlns:a16="http://schemas.microsoft.com/office/drawing/2014/main" id="{B1C0587C-8A77-FB78-5653-05FA608764E4}"/>
                  </a:ext>
                </a:extLst>
              </p:cNvPr>
              <p:cNvSpPr/>
              <p:nvPr/>
            </p:nvSpPr>
            <p:spPr>
              <a:xfrm>
                <a:off x="6623942" y="2245655"/>
                <a:ext cx="69857" cy="80817"/>
              </a:xfrm>
              <a:custGeom>
                <a:avLst/>
                <a:gdLst>
                  <a:gd name="connsiteX0" fmla="*/ 69549 w 69857"/>
                  <a:gd name="connsiteY0" fmla="*/ 78855 h 80817"/>
                  <a:gd name="connsiteX1" fmla="*/ 47148 w 69857"/>
                  <a:gd name="connsiteY1" fmla="*/ 78855 h 80817"/>
                  <a:gd name="connsiteX2" fmla="*/ 47148 w 69857"/>
                  <a:gd name="connsiteY2" fmla="*/ 67900 h 80817"/>
                  <a:gd name="connsiteX3" fmla="*/ 46852 w 69857"/>
                  <a:gd name="connsiteY3" fmla="*/ 67900 h 80817"/>
                  <a:gd name="connsiteX4" fmla="*/ 23981 w 69857"/>
                  <a:gd name="connsiteY4" fmla="*/ 80783 h 80817"/>
                  <a:gd name="connsiteX5" fmla="*/ 6438 w 69857"/>
                  <a:gd name="connsiteY5" fmla="*/ 74451 h 80817"/>
                  <a:gd name="connsiteX6" fmla="*/ 24 w 69857"/>
                  <a:gd name="connsiteY6" fmla="*/ 57570 h 80817"/>
                  <a:gd name="connsiteX7" fmla="*/ 26492 w 69857"/>
                  <a:gd name="connsiteY7" fmla="*/ 31805 h 80817"/>
                  <a:gd name="connsiteX8" fmla="*/ 47324 w 69857"/>
                  <a:gd name="connsiteY8" fmla="*/ 29034 h 80817"/>
                  <a:gd name="connsiteX9" fmla="*/ 33684 w 69857"/>
                  <a:gd name="connsiteY9" fmla="*/ 16458 h 80817"/>
                  <a:gd name="connsiteX10" fmla="*/ 7600 w 69857"/>
                  <a:gd name="connsiteY10" fmla="*/ 24619 h 80817"/>
                  <a:gd name="connsiteX11" fmla="*/ 7600 w 69857"/>
                  <a:gd name="connsiteY11" fmla="*/ 6741 h 80817"/>
                  <a:gd name="connsiteX12" fmla="*/ 21119 w 69857"/>
                  <a:gd name="connsiteY12" fmla="*/ 2250 h 80817"/>
                  <a:gd name="connsiteX13" fmla="*/ 36743 w 69857"/>
                  <a:gd name="connsiteY13" fmla="*/ 300 h 80817"/>
                  <a:gd name="connsiteX14" fmla="*/ 69559 w 69857"/>
                  <a:gd name="connsiteY14" fmla="*/ 24825 h 80817"/>
                  <a:gd name="connsiteX15" fmla="*/ 69571 w 69857"/>
                  <a:gd name="connsiteY15" fmla="*/ 33021 h 80817"/>
                  <a:gd name="connsiteX16" fmla="*/ 47302 w 69857"/>
                  <a:gd name="connsiteY16" fmla="*/ 47700 h 80817"/>
                  <a:gd name="connsiteX17" fmla="*/ 47302 w 69857"/>
                  <a:gd name="connsiteY17" fmla="*/ 42530 h 80817"/>
                  <a:gd name="connsiteX18" fmla="*/ 33355 w 69857"/>
                  <a:gd name="connsiteY18" fmla="*/ 44326 h 80817"/>
                  <a:gd name="connsiteX19" fmla="*/ 21820 w 69857"/>
                  <a:gd name="connsiteY19" fmla="*/ 54744 h 80817"/>
                  <a:gd name="connsiteX20" fmla="*/ 24616 w 69857"/>
                  <a:gd name="connsiteY20" fmla="*/ 61371 h 80817"/>
                  <a:gd name="connsiteX21" fmla="*/ 32226 w 69857"/>
                  <a:gd name="connsiteY21" fmla="*/ 63946 h 80817"/>
                  <a:gd name="connsiteX22" fmla="*/ 43103 w 69857"/>
                  <a:gd name="connsiteY22" fmla="*/ 59345 h 80817"/>
                  <a:gd name="connsiteX23" fmla="*/ 47302 w 69857"/>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7" h="80817">
                    <a:moveTo>
                      <a:pt x="69549" y="78855"/>
                    </a:moveTo>
                    <a:lnTo>
                      <a:pt x="47148" y="78855"/>
                    </a:lnTo>
                    <a:lnTo>
                      <a:pt x="47148" y="67900"/>
                    </a:lnTo>
                    <a:lnTo>
                      <a:pt x="46852" y="67900"/>
                    </a:lnTo>
                    <a:cubicBezTo>
                      <a:pt x="42280" y="76165"/>
                      <a:pt x="33432" y="81148"/>
                      <a:pt x="23981" y="80783"/>
                    </a:cubicBezTo>
                    <a:cubicBezTo>
                      <a:pt x="17512" y="81130"/>
                      <a:pt x="11185" y="78846"/>
                      <a:pt x="6438" y="74451"/>
                    </a:cubicBezTo>
                    <a:cubicBezTo>
                      <a:pt x="2052" y="69952"/>
                      <a:pt x="-262" y="63841"/>
                      <a:pt x="24" y="57570"/>
                    </a:cubicBezTo>
                    <a:cubicBezTo>
                      <a:pt x="24" y="42694"/>
                      <a:pt x="8850" y="34106"/>
                      <a:pt x="26492" y="31805"/>
                    </a:cubicBezTo>
                    <a:lnTo>
                      <a:pt x="47324" y="29034"/>
                    </a:lnTo>
                    <a:cubicBezTo>
                      <a:pt x="47324" y="20643"/>
                      <a:pt x="42774" y="16450"/>
                      <a:pt x="33684" y="16458"/>
                    </a:cubicBezTo>
                    <a:cubicBezTo>
                      <a:pt x="24365" y="16508"/>
                      <a:pt x="15286" y="19352"/>
                      <a:pt x="7600" y="24619"/>
                    </a:cubicBezTo>
                    <a:lnTo>
                      <a:pt x="7600" y="6741"/>
                    </a:lnTo>
                    <a:cubicBezTo>
                      <a:pt x="11909" y="4697"/>
                      <a:pt x="16448" y="3190"/>
                      <a:pt x="21119" y="2250"/>
                    </a:cubicBezTo>
                    <a:cubicBezTo>
                      <a:pt x="26239" y="1022"/>
                      <a:pt x="31481" y="368"/>
                      <a:pt x="36743" y="300"/>
                    </a:cubicBezTo>
                    <a:cubicBezTo>
                      <a:pt x="52587" y="-1982"/>
                      <a:pt x="67279" y="8998"/>
                      <a:pt x="69559" y="24825"/>
                    </a:cubicBezTo>
                    <a:cubicBezTo>
                      <a:pt x="69954" y="27543"/>
                      <a:pt x="69954" y="30302"/>
                      <a:pt x="69571" y="33021"/>
                    </a:cubicBezTo>
                    <a:close/>
                    <a:moveTo>
                      <a:pt x="47302" y="47700"/>
                    </a:moveTo>
                    <a:lnTo>
                      <a:pt x="47302" y="42530"/>
                    </a:lnTo>
                    <a:lnTo>
                      <a:pt x="33355" y="44326"/>
                    </a:lnTo>
                    <a:cubicBezTo>
                      <a:pt x="25658" y="45334"/>
                      <a:pt x="21810" y="48806"/>
                      <a:pt x="21820" y="54744"/>
                    </a:cubicBezTo>
                    <a:cubicBezTo>
                      <a:pt x="21744" y="57253"/>
                      <a:pt x="22763" y="59673"/>
                      <a:pt x="24616" y="61371"/>
                    </a:cubicBezTo>
                    <a:cubicBezTo>
                      <a:pt x="26733" y="63173"/>
                      <a:pt x="29452" y="64095"/>
                      <a:pt x="32226" y="63946"/>
                    </a:cubicBezTo>
                    <a:cubicBezTo>
                      <a:pt x="36348" y="64082"/>
                      <a:pt x="40329" y="62400"/>
                      <a:pt x="43103" y="59345"/>
                    </a:cubicBezTo>
                    <a:cubicBezTo>
                      <a:pt x="45942" y="56146"/>
                      <a:pt x="47455" y="51977"/>
                      <a:pt x="47302" y="4770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0" name="Freeform: Shape 159">
                <a:extLst>
                  <a:ext uri="{FF2B5EF4-FFF2-40B4-BE49-F238E27FC236}">
                    <a16:creationId xmlns:a16="http://schemas.microsoft.com/office/drawing/2014/main" id="{B1C01DC0-E942-676C-D5A0-86E22B15189B}"/>
                  </a:ext>
                </a:extLst>
              </p:cNvPr>
              <p:cNvSpPr/>
              <p:nvPr/>
            </p:nvSpPr>
            <p:spPr>
              <a:xfrm>
                <a:off x="6709313" y="2215323"/>
                <a:ext cx="73700" cy="111071"/>
              </a:xfrm>
              <a:custGeom>
                <a:avLst/>
                <a:gdLst>
                  <a:gd name="connsiteX0" fmla="*/ 492 w 73700"/>
                  <a:gd name="connsiteY0" fmla="*/ 105068 h 111071"/>
                  <a:gd name="connsiteX1" fmla="*/ 492 w 73700"/>
                  <a:gd name="connsiteY1" fmla="*/ 81099 h 111071"/>
                  <a:gd name="connsiteX2" fmla="*/ 14658 w 73700"/>
                  <a:gd name="connsiteY2" fmla="*/ 89304 h 111071"/>
                  <a:gd name="connsiteX3" fmla="*/ 30107 w 73700"/>
                  <a:gd name="connsiteY3" fmla="*/ 92032 h 111071"/>
                  <a:gd name="connsiteX4" fmla="*/ 38078 w 73700"/>
                  <a:gd name="connsiteY4" fmla="*/ 91210 h 111071"/>
                  <a:gd name="connsiteX5" fmla="*/ 43779 w 73700"/>
                  <a:gd name="connsiteY5" fmla="*/ 88932 h 111071"/>
                  <a:gd name="connsiteX6" fmla="*/ 47190 w 73700"/>
                  <a:gd name="connsiteY6" fmla="*/ 85481 h 111071"/>
                  <a:gd name="connsiteX7" fmla="*/ 48286 w 73700"/>
                  <a:gd name="connsiteY7" fmla="*/ 81176 h 111071"/>
                  <a:gd name="connsiteX8" fmla="*/ 46488 w 73700"/>
                  <a:gd name="connsiteY8" fmla="*/ 75556 h 111071"/>
                  <a:gd name="connsiteX9" fmla="*/ 41576 w 73700"/>
                  <a:gd name="connsiteY9" fmla="*/ 70999 h 111071"/>
                  <a:gd name="connsiteX10" fmla="*/ 34197 w 73700"/>
                  <a:gd name="connsiteY10" fmla="*/ 66946 h 111071"/>
                  <a:gd name="connsiteX11" fmla="*/ 24976 w 73700"/>
                  <a:gd name="connsiteY11" fmla="*/ 62981 h 111071"/>
                  <a:gd name="connsiteX12" fmla="*/ 6204 w 73700"/>
                  <a:gd name="connsiteY12" fmla="*/ 50175 h 111071"/>
                  <a:gd name="connsiteX13" fmla="*/ 10 w 73700"/>
                  <a:gd name="connsiteY13" fmla="*/ 31903 h 111071"/>
                  <a:gd name="connsiteX14" fmla="*/ 3387 w 73700"/>
                  <a:gd name="connsiteY14" fmla="*/ 17487 h 111071"/>
                  <a:gd name="connsiteX15" fmla="*/ 12564 w 73700"/>
                  <a:gd name="connsiteY15" fmla="*/ 7562 h 111071"/>
                  <a:gd name="connsiteX16" fmla="*/ 26028 w 73700"/>
                  <a:gd name="connsiteY16" fmla="*/ 1844 h 111071"/>
                  <a:gd name="connsiteX17" fmla="*/ 42212 w 73700"/>
                  <a:gd name="connsiteY17" fmla="*/ 3 h 111071"/>
                  <a:gd name="connsiteX18" fmla="*/ 57091 w 73700"/>
                  <a:gd name="connsiteY18" fmla="*/ 1011 h 111071"/>
                  <a:gd name="connsiteX19" fmla="*/ 69041 w 73700"/>
                  <a:gd name="connsiteY19" fmla="*/ 4122 h 111071"/>
                  <a:gd name="connsiteX20" fmla="*/ 69041 w 73700"/>
                  <a:gd name="connsiteY20" fmla="*/ 26469 h 111071"/>
                  <a:gd name="connsiteX21" fmla="*/ 63164 w 73700"/>
                  <a:gd name="connsiteY21" fmla="*/ 23183 h 111071"/>
                  <a:gd name="connsiteX22" fmla="*/ 56586 w 73700"/>
                  <a:gd name="connsiteY22" fmla="*/ 20828 h 111071"/>
                  <a:gd name="connsiteX23" fmla="*/ 49865 w 73700"/>
                  <a:gd name="connsiteY23" fmla="*/ 19437 h 111071"/>
                  <a:gd name="connsiteX24" fmla="*/ 43538 w 73700"/>
                  <a:gd name="connsiteY24" fmla="*/ 18988 h 111071"/>
                  <a:gd name="connsiteX25" fmla="*/ 36050 w 73700"/>
                  <a:gd name="connsiteY25" fmla="*/ 19776 h 111071"/>
                  <a:gd name="connsiteX26" fmla="*/ 30348 w 73700"/>
                  <a:gd name="connsiteY26" fmla="*/ 21967 h 111071"/>
                  <a:gd name="connsiteX27" fmla="*/ 26752 w 73700"/>
                  <a:gd name="connsiteY27" fmla="*/ 25374 h 111071"/>
                  <a:gd name="connsiteX28" fmla="*/ 25480 w 73700"/>
                  <a:gd name="connsiteY28" fmla="*/ 29832 h 111071"/>
                  <a:gd name="connsiteX29" fmla="*/ 26905 w 73700"/>
                  <a:gd name="connsiteY29" fmla="*/ 34652 h 111071"/>
                  <a:gd name="connsiteX30" fmla="*/ 30951 w 73700"/>
                  <a:gd name="connsiteY30" fmla="*/ 38706 h 111071"/>
                  <a:gd name="connsiteX31" fmla="*/ 37321 w 73700"/>
                  <a:gd name="connsiteY31" fmla="*/ 42441 h 111071"/>
                  <a:gd name="connsiteX32" fmla="*/ 45786 w 73700"/>
                  <a:gd name="connsiteY32" fmla="*/ 46231 h 111071"/>
                  <a:gd name="connsiteX33" fmla="*/ 57364 w 73700"/>
                  <a:gd name="connsiteY33" fmla="*/ 51960 h 111071"/>
                  <a:gd name="connsiteX34" fmla="*/ 66136 w 73700"/>
                  <a:gd name="connsiteY34" fmla="*/ 58807 h 111071"/>
                  <a:gd name="connsiteX35" fmla="*/ 71750 w 73700"/>
                  <a:gd name="connsiteY35" fmla="*/ 67571 h 111071"/>
                  <a:gd name="connsiteX36" fmla="*/ 70292 w 73700"/>
                  <a:gd name="connsiteY36" fmla="*/ 94080 h 111071"/>
                  <a:gd name="connsiteX37" fmla="*/ 61038 w 73700"/>
                  <a:gd name="connsiteY37" fmla="*/ 103939 h 111071"/>
                  <a:gd name="connsiteX38" fmla="*/ 47431 w 73700"/>
                  <a:gd name="connsiteY38" fmla="*/ 109417 h 111071"/>
                  <a:gd name="connsiteX39" fmla="*/ 31050 w 73700"/>
                  <a:gd name="connsiteY39" fmla="*/ 111071 h 111071"/>
                  <a:gd name="connsiteX40" fmla="*/ 14231 w 73700"/>
                  <a:gd name="connsiteY40" fmla="*/ 109570 h 111071"/>
                  <a:gd name="connsiteX41" fmla="*/ 492 w 73700"/>
                  <a:gd name="connsiteY41" fmla="*/ 105068 h 11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3700" h="111071">
                    <a:moveTo>
                      <a:pt x="492" y="105068"/>
                    </a:moveTo>
                    <a:lnTo>
                      <a:pt x="492" y="81099"/>
                    </a:lnTo>
                    <a:cubicBezTo>
                      <a:pt x="4691" y="84653"/>
                      <a:pt x="9483" y="87431"/>
                      <a:pt x="14658" y="89304"/>
                    </a:cubicBezTo>
                    <a:cubicBezTo>
                      <a:pt x="19614" y="91096"/>
                      <a:pt x="24833" y="92020"/>
                      <a:pt x="30107" y="92032"/>
                    </a:cubicBezTo>
                    <a:cubicBezTo>
                      <a:pt x="32782" y="92071"/>
                      <a:pt x="35458" y="91795"/>
                      <a:pt x="38078" y="91210"/>
                    </a:cubicBezTo>
                    <a:cubicBezTo>
                      <a:pt x="40095" y="90771"/>
                      <a:pt x="42015" y="90001"/>
                      <a:pt x="43779" y="88932"/>
                    </a:cubicBezTo>
                    <a:cubicBezTo>
                      <a:pt x="45183" y="88081"/>
                      <a:pt x="46356" y="86895"/>
                      <a:pt x="47190" y="85481"/>
                    </a:cubicBezTo>
                    <a:cubicBezTo>
                      <a:pt x="47924" y="84169"/>
                      <a:pt x="48308" y="82682"/>
                      <a:pt x="48286" y="81176"/>
                    </a:cubicBezTo>
                    <a:cubicBezTo>
                      <a:pt x="48308" y="79158"/>
                      <a:pt x="47672" y="77188"/>
                      <a:pt x="46488" y="75556"/>
                    </a:cubicBezTo>
                    <a:cubicBezTo>
                      <a:pt x="45128" y="73764"/>
                      <a:pt x="43461" y="72223"/>
                      <a:pt x="41576" y="70999"/>
                    </a:cubicBezTo>
                    <a:cubicBezTo>
                      <a:pt x="39229" y="69450"/>
                      <a:pt x="36763" y="68094"/>
                      <a:pt x="34197" y="66946"/>
                    </a:cubicBezTo>
                    <a:cubicBezTo>
                      <a:pt x="31346" y="65654"/>
                      <a:pt x="28276" y="64331"/>
                      <a:pt x="24976" y="62981"/>
                    </a:cubicBezTo>
                    <a:cubicBezTo>
                      <a:pt x="17761" y="60317"/>
                      <a:pt x="11314" y="55918"/>
                      <a:pt x="6204" y="50175"/>
                    </a:cubicBezTo>
                    <a:cubicBezTo>
                      <a:pt x="2027" y="45014"/>
                      <a:pt x="-166" y="38536"/>
                      <a:pt x="10" y="31903"/>
                    </a:cubicBezTo>
                    <a:cubicBezTo>
                      <a:pt x="-122" y="26887"/>
                      <a:pt x="1041" y="21921"/>
                      <a:pt x="3387" y="17487"/>
                    </a:cubicBezTo>
                    <a:cubicBezTo>
                      <a:pt x="5613" y="13496"/>
                      <a:pt x="8759" y="10094"/>
                      <a:pt x="12564" y="7562"/>
                    </a:cubicBezTo>
                    <a:cubicBezTo>
                      <a:pt x="16676" y="4872"/>
                      <a:pt x="21237" y="2935"/>
                      <a:pt x="26028" y="1844"/>
                    </a:cubicBezTo>
                    <a:cubicBezTo>
                      <a:pt x="31335" y="593"/>
                      <a:pt x="36763" y="-25"/>
                      <a:pt x="42212" y="3"/>
                    </a:cubicBezTo>
                    <a:cubicBezTo>
                      <a:pt x="47190" y="-38"/>
                      <a:pt x="52167" y="298"/>
                      <a:pt x="57091" y="1011"/>
                    </a:cubicBezTo>
                    <a:cubicBezTo>
                      <a:pt x="61169" y="1630"/>
                      <a:pt x="65182" y="2673"/>
                      <a:pt x="69041" y="4122"/>
                    </a:cubicBezTo>
                    <a:lnTo>
                      <a:pt x="69041" y="26469"/>
                    </a:lnTo>
                    <a:cubicBezTo>
                      <a:pt x="67188" y="25194"/>
                      <a:pt x="65226" y="24093"/>
                      <a:pt x="63164" y="23183"/>
                    </a:cubicBezTo>
                    <a:cubicBezTo>
                      <a:pt x="61038" y="22238"/>
                      <a:pt x="58834" y="21451"/>
                      <a:pt x="56586" y="20828"/>
                    </a:cubicBezTo>
                    <a:cubicBezTo>
                      <a:pt x="54382" y="20214"/>
                      <a:pt x="52134" y="19750"/>
                      <a:pt x="49865" y="19437"/>
                    </a:cubicBezTo>
                    <a:cubicBezTo>
                      <a:pt x="47771" y="19147"/>
                      <a:pt x="45654" y="18997"/>
                      <a:pt x="43538" y="18988"/>
                    </a:cubicBezTo>
                    <a:cubicBezTo>
                      <a:pt x="41017" y="18963"/>
                      <a:pt x="38506" y="19227"/>
                      <a:pt x="36050" y="19776"/>
                    </a:cubicBezTo>
                    <a:cubicBezTo>
                      <a:pt x="34043" y="20197"/>
                      <a:pt x="32124" y="20936"/>
                      <a:pt x="30348" y="21967"/>
                    </a:cubicBezTo>
                    <a:cubicBezTo>
                      <a:pt x="28901" y="22808"/>
                      <a:pt x="27673" y="23975"/>
                      <a:pt x="26752" y="25374"/>
                    </a:cubicBezTo>
                    <a:cubicBezTo>
                      <a:pt x="25897" y="26705"/>
                      <a:pt x="25458" y="28254"/>
                      <a:pt x="25480" y="29832"/>
                    </a:cubicBezTo>
                    <a:cubicBezTo>
                      <a:pt x="25458" y="31547"/>
                      <a:pt x="25951" y="33228"/>
                      <a:pt x="26905" y="34652"/>
                    </a:cubicBezTo>
                    <a:cubicBezTo>
                      <a:pt x="28002" y="36230"/>
                      <a:pt x="29372" y="37601"/>
                      <a:pt x="30951" y="38706"/>
                    </a:cubicBezTo>
                    <a:cubicBezTo>
                      <a:pt x="32957" y="40136"/>
                      <a:pt x="35096" y="41387"/>
                      <a:pt x="37321" y="42441"/>
                    </a:cubicBezTo>
                    <a:cubicBezTo>
                      <a:pt x="39822" y="43668"/>
                      <a:pt x="42639" y="44931"/>
                      <a:pt x="45786" y="46231"/>
                    </a:cubicBezTo>
                    <a:cubicBezTo>
                      <a:pt x="49777" y="47871"/>
                      <a:pt x="53648" y="49786"/>
                      <a:pt x="57364" y="51960"/>
                    </a:cubicBezTo>
                    <a:cubicBezTo>
                      <a:pt x="60588" y="53838"/>
                      <a:pt x="63537" y="56141"/>
                      <a:pt x="66136" y="58807"/>
                    </a:cubicBezTo>
                    <a:cubicBezTo>
                      <a:pt x="68559" y="61335"/>
                      <a:pt x="70467" y="64313"/>
                      <a:pt x="71750" y="67571"/>
                    </a:cubicBezTo>
                    <a:cubicBezTo>
                      <a:pt x="74787" y="76253"/>
                      <a:pt x="74261" y="85784"/>
                      <a:pt x="70292" y="94080"/>
                    </a:cubicBezTo>
                    <a:cubicBezTo>
                      <a:pt x="68066" y="98080"/>
                      <a:pt x="64886" y="101466"/>
                      <a:pt x="61038" y="103939"/>
                    </a:cubicBezTo>
                    <a:cubicBezTo>
                      <a:pt x="56882" y="106585"/>
                      <a:pt x="52266" y="108442"/>
                      <a:pt x="47431" y="109417"/>
                    </a:cubicBezTo>
                    <a:cubicBezTo>
                      <a:pt x="42047" y="110538"/>
                      <a:pt x="36554" y="111093"/>
                      <a:pt x="31050" y="111071"/>
                    </a:cubicBezTo>
                    <a:cubicBezTo>
                      <a:pt x="25414" y="111092"/>
                      <a:pt x="19779" y="110590"/>
                      <a:pt x="14231" y="109570"/>
                    </a:cubicBezTo>
                    <a:cubicBezTo>
                      <a:pt x="9461" y="108730"/>
                      <a:pt x="4834" y="107214"/>
                      <a:pt x="492" y="10506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0" name="Graphic 2" descr="Diagram showing responsibility zones.">
              <a:extLst>
                <a:ext uri="{FF2B5EF4-FFF2-40B4-BE49-F238E27FC236}">
                  <a16:creationId xmlns:a16="http://schemas.microsoft.com/office/drawing/2014/main" id="{A6EE6B87-AB36-E352-1B51-BF022F0E394D}"/>
                </a:ext>
              </a:extLst>
            </p:cNvPr>
            <p:cNvGrpSpPr/>
            <p:nvPr/>
          </p:nvGrpSpPr>
          <p:grpSpPr>
            <a:xfrm>
              <a:off x="8472084" y="1525989"/>
              <a:ext cx="282635" cy="111149"/>
              <a:chOff x="7064207" y="2215323"/>
              <a:chExt cx="282635" cy="111149"/>
            </a:xfrm>
            <a:solidFill>
              <a:srgbClr val="2F2F2F"/>
            </a:solidFill>
          </p:grpSpPr>
          <p:sp>
            <p:nvSpPr>
              <p:cNvPr id="153" name="Freeform: Shape 152">
                <a:extLst>
                  <a:ext uri="{FF2B5EF4-FFF2-40B4-BE49-F238E27FC236}">
                    <a16:creationId xmlns:a16="http://schemas.microsoft.com/office/drawing/2014/main" id="{94A1C360-BB4C-4FE0-273B-C1FEDCF9AE60}"/>
                  </a:ext>
                </a:extLst>
              </p:cNvPr>
              <p:cNvSpPr/>
              <p:nvPr/>
            </p:nvSpPr>
            <p:spPr>
              <a:xfrm>
                <a:off x="7064207" y="2217156"/>
                <a:ext cx="24209" cy="107353"/>
              </a:xfrm>
              <a:custGeom>
                <a:avLst/>
                <a:gdLst>
                  <a:gd name="connsiteX0" fmla="*/ 24209 w 24209"/>
                  <a:gd name="connsiteY0" fmla="*/ 107354 h 107353"/>
                  <a:gd name="connsiteX1" fmla="*/ 0 w 24209"/>
                  <a:gd name="connsiteY1" fmla="*/ 107354 h 107353"/>
                  <a:gd name="connsiteX2" fmla="*/ 0 w 24209"/>
                  <a:gd name="connsiteY2" fmla="*/ 0 h 107353"/>
                  <a:gd name="connsiteX3" fmla="*/ 24209 w 24209"/>
                  <a:gd name="connsiteY3" fmla="*/ 0 h 107353"/>
                </a:gdLst>
                <a:ahLst/>
                <a:cxnLst>
                  <a:cxn ang="0">
                    <a:pos x="connsiteX0" y="connsiteY0"/>
                  </a:cxn>
                  <a:cxn ang="0">
                    <a:pos x="connsiteX1" y="connsiteY1"/>
                  </a:cxn>
                  <a:cxn ang="0">
                    <a:pos x="connsiteX2" y="connsiteY2"/>
                  </a:cxn>
                  <a:cxn ang="0">
                    <a:pos x="connsiteX3" y="connsiteY3"/>
                  </a:cxn>
                </a:cxnLst>
                <a:rect l="l" t="t" r="r" b="b"/>
                <a:pathLst>
                  <a:path w="24209" h="107353">
                    <a:moveTo>
                      <a:pt x="24209" y="107354"/>
                    </a:moveTo>
                    <a:lnTo>
                      <a:pt x="0" y="107354"/>
                    </a:lnTo>
                    <a:lnTo>
                      <a:pt x="0" y="0"/>
                    </a:lnTo>
                    <a:lnTo>
                      <a:pt x="24209"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4" name="Freeform: Shape 153">
                <a:extLst>
                  <a:ext uri="{FF2B5EF4-FFF2-40B4-BE49-F238E27FC236}">
                    <a16:creationId xmlns:a16="http://schemas.microsoft.com/office/drawing/2014/main" id="{BCF48CBC-D911-8551-E7EE-B5BED5C3FFFB}"/>
                  </a:ext>
                </a:extLst>
              </p:cNvPr>
              <p:cNvSpPr/>
              <p:nvPr/>
            </p:nvSpPr>
            <p:spPr>
              <a:xfrm>
                <a:off x="7104828" y="2245655"/>
                <a:ext cx="69858" cy="80817"/>
              </a:xfrm>
              <a:custGeom>
                <a:avLst/>
                <a:gdLst>
                  <a:gd name="connsiteX0" fmla="*/ 69550 w 69858"/>
                  <a:gd name="connsiteY0" fmla="*/ 78855 h 80817"/>
                  <a:gd name="connsiteX1" fmla="*/ 47150 w 69858"/>
                  <a:gd name="connsiteY1" fmla="*/ 78855 h 80817"/>
                  <a:gd name="connsiteX2" fmla="*/ 47150 w 69858"/>
                  <a:gd name="connsiteY2" fmla="*/ 67900 h 80817"/>
                  <a:gd name="connsiteX3" fmla="*/ 46843 w 69858"/>
                  <a:gd name="connsiteY3" fmla="*/ 67900 h 80817"/>
                  <a:gd name="connsiteX4" fmla="*/ 23982 w 69858"/>
                  <a:gd name="connsiteY4" fmla="*/ 80783 h 80817"/>
                  <a:gd name="connsiteX5" fmla="*/ 6440 w 69858"/>
                  <a:gd name="connsiteY5" fmla="*/ 74451 h 80817"/>
                  <a:gd name="connsiteX6" fmla="*/ 25 w 69858"/>
                  <a:gd name="connsiteY6" fmla="*/ 57570 h 80817"/>
                  <a:gd name="connsiteX7" fmla="*/ 26482 w 69858"/>
                  <a:gd name="connsiteY7" fmla="*/ 31805 h 80817"/>
                  <a:gd name="connsiteX8" fmla="*/ 47314 w 69858"/>
                  <a:gd name="connsiteY8" fmla="*/ 29034 h 80817"/>
                  <a:gd name="connsiteX9" fmla="*/ 33675 w 69858"/>
                  <a:gd name="connsiteY9" fmla="*/ 16458 h 80817"/>
                  <a:gd name="connsiteX10" fmla="*/ 7591 w 69858"/>
                  <a:gd name="connsiteY10" fmla="*/ 24619 h 80817"/>
                  <a:gd name="connsiteX11" fmla="*/ 7591 w 69858"/>
                  <a:gd name="connsiteY11" fmla="*/ 6741 h 80817"/>
                  <a:gd name="connsiteX12" fmla="*/ 21131 w 69858"/>
                  <a:gd name="connsiteY12" fmla="*/ 2250 h 80817"/>
                  <a:gd name="connsiteX13" fmla="*/ 36745 w 69858"/>
                  <a:gd name="connsiteY13" fmla="*/ 300 h 80817"/>
                  <a:gd name="connsiteX14" fmla="*/ 69561 w 69858"/>
                  <a:gd name="connsiteY14" fmla="*/ 24825 h 80817"/>
                  <a:gd name="connsiteX15" fmla="*/ 69572 w 69858"/>
                  <a:gd name="connsiteY15" fmla="*/ 33021 h 80817"/>
                  <a:gd name="connsiteX16" fmla="*/ 47292 w 69858"/>
                  <a:gd name="connsiteY16" fmla="*/ 47700 h 80817"/>
                  <a:gd name="connsiteX17" fmla="*/ 47292 w 69858"/>
                  <a:gd name="connsiteY17" fmla="*/ 42530 h 80817"/>
                  <a:gd name="connsiteX18" fmla="*/ 33357 w 69858"/>
                  <a:gd name="connsiteY18" fmla="*/ 44326 h 80817"/>
                  <a:gd name="connsiteX19" fmla="*/ 21811 w 69858"/>
                  <a:gd name="connsiteY19" fmla="*/ 54744 h 80817"/>
                  <a:gd name="connsiteX20" fmla="*/ 24629 w 69858"/>
                  <a:gd name="connsiteY20" fmla="*/ 61371 h 80817"/>
                  <a:gd name="connsiteX21" fmla="*/ 32228 w 69858"/>
                  <a:gd name="connsiteY21" fmla="*/ 63946 h 80817"/>
                  <a:gd name="connsiteX22" fmla="*/ 43093 w 69858"/>
                  <a:gd name="connsiteY22" fmla="*/ 59345 h 80817"/>
                  <a:gd name="connsiteX23" fmla="*/ 47292 w 69858"/>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7">
                    <a:moveTo>
                      <a:pt x="69550" y="78855"/>
                    </a:moveTo>
                    <a:lnTo>
                      <a:pt x="47150" y="78855"/>
                    </a:lnTo>
                    <a:lnTo>
                      <a:pt x="47150" y="67900"/>
                    </a:lnTo>
                    <a:lnTo>
                      <a:pt x="46843" y="67900"/>
                    </a:lnTo>
                    <a:cubicBezTo>
                      <a:pt x="42271" y="76167"/>
                      <a:pt x="33423" y="81152"/>
                      <a:pt x="23982" y="80783"/>
                    </a:cubicBezTo>
                    <a:cubicBezTo>
                      <a:pt x="17513" y="81133"/>
                      <a:pt x="11187" y="78848"/>
                      <a:pt x="6440" y="74451"/>
                    </a:cubicBezTo>
                    <a:cubicBezTo>
                      <a:pt x="2054" y="69955"/>
                      <a:pt x="-271" y="63841"/>
                      <a:pt x="25" y="57570"/>
                    </a:cubicBezTo>
                    <a:cubicBezTo>
                      <a:pt x="25" y="42694"/>
                      <a:pt x="8841" y="34106"/>
                      <a:pt x="26482" y="31805"/>
                    </a:cubicBezTo>
                    <a:lnTo>
                      <a:pt x="47314" y="29034"/>
                    </a:lnTo>
                    <a:cubicBezTo>
                      <a:pt x="47314" y="20643"/>
                      <a:pt x="42764" y="16450"/>
                      <a:pt x="33675" y="16458"/>
                    </a:cubicBezTo>
                    <a:cubicBezTo>
                      <a:pt x="24355" y="16508"/>
                      <a:pt x="15277" y="19352"/>
                      <a:pt x="7591" y="24619"/>
                    </a:cubicBezTo>
                    <a:lnTo>
                      <a:pt x="7591" y="6741"/>
                    </a:lnTo>
                    <a:cubicBezTo>
                      <a:pt x="11900" y="4696"/>
                      <a:pt x="16450" y="3188"/>
                      <a:pt x="21131" y="2250"/>
                    </a:cubicBezTo>
                    <a:cubicBezTo>
                      <a:pt x="26252" y="1022"/>
                      <a:pt x="31482" y="368"/>
                      <a:pt x="36745" y="300"/>
                    </a:cubicBezTo>
                    <a:cubicBezTo>
                      <a:pt x="52589" y="-1982"/>
                      <a:pt x="67280" y="8998"/>
                      <a:pt x="69561" y="24825"/>
                    </a:cubicBezTo>
                    <a:cubicBezTo>
                      <a:pt x="69956" y="27543"/>
                      <a:pt x="69956" y="30302"/>
                      <a:pt x="69572" y="33021"/>
                    </a:cubicBezTo>
                    <a:close/>
                    <a:moveTo>
                      <a:pt x="47292" y="47700"/>
                    </a:moveTo>
                    <a:lnTo>
                      <a:pt x="47292" y="42530"/>
                    </a:lnTo>
                    <a:lnTo>
                      <a:pt x="33357" y="44326"/>
                    </a:lnTo>
                    <a:cubicBezTo>
                      <a:pt x="25671" y="45334"/>
                      <a:pt x="21822" y="48806"/>
                      <a:pt x="21811" y="54744"/>
                    </a:cubicBezTo>
                    <a:cubicBezTo>
                      <a:pt x="21734" y="57258"/>
                      <a:pt x="22765" y="59679"/>
                      <a:pt x="24629" y="61371"/>
                    </a:cubicBezTo>
                    <a:cubicBezTo>
                      <a:pt x="26734" y="63172"/>
                      <a:pt x="29454" y="64095"/>
                      <a:pt x="32228" y="63946"/>
                    </a:cubicBezTo>
                    <a:cubicBezTo>
                      <a:pt x="36350" y="64087"/>
                      <a:pt x="40331" y="62403"/>
                      <a:pt x="43093" y="59345"/>
                    </a:cubicBezTo>
                    <a:cubicBezTo>
                      <a:pt x="45944" y="56149"/>
                      <a:pt x="47446" y="51978"/>
                      <a:pt x="47292" y="4770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5" name="Freeform: Shape 154">
                <a:extLst>
                  <a:ext uri="{FF2B5EF4-FFF2-40B4-BE49-F238E27FC236}">
                    <a16:creationId xmlns:a16="http://schemas.microsoft.com/office/drawing/2014/main" id="{F02A9A12-E697-4090-419E-5DF8C112A43B}"/>
                  </a:ext>
                </a:extLst>
              </p:cNvPr>
              <p:cNvSpPr/>
              <p:nvPr/>
            </p:nvSpPr>
            <p:spPr>
              <a:xfrm>
                <a:off x="7187784" y="2245655"/>
                <a:ext cx="69858" cy="80817"/>
              </a:xfrm>
              <a:custGeom>
                <a:avLst/>
                <a:gdLst>
                  <a:gd name="connsiteX0" fmla="*/ 69550 w 69858"/>
                  <a:gd name="connsiteY0" fmla="*/ 78855 h 80817"/>
                  <a:gd name="connsiteX1" fmla="*/ 47139 w 69858"/>
                  <a:gd name="connsiteY1" fmla="*/ 78855 h 80817"/>
                  <a:gd name="connsiteX2" fmla="*/ 47139 w 69858"/>
                  <a:gd name="connsiteY2" fmla="*/ 67900 h 80817"/>
                  <a:gd name="connsiteX3" fmla="*/ 46843 w 69858"/>
                  <a:gd name="connsiteY3" fmla="*/ 67900 h 80817"/>
                  <a:gd name="connsiteX4" fmla="*/ 23982 w 69858"/>
                  <a:gd name="connsiteY4" fmla="*/ 80783 h 80817"/>
                  <a:gd name="connsiteX5" fmla="*/ 6440 w 69858"/>
                  <a:gd name="connsiteY5" fmla="*/ 74451 h 80817"/>
                  <a:gd name="connsiteX6" fmla="*/ 25 w 69858"/>
                  <a:gd name="connsiteY6" fmla="*/ 57570 h 80817"/>
                  <a:gd name="connsiteX7" fmla="*/ 26482 w 69858"/>
                  <a:gd name="connsiteY7" fmla="*/ 31805 h 80817"/>
                  <a:gd name="connsiteX8" fmla="*/ 47314 w 69858"/>
                  <a:gd name="connsiteY8" fmla="*/ 29034 h 80817"/>
                  <a:gd name="connsiteX9" fmla="*/ 33664 w 69858"/>
                  <a:gd name="connsiteY9" fmla="*/ 16458 h 80817"/>
                  <a:gd name="connsiteX10" fmla="*/ 7591 w 69858"/>
                  <a:gd name="connsiteY10" fmla="*/ 24619 h 80817"/>
                  <a:gd name="connsiteX11" fmla="*/ 7591 w 69858"/>
                  <a:gd name="connsiteY11" fmla="*/ 6741 h 80817"/>
                  <a:gd name="connsiteX12" fmla="*/ 21121 w 69858"/>
                  <a:gd name="connsiteY12" fmla="*/ 2250 h 80817"/>
                  <a:gd name="connsiteX13" fmla="*/ 36745 w 69858"/>
                  <a:gd name="connsiteY13" fmla="*/ 300 h 80817"/>
                  <a:gd name="connsiteX14" fmla="*/ 69562 w 69858"/>
                  <a:gd name="connsiteY14" fmla="*/ 24825 h 80817"/>
                  <a:gd name="connsiteX15" fmla="*/ 69572 w 69858"/>
                  <a:gd name="connsiteY15" fmla="*/ 33021 h 80817"/>
                  <a:gd name="connsiteX16" fmla="*/ 47293 w 69858"/>
                  <a:gd name="connsiteY16" fmla="*/ 47700 h 80817"/>
                  <a:gd name="connsiteX17" fmla="*/ 47293 w 69858"/>
                  <a:gd name="connsiteY17" fmla="*/ 42530 h 80817"/>
                  <a:gd name="connsiteX18" fmla="*/ 33346 w 69858"/>
                  <a:gd name="connsiteY18" fmla="*/ 44326 h 80817"/>
                  <a:gd name="connsiteX19" fmla="*/ 21801 w 69858"/>
                  <a:gd name="connsiteY19" fmla="*/ 54744 h 80817"/>
                  <a:gd name="connsiteX20" fmla="*/ 24619 w 69858"/>
                  <a:gd name="connsiteY20" fmla="*/ 61371 h 80817"/>
                  <a:gd name="connsiteX21" fmla="*/ 32228 w 69858"/>
                  <a:gd name="connsiteY21" fmla="*/ 63946 h 80817"/>
                  <a:gd name="connsiteX22" fmla="*/ 43094 w 69858"/>
                  <a:gd name="connsiteY22" fmla="*/ 59345 h 80817"/>
                  <a:gd name="connsiteX23" fmla="*/ 47293 w 69858"/>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7">
                    <a:moveTo>
                      <a:pt x="69550" y="78855"/>
                    </a:moveTo>
                    <a:lnTo>
                      <a:pt x="47139" y="78855"/>
                    </a:lnTo>
                    <a:lnTo>
                      <a:pt x="47139" y="67900"/>
                    </a:lnTo>
                    <a:lnTo>
                      <a:pt x="46843" y="67900"/>
                    </a:lnTo>
                    <a:cubicBezTo>
                      <a:pt x="42271" y="76167"/>
                      <a:pt x="33423" y="81152"/>
                      <a:pt x="23982" y="80783"/>
                    </a:cubicBezTo>
                    <a:cubicBezTo>
                      <a:pt x="17514" y="81130"/>
                      <a:pt x="11187" y="78846"/>
                      <a:pt x="6440" y="74451"/>
                    </a:cubicBezTo>
                    <a:cubicBezTo>
                      <a:pt x="2054" y="69955"/>
                      <a:pt x="-271" y="63841"/>
                      <a:pt x="25" y="57570"/>
                    </a:cubicBezTo>
                    <a:cubicBezTo>
                      <a:pt x="25" y="42694"/>
                      <a:pt x="8841" y="34106"/>
                      <a:pt x="26482" y="31805"/>
                    </a:cubicBezTo>
                    <a:lnTo>
                      <a:pt x="47314" y="29034"/>
                    </a:lnTo>
                    <a:cubicBezTo>
                      <a:pt x="47314" y="20643"/>
                      <a:pt x="42764" y="16450"/>
                      <a:pt x="33664" y="16458"/>
                    </a:cubicBezTo>
                    <a:cubicBezTo>
                      <a:pt x="24355" y="16510"/>
                      <a:pt x="15266" y="19353"/>
                      <a:pt x="7591" y="24619"/>
                    </a:cubicBezTo>
                    <a:lnTo>
                      <a:pt x="7591" y="6741"/>
                    </a:lnTo>
                    <a:cubicBezTo>
                      <a:pt x="11900" y="4696"/>
                      <a:pt x="16439" y="3188"/>
                      <a:pt x="21121" y="2250"/>
                    </a:cubicBezTo>
                    <a:cubicBezTo>
                      <a:pt x="26241" y="1021"/>
                      <a:pt x="31482" y="367"/>
                      <a:pt x="36745" y="300"/>
                    </a:cubicBezTo>
                    <a:cubicBezTo>
                      <a:pt x="52589" y="-1982"/>
                      <a:pt x="67281" y="8998"/>
                      <a:pt x="69562" y="24825"/>
                    </a:cubicBezTo>
                    <a:cubicBezTo>
                      <a:pt x="69956" y="27543"/>
                      <a:pt x="69956" y="30302"/>
                      <a:pt x="69572" y="33021"/>
                    </a:cubicBezTo>
                    <a:close/>
                    <a:moveTo>
                      <a:pt x="47293" y="47700"/>
                    </a:moveTo>
                    <a:lnTo>
                      <a:pt x="47293" y="42530"/>
                    </a:lnTo>
                    <a:lnTo>
                      <a:pt x="33346" y="44326"/>
                    </a:lnTo>
                    <a:cubicBezTo>
                      <a:pt x="25660" y="45334"/>
                      <a:pt x="21811" y="48806"/>
                      <a:pt x="21801" y="54744"/>
                    </a:cubicBezTo>
                    <a:cubicBezTo>
                      <a:pt x="21724" y="57258"/>
                      <a:pt x="22754" y="59679"/>
                      <a:pt x="24619" y="61371"/>
                    </a:cubicBezTo>
                    <a:cubicBezTo>
                      <a:pt x="26735" y="63173"/>
                      <a:pt x="29454" y="64095"/>
                      <a:pt x="32228" y="63946"/>
                    </a:cubicBezTo>
                    <a:cubicBezTo>
                      <a:pt x="36350" y="64085"/>
                      <a:pt x="40331" y="62402"/>
                      <a:pt x="43094" y="59345"/>
                    </a:cubicBezTo>
                    <a:cubicBezTo>
                      <a:pt x="45944" y="56149"/>
                      <a:pt x="47446" y="51978"/>
                      <a:pt x="47293" y="4770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6" name="Freeform: Shape 155">
                <a:extLst>
                  <a:ext uri="{FF2B5EF4-FFF2-40B4-BE49-F238E27FC236}">
                    <a16:creationId xmlns:a16="http://schemas.microsoft.com/office/drawing/2014/main" id="{03BBE226-0ED5-8996-042B-A885DCFBFEB1}"/>
                  </a:ext>
                </a:extLst>
              </p:cNvPr>
              <p:cNvSpPr/>
              <p:nvPr/>
            </p:nvSpPr>
            <p:spPr>
              <a:xfrm>
                <a:off x="7273113" y="2215323"/>
                <a:ext cx="73729" cy="111071"/>
              </a:xfrm>
              <a:custGeom>
                <a:avLst/>
                <a:gdLst>
                  <a:gd name="connsiteX0" fmla="*/ 492 w 73729"/>
                  <a:gd name="connsiteY0" fmla="*/ 105068 h 111071"/>
                  <a:gd name="connsiteX1" fmla="*/ 492 w 73729"/>
                  <a:gd name="connsiteY1" fmla="*/ 81099 h 111071"/>
                  <a:gd name="connsiteX2" fmla="*/ 14658 w 73729"/>
                  <a:gd name="connsiteY2" fmla="*/ 89304 h 111071"/>
                  <a:gd name="connsiteX3" fmla="*/ 30096 w 73729"/>
                  <a:gd name="connsiteY3" fmla="*/ 92032 h 111071"/>
                  <a:gd name="connsiteX4" fmla="*/ 38078 w 73729"/>
                  <a:gd name="connsiteY4" fmla="*/ 91210 h 111071"/>
                  <a:gd name="connsiteX5" fmla="*/ 43780 w 73729"/>
                  <a:gd name="connsiteY5" fmla="*/ 88932 h 111071"/>
                  <a:gd name="connsiteX6" fmla="*/ 47190 w 73729"/>
                  <a:gd name="connsiteY6" fmla="*/ 85481 h 111071"/>
                  <a:gd name="connsiteX7" fmla="*/ 48286 w 73729"/>
                  <a:gd name="connsiteY7" fmla="*/ 81176 h 111071"/>
                  <a:gd name="connsiteX8" fmla="*/ 46488 w 73729"/>
                  <a:gd name="connsiteY8" fmla="*/ 75556 h 111071"/>
                  <a:gd name="connsiteX9" fmla="*/ 41565 w 73729"/>
                  <a:gd name="connsiteY9" fmla="*/ 70999 h 111071"/>
                  <a:gd name="connsiteX10" fmla="*/ 34186 w 73729"/>
                  <a:gd name="connsiteY10" fmla="*/ 66946 h 111071"/>
                  <a:gd name="connsiteX11" fmla="*/ 24976 w 73729"/>
                  <a:gd name="connsiteY11" fmla="*/ 62981 h 111071"/>
                  <a:gd name="connsiteX12" fmla="*/ 6194 w 73729"/>
                  <a:gd name="connsiteY12" fmla="*/ 50175 h 111071"/>
                  <a:gd name="connsiteX13" fmla="*/ 10 w 73729"/>
                  <a:gd name="connsiteY13" fmla="*/ 31903 h 111071"/>
                  <a:gd name="connsiteX14" fmla="*/ 3387 w 73729"/>
                  <a:gd name="connsiteY14" fmla="*/ 17487 h 111071"/>
                  <a:gd name="connsiteX15" fmla="*/ 12564 w 73729"/>
                  <a:gd name="connsiteY15" fmla="*/ 7562 h 111071"/>
                  <a:gd name="connsiteX16" fmla="*/ 26018 w 73729"/>
                  <a:gd name="connsiteY16" fmla="*/ 1844 h 111071"/>
                  <a:gd name="connsiteX17" fmla="*/ 42212 w 73729"/>
                  <a:gd name="connsiteY17" fmla="*/ 3 h 111071"/>
                  <a:gd name="connsiteX18" fmla="*/ 57080 w 73729"/>
                  <a:gd name="connsiteY18" fmla="*/ 1011 h 111071"/>
                  <a:gd name="connsiteX19" fmla="*/ 69042 w 73729"/>
                  <a:gd name="connsiteY19" fmla="*/ 4122 h 111071"/>
                  <a:gd name="connsiteX20" fmla="*/ 69042 w 73729"/>
                  <a:gd name="connsiteY20" fmla="*/ 26469 h 111071"/>
                  <a:gd name="connsiteX21" fmla="*/ 63154 w 73729"/>
                  <a:gd name="connsiteY21" fmla="*/ 23183 h 111071"/>
                  <a:gd name="connsiteX22" fmla="*/ 56575 w 73729"/>
                  <a:gd name="connsiteY22" fmla="*/ 20828 h 111071"/>
                  <a:gd name="connsiteX23" fmla="*/ 49865 w 73729"/>
                  <a:gd name="connsiteY23" fmla="*/ 19437 h 111071"/>
                  <a:gd name="connsiteX24" fmla="*/ 43539 w 73729"/>
                  <a:gd name="connsiteY24" fmla="*/ 18988 h 111071"/>
                  <a:gd name="connsiteX25" fmla="*/ 36039 w 73729"/>
                  <a:gd name="connsiteY25" fmla="*/ 19776 h 111071"/>
                  <a:gd name="connsiteX26" fmla="*/ 30349 w 73729"/>
                  <a:gd name="connsiteY26" fmla="*/ 21967 h 111071"/>
                  <a:gd name="connsiteX27" fmla="*/ 26752 w 73729"/>
                  <a:gd name="connsiteY27" fmla="*/ 25374 h 111071"/>
                  <a:gd name="connsiteX28" fmla="*/ 25470 w 73729"/>
                  <a:gd name="connsiteY28" fmla="*/ 29832 h 111071"/>
                  <a:gd name="connsiteX29" fmla="*/ 26895 w 73729"/>
                  <a:gd name="connsiteY29" fmla="*/ 34652 h 111071"/>
                  <a:gd name="connsiteX30" fmla="*/ 30952 w 73729"/>
                  <a:gd name="connsiteY30" fmla="*/ 38706 h 111071"/>
                  <a:gd name="connsiteX31" fmla="*/ 37322 w 73729"/>
                  <a:gd name="connsiteY31" fmla="*/ 42441 h 111071"/>
                  <a:gd name="connsiteX32" fmla="*/ 45786 w 73729"/>
                  <a:gd name="connsiteY32" fmla="*/ 46231 h 111071"/>
                  <a:gd name="connsiteX33" fmla="*/ 57365 w 73729"/>
                  <a:gd name="connsiteY33" fmla="*/ 51960 h 111071"/>
                  <a:gd name="connsiteX34" fmla="*/ 66136 w 73729"/>
                  <a:gd name="connsiteY34" fmla="*/ 58807 h 111071"/>
                  <a:gd name="connsiteX35" fmla="*/ 71761 w 73729"/>
                  <a:gd name="connsiteY35" fmla="*/ 67571 h 111071"/>
                  <a:gd name="connsiteX36" fmla="*/ 73712 w 73729"/>
                  <a:gd name="connsiteY36" fmla="*/ 78996 h 111071"/>
                  <a:gd name="connsiteX37" fmla="*/ 70292 w 73729"/>
                  <a:gd name="connsiteY37" fmla="*/ 94080 h 111071"/>
                  <a:gd name="connsiteX38" fmla="*/ 61049 w 73729"/>
                  <a:gd name="connsiteY38" fmla="*/ 103939 h 111071"/>
                  <a:gd name="connsiteX39" fmla="*/ 47431 w 73729"/>
                  <a:gd name="connsiteY39" fmla="*/ 109417 h 111071"/>
                  <a:gd name="connsiteX40" fmla="*/ 31061 w 73729"/>
                  <a:gd name="connsiteY40" fmla="*/ 111071 h 111071"/>
                  <a:gd name="connsiteX41" fmla="*/ 14231 w 73729"/>
                  <a:gd name="connsiteY41" fmla="*/ 109570 h 111071"/>
                  <a:gd name="connsiteX42" fmla="*/ 492 w 73729"/>
                  <a:gd name="connsiteY42" fmla="*/ 105068 h 11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3729" h="111071">
                    <a:moveTo>
                      <a:pt x="492" y="105068"/>
                    </a:moveTo>
                    <a:lnTo>
                      <a:pt x="492" y="81099"/>
                    </a:lnTo>
                    <a:cubicBezTo>
                      <a:pt x="4692" y="84655"/>
                      <a:pt x="9483" y="87433"/>
                      <a:pt x="14658" y="89304"/>
                    </a:cubicBezTo>
                    <a:cubicBezTo>
                      <a:pt x="19603" y="91096"/>
                      <a:pt x="24834" y="92020"/>
                      <a:pt x="30096" y="92032"/>
                    </a:cubicBezTo>
                    <a:cubicBezTo>
                      <a:pt x="32783" y="92071"/>
                      <a:pt x="35458" y="91795"/>
                      <a:pt x="38078" y="91210"/>
                    </a:cubicBezTo>
                    <a:cubicBezTo>
                      <a:pt x="40096" y="90771"/>
                      <a:pt x="42015" y="90001"/>
                      <a:pt x="43780" y="88932"/>
                    </a:cubicBezTo>
                    <a:cubicBezTo>
                      <a:pt x="45183" y="88081"/>
                      <a:pt x="46356" y="86895"/>
                      <a:pt x="47190" y="85481"/>
                    </a:cubicBezTo>
                    <a:cubicBezTo>
                      <a:pt x="47924" y="84167"/>
                      <a:pt x="48308" y="82682"/>
                      <a:pt x="48286" y="81176"/>
                    </a:cubicBezTo>
                    <a:cubicBezTo>
                      <a:pt x="48308" y="79158"/>
                      <a:pt x="47683" y="77188"/>
                      <a:pt x="46488" y="75556"/>
                    </a:cubicBezTo>
                    <a:cubicBezTo>
                      <a:pt x="45128" y="73762"/>
                      <a:pt x="43462" y="72220"/>
                      <a:pt x="41565" y="70999"/>
                    </a:cubicBezTo>
                    <a:cubicBezTo>
                      <a:pt x="39219" y="69446"/>
                      <a:pt x="36752" y="68090"/>
                      <a:pt x="34186" y="66946"/>
                    </a:cubicBezTo>
                    <a:cubicBezTo>
                      <a:pt x="31347" y="65654"/>
                      <a:pt x="28266" y="64328"/>
                      <a:pt x="24976" y="62981"/>
                    </a:cubicBezTo>
                    <a:cubicBezTo>
                      <a:pt x="17762" y="60313"/>
                      <a:pt x="11314" y="55916"/>
                      <a:pt x="6194" y="50175"/>
                    </a:cubicBezTo>
                    <a:cubicBezTo>
                      <a:pt x="2028" y="45011"/>
                      <a:pt x="-165" y="38534"/>
                      <a:pt x="10" y="31903"/>
                    </a:cubicBezTo>
                    <a:cubicBezTo>
                      <a:pt x="-121" y="26887"/>
                      <a:pt x="1041" y="21921"/>
                      <a:pt x="3387" y="17487"/>
                    </a:cubicBezTo>
                    <a:cubicBezTo>
                      <a:pt x="5613" y="13496"/>
                      <a:pt x="8760" y="10094"/>
                      <a:pt x="12564" y="7562"/>
                    </a:cubicBezTo>
                    <a:cubicBezTo>
                      <a:pt x="16676" y="4869"/>
                      <a:pt x="21226" y="2933"/>
                      <a:pt x="26018" y="1844"/>
                    </a:cubicBezTo>
                    <a:cubicBezTo>
                      <a:pt x="31324" y="593"/>
                      <a:pt x="36763" y="-25"/>
                      <a:pt x="42212" y="3"/>
                    </a:cubicBezTo>
                    <a:cubicBezTo>
                      <a:pt x="47190" y="-38"/>
                      <a:pt x="52156" y="298"/>
                      <a:pt x="57080" y="1011"/>
                    </a:cubicBezTo>
                    <a:cubicBezTo>
                      <a:pt x="61169" y="1629"/>
                      <a:pt x="65171" y="2672"/>
                      <a:pt x="69042" y="4122"/>
                    </a:cubicBezTo>
                    <a:lnTo>
                      <a:pt x="69042" y="26469"/>
                    </a:lnTo>
                    <a:cubicBezTo>
                      <a:pt x="67189" y="25194"/>
                      <a:pt x="65215" y="24093"/>
                      <a:pt x="63154" y="23183"/>
                    </a:cubicBezTo>
                    <a:cubicBezTo>
                      <a:pt x="61027" y="22237"/>
                      <a:pt x="58823" y="21449"/>
                      <a:pt x="56575" y="20828"/>
                    </a:cubicBezTo>
                    <a:cubicBezTo>
                      <a:pt x="54372" y="20214"/>
                      <a:pt x="52135" y="19750"/>
                      <a:pt x="49865" y="19437"/>
                    </a:cubicBezTo>
                    <a:cubicBezTo>
                      <a:pt x="47771" y="19147"/>
                      <a:pt x="45655" y="18997"/>
                      <a:pt x="43539" y="18988"/>
                    </a:cubicBezTo>
                    <a:cubicBezTo>
                      <a:pt x="41017" y="18962"/>
                      <a:pt x="38495" y="19227"/>
                      <a:pt x="36039" y="19776"/>
                    </a:cubicBezTo>
                    <a:cubicBezTo>
                      <a:pt x="34033" y="20195"/>
                      <a:pt x="32114" y="20935"/>
                      <a:pt x="30349" y="21967"/>
                    </a:cubicBezTo>
                    <a:cubicBezTo>
                      <a:pt x="28901" y="22808"/>
                      <a:pt x="27673" y="23975"/>
                      <a:pt x="26752" y="25374"/>
                    </a:cubicBezTo>
                    <a:cubicBezTo>
                      <a:pt x="25897" y="26702"/>
                      <a:pt x="25447" y="28253"/>
                      <a:pt x="25470" y="29832"/>
                    </a:cubicBezTo>
                    <a:cubicBezTo>
                      <a:pt x="25447" y="31547"/>
                      <a:pt x="25941" y="33228"/>
                      <a:pt x="26895" y="34652"/>
                    </a:cubicBezTo>
                    <a:cubicBezTo>
                      <a:pt x="27991" y="36234"/>
                      <a:pt x="29373" y="37607"/>
                      <a:pt x="30952" y="38706"/>
                    </a:cubicBezTo>
                    <a:cubicBezTo>
                      <a:pt x="32958" y="40136"/>
                      <a:pt x="35096" y="41387"/>
                      <a:pt x="37322" y="42441"/>
                    </a:cubicBezTo>
                    <a:cubicBezTo>
                      <a:pt x="39811" y="43668"/>
                      <a:pt x="42640" y="44928"/>
                      <a:pt x="45786" y="46231"/>
                    </a:cubicBezTo>
                    <a:cubicBezTo>
                      <a:pt x="49777" y="47871"/>
                      <a:pt x="53637" y="49786"/>
                      <a:pt x="57365" y="51960"/>
                    </a:cubicBezTo>
                    <a:cubicBezTo>
                      <a:pt x="60589" y="53834"/>
                      <a:pt x="63538" y="56137"/>
                      <a:pt x="66136" y="58807"/>
                    </a:cubicBezTo>
                    <a:cubicBezTo>
                      <a:pt x="68560" y="61335"/>
                      <a:pt x="70478" y="64312"/>
                      <a:pt x="71761" y="67571"/>
                    </a:cubicBezTo>
                    <a:cubicBezTo>
                      <a:pt x="73121" y="71223"/>
                      <a:pt x="73789" y="75099"/>
                      <a:pt x="73712" y="78996"/>
                    </a:cubicBezTo>
                    <a:cubicBezTo>
                      <a:pt x="73888" y="84235"/>
                      <a:pt x="72715" y="89430"/>
                      <a:pt x="70292" y="94080"/>
                    </a:cubicBezTo>
                    <a:cubicBezTo>
                      <a:pt x="68077" y="98081"/>
                      <a:pt x="64898" y="101469"/>
                      <a:pt x="61049" y="103939"/>
                    </a:cubicBezTo>
                    <a:cubicBezTo>
                      <a:pt x="56882" y="106585"/>
                      <a:pt x="52266" y="108442"/>
                      <a:pt x="47431" y="109417"/>
                    </a:cubicBezTo>
                    <a:cubicBezTo>
                      <a:pt x="42047" y="110538"/>
                      <a:pt x="36565" y="111093"/>
                      <a:pt x="31061" y="111071"/>
                    </a:cubicBezTo>
                    <a:cubicBezTo>
                      <a:pt x="25415" y="111092"/>
                      <a:pt x="19779" y="110590"/>
                      <a:pt x="14231" y="109570"/>
                    </a:cubicBezTo>
                    <a:cubicBezTo>
                      <a:pt x="9461" y="108730"/>
                      <a:pt x="4834" y="107214"/>
                      <a:pt x="492" y="10506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1" name="Graphic 2" descr="Diagram showing responsibility zones.">
              <a:extLst>
                <a:ext uri="{FF2B5EF4-FFF2-40B4-BE49-F238E27FC236}">
                  <a16:creationId xmlns:a16="http://schemas.microsoft.com/office/drawing/2014/main" id="{36585313-5CE3-FF03-CF42-8DD49281BF1B}"/>
                </a:ext>
              </a:extLst>
            </p:cNvPr>
            <p:cNvGrpSpPr/>
            <p:nvPr/>
          </p:nvGrpSpPr>
          <p:grpSpPr>
            <a:xfrm>
              <a:off x="9001413" y="1381347"/>
              <a:ext cx="363085" cy="328527"/>
              <a:chOff x="7593536" y="2070681"/>
              <a:chExt cx="363085" cy="328527"/>
            </a:xfrm>
            <a:solidFill>
              <a:srgbClr val="2F2F2F"/>
            </a:solidFill>
          </p:grpSpPr>
          <p:sp>
            <p:nvSpPr>
              <p:cNvPr id="146" name="Freeform: Shape 145">
                <a:extLst>
                  <a:ext uri="{FF2B5EF4-FFF2-40B4-BE49-F238E27FC236}">
                    <a16:creationId xmlns:a16="http://schemas.microsoft.com/office/drawing/2014/main" id="{ACA02F7E-7F69-0117-6E14-057F73119B06}"/>
                  </a:ext>
                </a:extLst>
              </p:cNvPr>
              <p:cNvSpPr/>
              <p:nvPr/>
            </p:nvSpPr>
            <p:spPr>
              <a:xfrm>
                <a:off x="7644584" y="2070681"/>
                <a:ext cx="105482" cy="111141"/>
              </a:xfrm>
              <a:custGeom>
                <a:avLst/>
                <a:gdLst>
                  <a:gd name="connsiteX0" fmla="*/ 52225 w 105482"/>
                  <a:gd name="connsiteY0" fmla="*/ 111103 h 111141"/>
                  <a:gd name="connsiteX1" fmla="*/ 14595 w 105482"/>
                  <a:gd name="connsiteY1" fmla="*/ 96084 h 111141"/>
                  <a:gd name="connsiteX2" fmla="*/ 57 w 105482"/>
                  <a:gd name="connsiteY2" fmla="*/ 56955 h 111141"/>
                  <a:gd name="connsiteX3" fmla="*/ 14825 w 105482"/>
                  <a:gd name="connsiteY3" fmla="*/ 15766 h 111141"/>
                  <a:gd name="connsiteX4" fmla="*/ 53946 w 105482"/>
                  <a:gd name="connsiteY4" fmla="*/ 47 h 111141"/>
                  <a:gd name="connsiteX5" fmla="*/ 91225 w 105482"/>
                  <a:gd name="connsiteY5" fmla="*/ 15098 h 111141"/>
                  <a:gd name="connsiteX6" fmla="*/ 105424 w 105482"/>
                  <a:gd name="connsiteY6" fmla="*/ 54786 h 111141"/>
                  <a:gd name="connsiteX7" fmla="*/ 90699 w 105482"/>
                  <a:gd name="connsiteY7" fmla="*/ 95591 h 111141"/>
                  <a:gd name="connsiteX8" fmla="*/ 52225 w 105482"/>
                  <a:gd name="connsiteY8" fmla="*/ 111103 h 111141"/>
                  <a:gd name="connsiteX9" fmla="*/ 53321 w 105482"/>
                  <a:gd name="connsiteY9" fmla="*/ 20860 h 111141"/>
                  <a:gd name="connsiteX10" fmla="*/ 33081 w 105482"/>
                  <a:gd name="connsiteY10" fmla="*/ 30412 h 111141"/>
                  <a:gd name="connsiteX11" fmla="*/ 25582 w 105482"/>
                  <a:gd name="connsiteY11" fmla="*/ 55684 h 111141"/>
                  <a:gd name="connsiteX12" fmla="*/ 33081 w 105482"/>
                  <a:gd name="connsiteY12" fmla="*/ 80880 h 111141"/>
                  <a:gd name="connsiteX13" fmla="*/ 69527 w 105482"/>
                  <a:gd name="connsiteY13" fmla="*/ 84122 h 111141"/>
                  <a:gd name="connsiteX14" fmla="*/ 72553 w 105482"/>
                  <a:gd name="connsiteY14" fmla="*/ 81142 h 111141"/>
                  <a:gd name="connsiteX15" fmla="*/ 79899 w 105482"/>
                  <a:gd name="connsiteY15" fmla="*/ 56090 h 111141"/>
                  <a:gd name="connsiteX16" fmla="*/ 72783 w 105482"/>
                  <a:gd name="connsiteY16" fmla="*/ 30106 h 111141"/>
                  <a:gd name="connsiteX17" fmla="*/ 53278 w 105482"/>
                  <a:gd name="connsiteY17" fmla="*/ 20860 h 11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482" h="111141">
                    <a:moveTo>
                      <a:pt x="52225" y="111103"/>
                    </a:moveTo>
                    <a:cubicBezTo>
                      <a:pt x="38125" y="111619"/>
                      <a:pt x="24463" y="106165"/>
                      <a:pt x="14595" y="96084"/>
                    </a:cubicBezTo>
                    <a:cubicBezTo>
                      <a:pt x="4694" y="85517"/>
                      <a:pt x="-546" y="71418"/>
                      <a:pt x="57" y="56955"/>
                    </a:cubicBezTo>
                    <a:cubicBezTo>
                      <a:pt x="-613" y="41821"/>
                      <a:pt x="4683" y="27030"/>
                      <a:pt x="14825" y="15766"/>
                    </a:cubicBezTo>
                    <a:cubicBezTo>
                      <a:pt x="24989" y="5148"/>
                      <a:pt x="39254" y="-580"/>
                      <a:pt x="53946" y="47"/>
                    </a:cubicBezTo>
                    <a:cubicBezTo>
                      <a:pt x="67959" y="-520"/>
                      <a:pt x="81544" y="4963"/>
                      <a:pt x="91225" y="15098"/>
                    </a:cubicBezTo>
                    <a:cubicBezTo>
                      <a:pt x="100995" y="25948"/>
                      <a:pt x="106093" y="40206"/>
                      <a:pt x="105424" y="54786"/>
                    </a:cubicBezTo>
                    <a:cubicBezTo>
                      <a:pt x="106104" y="69798"/>
                      <a:pt x="100808" y="84469"/>
                      <a:pt x="90699" y="95591"/>
                    </a:cubicBezTo>
                    <a:cubicBezTo>
                      <a:pt x="80689" y="106023"/>
                      <a:pt x="66676" y="111670"/>
                      <a:pt x="52225" y="111103"/>
                    </a:cubicBezTo>
                    <a:close/>
                    <a:moveTo>
                      <a:pt x="53321" y="20860"/>
                    </a:moveTo>
                    <a:cubicBezTo>
                      <a:pt x="45427" y="20579"/>
                      <a:pt x="37883" y="24140"/>
                      <a:pt x="33081" y="30412"/>
                    </a:cubicBezTo>
                    <a:cubicBezTo>
                      <a:pt x="27785" y="37743"/>
                      <a:pt x="25143" y="46655"/>
                      <a:pt x="25582" y="55684"/>
                    </a:cubicBezTo>
                    <a:cubicBezTo>
                      <a:pt x="25099" y="64695"/>
                      <a:pt x="27753" y="73596"/>
                      <a:pt x="33081" y="80880"/>
                    </a:cubicBezTo>
                    <a:cubicBezTo>
                      <a:pt x="42247" y="91831"/>
                      <a:pt x="58573" y="93282"/>
                      <a:pt x="69527" y="84122"/>
                    </a:cubicBezTo>
                    <a:cubicBezTo>
                      <a:pt x="70623" y="83213"/>
                      <a:pt x="71632" y="82216"/>
                      <a:pt x="72553" y="81142"/>
                    </a:cubicBezTo>
                    <a:cubicBezTo>
                      <a:pt x="77838" y="73897"/>
                      <a:pt x="80436" y="65039"/>
                      <a:pt x="79899" y="56090"/>
                    </a:cubicBezTo>
                    <a:cubicBezTo>
                      <a:pt x="80458" y="46881"/>
                      <a:pt x="77958" y="37745"/>
                      <a:pt x="72783" y="30106"/>
                    </a:cubicBezTo>
                    <a:cubicBezTo>
                      <a:pt x="68200" y="24006"/>
                      <a:pt x="60909" y="20549"/>
                      <a:pt x="53278" y="208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7" name="Freeform: Shape 146">
                <a:extLst>
                  <a:ext uri="{FF2B5EF4-FFF2-40B4-BE49-F238E27FC236}">
                    <a16:creationId xmlns:a16="http://schemas.microsoft.com/office/drawing/2014/main" id="{3EB14D5F-4366-D87A-9EA1-AE9EC2FB6BAC}"/>
                  </a:ext>
                </a:extLst>
              </p:cNvPr>
              <p:cNvSpPr/>
              <p:nvPr/>
            </p:nvSpPr>
            <p:spPr>
              <a:xfrm>
                <a:off x="7765995" y="2101341"/>
                <a:ext cx="74130" cy="78569"/>
              </a:xfrm>
              <a:custGeom>
                <a:avLst/>
                <a:gdLst>
                  <a:gd name="connsiteX0" fmla="*/ 74130 w 74130"/>
                  <a:gd name="connsiteY0" fmla="*/ 78569 h 78569"/>
                  <a:gd name="connsiteX1" fmla="*/ 50524 w 74130"/>
                  <a:gd name="connsiteY1" fmla="*/ 78569 h 78569"/>
                  <a:gd name="connsiteX2" fmla="*/ 50524 w 74130"/>
                  <a:gd name="connsiteY2" fmla="*/ 35956 h 78569"/>
                  <a:gd name="connsiteX3" fmla="*/ 37783 w 74130"/>
                  <a:gd name="connsiteY3" fmla="*/ 18133 h 78569"/>
                  <a:gd name="connsiteX4" fmla="*/ 27663 w 74130"/>
                  <a:gd name="connsiteY4" fmla="*/ 22855 h 78569"/>
                  <a:gd name="connsiteX5" fmla="*/ 23694 w 74130"/>
                  <a:gd name="connsiteY5" fmla="*/ 34828 h 78569"/>
                  <a:gd name="connsiteX6" fmla="*/ 23694 w 74130"/>
                  <a:gd name="connsiteY6" fmla="*/ 78569 h 78569"/>
                  <a:gd name="connsiteX7" fmla="*/ 0 w 74130"/>
                  <a:gd name="connsiteY7" fmla="*/ 78569 h 78569"/>
                  <a:gd name="connsiteX8" fmla="*/ 0 w 74130"/>
                  <a:gd name="connsiteY8" fmla="*/ 1888 h 78569"/>
                  <a:gd name="connsiteX9" fmla="*/ 23694 w 74130"/>
                  <a:gd name="connsiteY9" fmla="*/ 1888 h 78569"/>
                  <a:gd name="connsiteX10" fmla="*/ 23694 w 74130"/>
                  <a:gd name="connsiteY10" fmla="*/ 14014 h 78569"/>
                  <a:gd name="connsiteX11" fmla="*/ 23990 w 74130"/>
                  <a:gd name="connsiteY11" fmla="*/ 14014 h 78569"/>
                  <a:gd name="connsiteX12" fmla="*/ 48649 w 74130"/>
                  <a:gd name="connsiteY12" fmla="*/ 15 h 78569"/>
                  <a:gd name="connsiteX13" fmla="*/ 74130 w 74130"/>
                  <a:gd name="connsiteY13" fmla="*/ 31618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30" h="78569">
                    <a:moveTo>
                      <a:pt x="74130" y="78569"/>
                    </a:moveTo>
                    <a:lnTo>
                      <a:pt x="50524" y="78569"/>
                    </a:lnTo>
                    <a:lnTo>
                      <a:pt x="50524" y="35956"/>
                    </a:lnTo>
                    <a:cubicBezTo>
                      <a:pt x="50524" y="24081"/>
                      <a:pt x="46281" y="18141"/>
                      <a:pt x="37783" y="18133"/>
                    </a:cubicBezTo>
                    <a:cubicBezTo>
                      <a:pt x="33858" y="18058"/>
                      <a:pt x="30119" y="19800"/>
                      <a:pt x="27663" y="22855"/>
                    </a:cubicBezTo>
                    <a:cubicBezTo>
                      <a:pt x="24933" y="26236"/>
                      <a:pt x="23530" y="30489"/>
                      <a:pt x="23694" y="34828"/>
                    </a:cubicBezTo>
                    <a:lnTo>
                      <a:pt x="23694" y="78569"/>
                    </a:lnTo>
                    <a:lnTo>
                      <a:pt x="0" y="78569"/>
                    </a:lnTo>
                    <a:lnTo>
                      <a:pt x="0" y="1888"/>
                    </a:lnTo>
                    <a:lnTo>
                      <a:pt x="23694" y="1888"/>
                    </a:lnTo>
                    <a:lnTo>
                      <a:pt x="23694" y="14014"/>
                    </a:lnTo>
                    <a:lnTo>
                      <a:pt x="23990" y="14014"/>
                    </a:lnTo>
                    <a:cubicBezTo>
                      <a:pt x="28924" y="5090"/>
                      <a:pt x="38452" y="-318"/>
                      <a:pt x="48649" y="15"/>
                    </a:cubicBezTo>
                    <a:cubicBezTo>
                      <a:pt x="65644" y="15"/>
                      <a:pt x="74141" y="10549"/>
                      <a:pt x="74130" y="3161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8" name="Freeform: Shape 147">
                <a:extLst>
                  <a:ext uri="{FF2B5EF4-FFF2-40B4-BE49-F238E27FC236}">
                    <a16:creationId xmlns:a16="http://schemas.microsoft.com/office/drawing/2014/main" id="{3B0884C1-32D1-2C65-97FA-861D6A00F72B}"/>
                  </a:ext>
                </a:extLst>
              </p:cNvPr>
              <p:cNvSpPr/>
              <p:nvPr/>
            </p:nvSpPr>
            <p:spPr>
              <a:xfrm>
                <a:off x="7858446" y="2130703"/>
                <a:ext cx="40995" cy="16552"/>
              </a:xfrm>
              <a:custGeom>
                <a:avLst/>
                <a:gdLst>
                  <a:gd name="connsiteX0" fmla="*/ 40995 w 40995"/>
                  <a:gd name="connsiteY0" fmla="*/ 16552 h 16552"/>
                  <a:gd name="connsiteX1" fmla="*/ 0 w 40995"/>
                  <a:gd name="connsiteY1" fmla="*/ 16552 h 16552"/>
                  <a:gd name="connsiteX2" fmla="*/ 0 w 40995"/>
                  <a:gd name="connsiteY2" fmla="*/ 0 h 16552"/>
                  <a:gd name="connsiteX3" fmla="*/ 40995 w 40995"/>
                  <a:gd name="connsiteY3" fmla="*/ 0 h 16552"/>
                </a:gdLst>
                <a:ahLst/>
                <a:cxnLst>
                  <a:cxn ang="0">
                    <a:pos x="connsiteX0" y="connsiteY0"/>
                  </a:cxn>
                  <a:cxn ang="0">
                    <a:pos x="connsiteX1" y="connsiteY1"/>
                  </a:cxn>
                  <a:cxn ang="0">
                    <a:pos x="connsiteX2" y="connsiteY2"/>
                  </a:cxn>
                  <a:cxn ang="0">
                    <a:pos x="connsiteX3" y="connsiteY3"/>
                  </a:cxn>
                </a:cxnLst>
                <a:rect l="l" t="t" r="r" b="b"/>
                <a:pathLst>
                  <a:path w="40995" h="16552">
                    <a:moveTo>
                      <a:pt x="40995" y="16552"/>
                    </a:moveTo>
                    <a:lnTo>
                      <a:pt x="0" y="16552"/>
                    </a:lnTo>
                    <a:lnTo>
                      <a:pt x="0" y="0"/>
                    </a:lnTo>
                    <a:lnTo>
                      <a:pt x="40995"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9" name="Freeform: Shape 148">
                <a:extLst>
                  <a:ext uri="{FF2B5EF4-FFF2-40B4-BE49-F238E27FC236}">
                    <a16:creationId xmlns:a16="http://schemas.microsoft.com/office/drawing/2014/main" id="{5E6CF3D0-09E4-0C6B-9615-260178990457}"/>
                  </a:ext>
                </a:extLst>
              </p:cNvPr>
              <p:cNvSpPr/>
              <p:nvPr/>
            </p:nvSpPr>
            <p:spPr>
              <a:xfrm>
                <a:off x="7593536" y="2285350"/>
                <a:ext cx="79886" cy="113857"/>
              </a:xfrm>
              <a:custGeom>
                <a:avLst/>
                <a:gdLst>
                  <a:gd name="connsiteX0" fmla="*/ 23957 w 79886"/>
                  <a:gd name="connsiteY0" fmla="*/ 69678 h 113857"/>
                  <a:gd name="connsiteX1" fmla="*/ 23650 w 79886"/>
                  <a:gd name="connsiteY1" fmla="*/ 69678 h 113857"/>
                  <a:gd name="connsiteX2" fmla="*/ 23650 w 79886"/>
                  <a:gd name="connsiteY2" fmla="*/ 113858 h 113857"/>
                  <a:gd name="connsiteX3" fmla="*/ 0 w 79886"/>
                  <a:gd name="connsiteY3" fmla="*/ 113858 h 113857"/>
                  <a:gd name="connsiteX4" fmla="*/ 0 w 79886"/>
                  <a:gd name="connsiteY4" fmla="*/ 1903 h 113857"/>
                  <a:gd name="connsiteX5" fmla="*/ 23683 w 79886"/>
                  <a:gd name="connsiteY5" fmla="*/ 1903 h 113857"/>
                  <a:gd name="connsiteX6" fmla="*/ 23683 w 79886"/>
                  <a:gd name="connsiteY6" fmla="*/ 13405 h 113857"/>
                  <a:gd name="connsiteX7" fmla="*/ 23990 w 79886"/>
                  <a:gd name="connsiteY7" fmla="*/ 13405 h 113857"/>
                  <a:gd name="connsiteX8" fmla="*/ 65786 w 79886"/>
                  <a:gd name="connsiteY8" fmla="*/ 5066 h 113857"/>
                  <a:gd name="connsiteX9" fmla="*/ 71696 w 79886"/>
                  <a:gd name="connsiteY9" fmla="*/ 10228 h 113857"/>
                  <a:gd name="connsiteX10" fmla="*/ 79820 w 79886"/>
                  <a:gd name="connsiteY10" fmla="*/ 38042 h 113857"/>
                  <a:gd name="connsiteX11" fmla="*/ 70348 w 79886"/>
                  <a:gd name="connsiteY11" fmla="*/ 68824 h 113857"/>
                  <a:gd name="connsiteX12" fmla="*/ 45129 w 79886"/>
                  <a:gd name="connsiteY12" fmla="*/ 80425 h 113857"/>
                  <a:gd name="connsiteX13" fmla="*/ 23957 w 79886"/>
                  <a:gd name="connsiteY13" fmla="*/ 69678 h 113857"/>
                  <a:gd name="connsiteX14" fmla="*/ 23277 w 79886"/>
                  <a:gd name="connsiteY14" fmla="*/ 38228 h 113857"/>
                  <a:gd name="connsiteX15" fmla="*/ 23277 w 79886"/>
                  <a:gd name="connsiteY15" fmla="*/ 44363 h 113857"/>
                  <a:gd name="connsiteX16" fmla="*/ 27477 w 79886"/>
                  <a:gd name="connsiteY16" fmla="*/ 57322 h 113857"/>
                  <a:gd name="connsiteX17" fmla="*/ 38441 w 79886"/>
                  <a:gd name="connsiteY17" fmla="*/ 62339 h 113857"/>
                  <a:gd name="connsiteX18" fmla="*/ 50995 w 79886"/>
                  <a:gd name="connsiteY18" fmla="*/ 56084 h 113857"/>
                  <a:gd name="connsiteX19" fmla="*/ 55447 w 79886"/>
                  <a:gd name="connsiteY19" fmla="*/ 38381 h 113857"/>
                  <a:gd name="connsiteX20" fmla="*/ 39713 w 79886"/>
                  <a:gd name="connsiteY20" fmla="*/ 18159 h 113857"/>
                  <a:gd name="connsiteX21" fmla="*/ 27839 w 79886"/>
                  <a:gd name="connsiteY21" fmla="*/ 23637 h 113857"/>
                  <a:gd name="connsiteX22" fmla="*/ 23277 w 79886"/>
                  <a:gd name="connsiteY22" fmla="*/ 38228 h 113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86" h="113857">
                    <a:moveTo>
                      <a:pt x="23957" y="69678"/>
                    </a:moveTo>
                    <a:lnTo>
                      <a:pt x="23650" y="69678"/>
                    </a:lnTo>
                    <a:lnTo>
                      <a:pt x="23650" y="113858"/>
                    </a:lnTo>
                    <a:lnTo>
                      <a:pt x="0" y="113858"/>
                    </a:lnTo>
                    <a:lnTo>
                      <a:pt x="0" y="1903"/>
                    </a:lnTo>
                    <a:lnTo>
                      <a:pt x="23683" y="1903"/>
                    </a:lnTo>
                    <a:lnTo>
                      <a:pt x="23683" y="13405"/>
                    </a:lnTo>
                    <a:lnTo>
                      <a:pt x="23990" y="13405"/>
                    </a:lnTo>
                    <a:cubicBezTo>
                      <a:pt x="33233" y="-430"/>
                      <a:pt x="51938" y="-4164"/>
                      <a:pt x="65786" y="5066"/>
                    </a:cubicBezTo>
                    <a:cubicBezTo>
                      <a:pt x="67979" y="6523"/>
                      <a:pt x="69964" y="8258"/>
                      <a:pt x="71696" y="10228"/>
                    </a:cubicBezTo>
                    <a:cubicBezTo>
                      <a:pt x="77507" y="18301"/>
                      <a:pt x="80369" y="28116"/>
                      <a:pt x="79820" y="38042"/>
                    </a:cubicBezTo>
                    <a:cubicBezTo>
                      <a:pt x="80369" y="49095"/>
                      <a:pt x="77014" y="59989"/>
                      <a:pt x="70348" y="68824"/>
                    </a:cubicBezTo>
                    <a:cubicBezTo>
                      <a:pt x="64251" y="76453"/>
                      <a:pt x="54898" y="80754"/>
                      <a:pt x="45129" y="80425"/>
                    </a:cubicBezTo>
                    <a:cubicBezTo>
                      <a:pt x="36665" y="80846"/>
                      <a:pt x="28606" y="76757"/>
                      <a:pt x="23957" y="69678"/>
                    </a:cubicBezTo>
                    <a:close/>
                    <a:moveTo>
                      <a:pt x="23277" y="38228"/>
                    </a:moveTo>
                    <a:lnTo>
                      <a:pt x="23277" y="44363"/>
                    </a:lnTo>
                    <a:cubicBezTo>
                      <a:pt x="23080" y="49046"/>
                      <a:pt x="24571" y="53645"/>
                      <a:pt x="27477" y="57322"/>
                    </a:cubicBezTo>
                    <a:cubicBezTo>
                      <a:pt x="30163" y="60598"/>
                      <a:pt x="34209" y="62451"/>
                      <a:pt x="38441" y="62339"/>
                    </a:cubicBezTo>
                    <a:cubicBezTo>
                      <a:pt x="43419" y="62547"/>
                      <a:pt x="48167" y="60185"/>
                      <a:pt x="50995" y="56084"/>
                    </a:cubicBezTo>
                    <a:cubicBezTo>
                      <a:pt x="54274" y="50784"/>
                      <a:pt x="55830" y="44600"/>
                      <a:pt x="55447" y="38381"/>
                    </a:cubicBezTo>
                    <a:cubicBezTo>
                      <a:pt x="55447" y="24900"/>
                      <a:pt x="50206" y="18159"/>
                      <a:pt x="39713" y="18159"/>
                    </a:cubicBezTo>
                    <a:cubicBezTo>
                      <a:pt x="35119" y="18041"/>
                      <a:pt x="30733" y="20066"/>
                      <a:pt x="27839" y="23637"/>
                    </a:cubicBezTo>
                    <a:cubicBezTo>
                      <a:pt x="24626" y="27799"/>
                      <a:pt x="23003" y="32975"/>
                      <a:pt x="23277" y="3822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0" name="Freeform: Shape 149">
                <a:extLst>
                  <a:ext uri="{FF2B5EF4-FFF2-40B4-BE49-F238E27FC236}">
                    <a16:creationId xmlns:a16="http://schemas.microsoft.com/office/drawing/2014/main" id="{80AD681A-5260-CAC8-40CD-1A405C842E0F}"/>
                  </a:ext>
                </a:extLst>
              </p:cNvPr>
              <p:cNvSpPr/>
              <p:nvPr/>
            </p:nvSpPr>
            <p:spPr>
              <a:xfrm>
                <a:off x="7688838" y="2285904"/>
                <a:ext cx="50095" cy="78030"/>
              </a:xfrm>
              <a:custGeom>
                <a:avLst/>
                <a:gdLst>
                  <a:gd name="connsiteX0" fmla="*/ 50096 w 50095"/>
                  <a:gd name="connsiteY0" fmla="*/ 22711 h 78030"/>
                  <a:gd name="connsiteX1" fmla="*/ 40129 w 50095"/>
                  <a:gd name="connsiteY1" fmla="*/ 20388 h 78030"/>
                  <a:gd name="connsiteX2" fmla="*/ 28069 w 50095"/>
                  <a:gd name="connsiteY2" fmla="*/ 26041 h 78030"/>
                  <a:gd name="connsiteX3" fmla="*/ 23683 w 50095"/>
                  <a:gd name="connsiteY3" fmla="*/ 41432 h 78030"/>
                  <a:gd name="connsiteX4" fmla="*/ 23683 w 50095"/>
                  <a:gd name="connsiteY4" fmla="*/ 78031 h 78030"/>
                  <a:gd name="connsiteX5" fmla="*/ 0 w 50095"/>
                  <a:gd name="connsiteY5" fmla="*/ 78031 h 78030"/>
                  <a:gd name="connsiteX6" fmla="*/ 0 w 50095"/>
                  <a:gd name="connsiteY6" fmla="*/ 1350 h 78030"/>
                  <a:gd name="connsiteX7" fmla="*/ 23683 w 50095"/>
                  <a:gd name="connsiteY7" fmla="*/ 1350 h 78030"/>
                  <a:gd name="connsiteX8" fmla="*/ 23683 w 50095"/>
                  <a:gd name="connsiteY8" fmla="*/ 15590 h 78030"/>
                  <a:gd name="connsiteX9" fmla="*/ 23990 w 50095"/>
                  <a:gd name="connsiteY9" fmla="*/ 15590 h 78030"/>
                  <a:gd name="connsiteX10" fmla="*/ 44230 w 50095"/>
                  <a:gd name="connsiteY10" fmla="*/ 13 h 78030"/>
                  <a:gd name="connsiteX11" fmla="*/ 50074 w 50095"/>
                  <a:gd name="connsiteY11" fmla="*/ 911 h 7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95" h="78030">
                    <a:moveTo>
                      <a:pt x="50096" y="22711"/>
                    </a:moveTo>
                    <a:cubicBezTo>
                      <a:pt x="47026" y="21111"/>
                      <a:pt x="43594" y="20312"/>
                      <a:pt x="40129" y="20388"/>
                    </a:cubicBezTo>
                    <a:cubicBezTo>
                      <a:pt x="35425" y="20187"/>
                      <a:pt x="30919" y="22299"/>
                      <a:pt x="28069" y="26041"/>
                    </a:cubicBezTo>
                    <a:cubicBezTo>
                      <a:pt x="24933" y="30542"/>
                      <a:pt x="23398" y="35957"/>
                      <a:pt x="23683" y="41432"/>
                    </a:cubicBezTo>
                    <a:lnTo>
                      <a:pt x="23683" y="78031"/>
                    </a:lnTo>
                    <a:lnTo>
                      <a:pt x="0" y="78031"/>
                    </a:lnTo>
                    <a:lnTo>
                      <a:pt x="0" y="1350"/>
                    </a:lnTo>
                    <a:lnTo>
                      <a:pt x="23683" y="1350"/>
                    </a:lnTo>
                    <a:lnTo>
                      <a:pt x="23683" y="15590"/>
                    </a:lnTo>
                    <a:lnTo>
                      <a:pt x="23990" y="15590"/>
                    </a:lnTo>
                    <a:cubicBezTo>
                      <a:pt x="26281" y="6320"/>
                      <a:pt x="34669" y="-142"/>
                      <a:pt x="44230" y="13"/>
                    </a:cubicBezTo>
                    <a:cubicBezTo>
                      <a:pt x="46215" y="-69"/>
                      <a:pt x="48199" y="237"/>
                      <a:pt x="50074" y="91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1" name="Freeform: Shape 150">
                <a:extLst>
                  <a:ext uri="{FF2B5EF4-FFF2-40B4-BE49-F238E27FC236}">
                    <a16:creationId xmlns:a16="http://schemas.microsoft.com/office/drawing/2014/main" id="{BF33C3FD-7454-CDC5-E5E1-7AC7E5B38838}"/>
                  </a:ext>
                </a:extLst>
              </p:cNvPr>
              <p:cNvSpPr/>
              <p:nvPr/>
            </p:nvSpPr>
            <p:spPr>
              <a:xfrm>
                <a:off x="7746065" y="2285307"/>
                <a:ext cx="73755" cy="80662"/>
              </a:xfrm>
              <a:custGeom>
                <a:avLst/>
                <a:gdLst>
                  <a:gd name="connsiteX0" fmla="*/ 73698 w 73755"/>
                  <a:gd name="connsiteY0" fmla="*/ 47035 h 80662"/>
                  <a:gd name="connsiteX1" fmla="*/ 23624 w 73755"/>
                  <a:gd name="connsiteY1" fmla="*/ 47035 h 80662"/>
                  <a:gd name="connsiteX2" fmla="*/ 44687 w 73755"/>
                  <a:gd name="connsiteY2" fmla="*/ 63730 h 80662"/>
                  <a:gd name="connsiteX3" fmla="*/ 66955 w 73755"/>
                  <a:gd name="connsiteY3" fmla="*/ 57738 h 80662"/>
                  <a:gd name="connsiteX4" fmla="*/ 66955 w 73755"/>
                  <a:gd name="connsiteY4" fmla="*/ 74794 h 80662"/>
                  <a:gd name="connsiteX5" fmla="*/ 39292 w 73755"/>
                  <a:gd name="connsiteY5" fmla="*/ 80479 h 80662"/>
                  <a:gd name="connsiteX6" fmla="*/ 182 w 73755"/>
                  <a:gd name="connsiteY6" fmla="*/ 48560 h 80662"/>
                  <a:gd name="connsiteX7" fmla="*/ 171 w 73755"/>
                  <a:gd name="connsiteY7" fmla="*/ 41470 h 80662"/>
                  <a:gd name="connsiteX8" fmla="*/ 11256 w 73755"/>
                  <a:gd name="connsiteY8" fmla="*/ 11214 h 80662"/>
                  <a:gd name="connsiteX9" fmla="*/ 38547 w 73755"/>
                  <a:gd name="connsiteY9" fmla="*/ 62 h 80662"/>
                  <a:gd name="connsiteX10" fmla="*/ 64521 w 73755"/>
                  <a:gd name="connsiteY10" fmla="*/ 10020 h 80662"/>
                  <a:gd name="connsiteX11" fmla="*/ 73698 w 73755"/>
                  <a:gd name="connsiteY11" fmla="*/ 37045 h 80662"/>
                  <a:gd name="connsiteX12" fmla="*/ 51770 w 73755"/>
                  <a:gd name="connsiteY12" fmla="*/ 32510 h 80662"/>
                  <a:gd name="connsiteX13" fmla="*/ 38426 w 73755"/>
                  <a:gd name="connsiteY13" fmla="*/ 16078 h 80662"/>
                  <a:gd name="connsiteX14" fmla="*/ 28558 w 73755"/>
                  <a:gd name="connsiteY14" fmla="*/ 20788 h 80662"/>
                  <a:gd name="connsiteX15" fmla="*/ 23493 w 73755"/>
                  <a:gd name="connsiteY15" fmla="*/ 32553 h 8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62">
                    <a:moveTo>
                      <a:pt x="73698" y="47035"/>
                    </a:moveTo>
                    <a:lnTo>
                      <a:pt x="23624" y="47035"/>
                    </a:lnTo>
                    <a:cubicBezTo>
                      <a:pt x="24436" y="58165"/>
                      <a:pt x="31452" y="63730"/>
                      <a:pt x="44687" y="63730"/>
                    </a:cubicBezTo>
                    <a:cubicBezTo>
                      <a:pt x="52526" y="63899"/>
                      <a:pt x="60256" y="61819"/>
                      <a:pt x="66955" y="57738"/>
                    </a:cubicBezTo>
                    <a:lnTo>
                      <a:pt x="66955" y="74794"/>
                    </a:lnTo>
                    <a:cubicBezTo>
                      <a:pt x="58337" y="78916"/>
                      <a:pt x="48842" y="80868"/>
                      <a:pt x="39292" y="80479"/>
                    </a:cubicBezTo>
                    <a:cubicBezTo>
                      <a:pt x="19666" y="82457"/>
                      <a:pt x="2156" y="68166"/>
                      <a:pt x="182" y="48560"/>
                    </a:cubicBezTo>
                    <a:cubicBezTo>
                      <a:pt x="-59" y="46204"/>
                      <a:pt x="-59" y="43828"/>
                      <a:pt x="171" y="41470"/>
                    </a:cubicBezTo>
                    <a:cubicBezTo>
                      <a:pt x="-410" y="30298"/>
                      <a:pt x="3592" y="19372"/>
                      <a:pt x="11256" y="11214"/>
                    </a:cubicBezTo>
                    <a:cubicBezTo>
                      <a:pt x="18416" y="3877"/>
                      <a:pt x="28295" y="-162"/>
                      <a:pt x="38547" y="62"/>
                    </a:cubicBezTo>
                    <a:cubicBezTo>
                      <a:pt x="48239" y="-529"/>
                      <a:pt x="57712" y="3103"/>
                      <a:pt x="64521" y="10020"/>
                    </a:cubicBezTo>
                    <a:cubicBezTo>
                      <a:pt x="70946" y="17513"/>
                      <a:pt x="74236" y="27192"/>
                      <a:pt x="73698" y="37045"/>
                    </a:cubicBezTo>
                    <a:close/>
                    <a:moveTo>
                      <a:pt x="51770" y="32510"/>
                    </a:moveTo>
                    <a:cubicBezTo>
                      <a:pt x="51770" y="21555"/>
                      <a:pt x="47318" y="16078"/>
                      <a:pt x="38426" y="16078"/>
                    </a:cubicBezTo>
                    <a:cubicBezTo>
                      <a:pt x="34600" y="16083"/>
                      <a:pt x="30970" y="17813"/>
                      <a:pt x="28558" y="20788"/>
                    </a:cubicBezTo>
                    <a:cubicBezTo>
                      <a:pt x="25707" y="24100"/>
                      <a:pt x="23942" y="28207"/>
                      <a:pt x="23493" y="3255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2" name="Freeform: Shape 151">
                <a:extLst>
                  <a:ext uri="{FF2B5EF4-FFF2-40B4-BE49-F238E27FC236}">
                    <a16:creationId xmlns:a16="http://schemas.microsoft.com/office/drawing/2014/main" id="{08A4DC86-62FD-64F7-E152-AFBB51017002}"/>
                  </a:ext>
                </a:extLst>
              </p:cNvPr>
              <p:cNvSpPr/>
              <p:nvPr/>
            </p:nvSpPr>
            <p:spPr>
              <a:xfrm>
                <a:off x="7834752" y="2285336"/>
                <a:ext cx="121869" cy="78598"/>
              </a:xfrm>
              <a:custGeom>
                <a:avLst/>
                <a:gdLst>
                  <a:gd name="connsiteX0" fmla="*/ 121836 w 121869"/>
                  <a:gd name="connsiteY0" fmla="*/ 78598 h 78598"/>
                  <a:gd name="connsiteX1" fmla="*/ 98230 w 121869"/>
                  <a:gd name="connsiteY1" fmla="*/ 78598 h 78598"/>
                  <a:gd name="connsiteX2" fmla="*/ 98230 w 121869"/>
                  <a:gd name="connsiteY2" fmla="*/ 34868 h 78598"/>
                  <a:gd name="connsiteX3" fmla="*/ 85939 w 121869"/>
                  <a:gd name="connsiteY3" fmla="*/ 18173 h 78598"/>
                  <a:gd name="connsiteX4" fmla="*/ 76421 w 121869"/>
                  <a:gd name="connsiteY4" fmla="*/ 23191 h 78598"/>
                  <a:gd name="connsiteX5" fmla="*/ 72749 w 121869"/>
                  <a:gd name="connsiteY5" fmla="*/ 35690 h 78598"/>
                  <a:gd name="connsiteX6" fmla="*/ 72749 w 121869"/>
                  <a:gd name="connsiteY6" fmla="*/ 78598 h 78598"/>
                  <a:gd name="connsiteX7" fmla="*/ 49065 w 121869"/>
                  <a:gd name="connsiteY7" fmla="*/ 78598 h 78598"/>
                  <a:gd name="connsiteX8" fmla="*/ 49065 w 121869"/>
                  <a:gd name="connsiteY8" fmla="*/ 34419 h 78598"/>
                  <a:gd name="connsiteX9" fmla="*/ 37005 w 121869"/>
                  <a:gd name="connsiteY9" fmla="*/ 18173 h 78598"/>
                  <a:gd name="connsiteX10" fmla="*/ 27291 w 121869"/>
                  <a:gd name="connsiteY10" fmla="*/ 22961 h 78598"/>
                  <a:gd name="connsiteX11" fmla="*/ 23661 w 121869"/>
                  <a:gd name="connsiteY11" fmla="*/ 35996 h 78598"/>
                  <a:gd name="connsiteX12" fmla="*/ 23661 w 121869"/>
                  <a:gd name="connsiteY12" fmla="*/ 78598 h 78598"/>
                  <a:gd name="connsiteX13" fmla="*/ 0 w 121869"/>
                  <a:gd name="connsiteY13" fmla="*/ 78598 h 78598"/>
                  <a:gd name="connsiteX14" fmla="*/ 0 w 121869"/>
                  <a:gd name="connsiteY14" fmla="*/ 1917 h 78598"/>
                  <a:gd name="connsiteX15" fmla="*/ 23683 w 121869"/>
                  <a:gd name="connsiteY15" fmla="*/ 1917 h 78598"/>
                  <a:gd name="connsiteX16" fmla="*/ 23683 w 121869"/>
                  <a:gd name="connsiteY16" fmla="*/ 13901 h 78598"/>
                  <a:gd name="connsiteX17" fmla="*/ 23990 w 121869"/>
                  <a:gd name="connsiteY17" fmla="*/ 13901 h 78598"/>
                  <a:gd name="connsiteX18" fmla="*/ 48792 w 121869"/>
                  <a:gd name="connsiteY18" fmla="*/ 55 h 78598"/>
                  <a:gd name="connsiteX19" fmla="*/ 71060 w 121869"/>
                  <a:gd name="connsiteY19" fmla="*/ 14350 h 78598"/>
                  <a:gd name="connsiteX20" fmla="*/ 96837 w 121869"/>
                  <a:gd name="connsiteY20" fmla="*/ 55 h 78598"/>
                  <a:gd name="connsiteX21" fmla="*/ 121869 w 121869"/>
                  <a:gd name="connsiteY21" fmla="*/ 30902 h 7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869" h="78598">
                    <a:moveTo>
                      <a:pt x="121836" y="78598"/>
                    </a:moveTo>
                    <a:lnTo>
                      <a:pt x="98230" y="78598"/>
                    </a:lnTo>
                    <a:lnTo>
                      <a:pt x="98230" y="34868"/>
                    </a:lnTo>
                    <a:cubicBezTo>
                      <a:pt x="98230" y="23738"/>
                      <a:pt x="94129" y="18173"/>
                      <a:pt x="85939" y="18173"/>
                    </a:cubicBezTo>
                    <a:cubicBezTo>
                      <a:pt x="82123" y="18127"/>
                      <a:pt x="78538" y="20016"/>
                      <a:pt x="76421" y="23191"/>
                    </a:cubicBezTo>
                    <a:cubicBezTo>
                      <a:pt x="73878" y="26849"/>
                      <a:pt x="72584" y="31236"/>
                      <a:pt x="72749" y="35690"/>
                    </a:cubicBezTo>
                    <a:lnTo>
                      <a:pt x="72749" y="78598"/>
                    </a:lnTo>
                    <a:lnTo>
                      <a:pt x="49065" y="78598"/>
                    </a:lnTo>
                    <a:lnTo>
                      <a:pt x="49065" y="34419"/>
                    </a:lnTo>
                    <a:cubicBezTo>
                      <a:pt x="49065" y="23588"/>
                      <a:pt x="45041" y="18173"/>
                      <a:pt x="37005" y="18173"/>
                    </a:cubicBezTo>
                    <a:cubicBezTo>
                      <a:pt x="33178" y="18070"/>
                      <a:pt x="29538" y="19861"/>
                      <a:pt x="27291" y="22961"/>
                    </a:cubicBezTo>
                    <a:cubicBezTo>
                      <a:pt x="24692" y="26792"/>
                      <a:pt x="23409" y="31371"/>
                      <a:pt x="23661" y="35996"/>
                    </a:cubicBezTo>
                    <a:lnTo>
                      <a:pt x="23661" y="78598"/>
                    </a:lnTo>
                    <a:lnTo>
                      <a:pt x="0" y="78598"/>
                    </a:lnTo>
                    <a:lnTo>
                      <a:pt x="0" y="1917"/>
                    </a:lnTo>
                    <a:lnTo>
                      <a:pt x="23683" y="1917"/>
                    </a:lnTo>
                    <a:lnTo>
                      <a:pt x="23683" y="13901"/>
                    </a:lnTo>
                    <a:lnTo>
                      <a:pt x="23990" y="13901"/>
                    </a:lnTo>
                    <a:cubicBezTo>
                      <a:pt x="29285" y="5287"/>
                      <a:pt x="38671" y="42"/>
                      <a:pt x="48792" y="55"/>
                    </a:cubicBezTo>
                    <a:cubicBezTo>
                      <a:pt x="58561" y="-631"/>
                      <a:pt x="67628" y="5186"/>
                      <a:pt x="71060" y="14350"/>
                    </a:cubicBezTo>
                    <a:cubicBezTo>
                      <a:pt x="76301" y="5150"/>
                      <a:pt x="86246" y="-364"/>
                      <a:pt x="96837" y="55"/>
                    </a:cubicBezTo>
                    <a:cubicBezTo>
                      <a:pt x="113525" y="55"/>
                      <a:pt x="121869" y="10338"/>
                      <a:pt x="121869" y="3090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2" name="Graphic 2" descr="Diagram showing responsibility zones.">
              <a:extLst>
                <a:ext uri="{FF2B5EF4-FFF2-40B4-BE49-F238E27FC236}">
                  <a16:creationId xmlns:a16="http://schemas.microsoft.com/office/drawing/2014/main" id="{0BA31E00-A94A-9F86-9B10-D537693A7F58}"/>
                </a:ext>
              </a:extLst>
            </p:cNvPr>
            <p:cNvGrpSpPr/>
            <p:nvPr/>
          </p:nvGrpSpPr>
          <p:grpSpPr>
            <a:xfrm>
              <a:off x="2560930" y="2117172"/>
              <a:ext cx="1808499" cy="333593"/>
              <a:chOff x="1153053" y="2806506"/>
              <a:chExt cx="1808499" cy="333593"/>
            </a:xfrm>
            <a:solidFill>
              <a:srgbClr val="2F2F2F"/>
            </a:solidFill>
          </p:grpSpPr>
          <p:sp>
            <p:nvSpPr>
              <p:cNvPr id="105" name="Freeform: Shape 104">
                <a:extLst>
                  <a:ext uri="{FF2B5EF4-FFF2-40B4-BE49-F238E27FC236}">
                    <a16:creationId xmlns:a16="http://schemas.microsoft.com/office/drawing/2014/main" id="{85653809-4DA4-F268-EE11-CB2334010E77}"/>
                  </a:ext>
                </a:extLst>
              </p:cNvPr>
              <p:cNvSpPr/>
              <p:nvPr/>
            </p:nvSpPr>
            <p:spPr>
              <a:xfrm>
                <a:off x="1297443" y="2812674"/>
                <a:ext cx="90160" cy="107353"/>
              </a:xfrm>
              <a:custGeom>
                <a:avLst/>
                <a:gdLst>
                  <a:gd name="connsiteX0" fmla="*/ 90160 w 90160"/>
                  <a:gd name="connsiteY0" fmla="*/ 107354 h 107353"/>
                  <a:gd name="connsiteX1" fmla="*/ 62354 w 90160"/>
                  <a:gd name="connsiteY1" fmla="*/ 107354 h 107353"/>
                  <a:gd name="connsiteX2" fmla="*/ 45645 w 90160"/>
                  <a:gd name="connsiteY2" fmla="*/ 79727 h 107353"/>
                  <a:gd name="connsiteX3" fmla="*/ 42048 w 90160"/>
                  <a:gd name="connsiteY3" fmla="*/ 74107 h 107353"/>
                  <a:gd name="connsiteX4" fmla="*/ 38562 w 90160"/>
                  <a:gd name="connsiteY4" fmla="*/ 69879 h 107353"/>
                  <a:gd name="connsiteX5" fmla="*/ 34889 w 90160"/>
                  <a:gd name="connsiteY5" fmla="*/ 67184 h 107353"/>
                  <a:gd name="connsiteX6" fmla="*/ 30722 w 90160"/>
                  <a:gd name="connsiteY6" fmla="*/ 66242 h 107353"/>
                  <a:gd name="connsiteX7" fmla="*/ 24209 w 90160"/>
                  <a:gd name="connsiteY7" fmla="*/ 66242 h 107353"/>
                  <a:gd name="connsiteX8" fmla="*/ 24209 w 90160"/>
                  <a:gd name="connsiteY8" fmla="*/ 107354 h 107353"/>
                  <a:gd name="connsiteX9" fmla="*/ 0 w 90160"/>
                  <a:gd name="connsiteY9" fmla="*/ 107354 h 107353"/>
                  <a:gd name="connsiteX10" fmla="*/ 0 w 90160"/>
                  <a:gd name="connsiteY10" fmla="*/ 0 h 107353"/>
                  <a:gd name="connsiteX11" fmla="*/ 38375 w 90160"/>
                  <a:gd name="connsiteY11" fmla="*/ 0 h 107353"/>
                  <a:gd name="connsiteX12" fmla="*/ 77496 w 90160"/>
                  <a:gd name="connsiteY12" fmla="*/ 29205 h 107353"/>
                  <a:gd name="connsiteX13" fmla="*/ 75775 w 90160"/>
                  <a:gd name="connsiteY13" fmla="*/ 39579 h 107353"/>
                  <a:gd name="connsiteX14" fmla="*/ 70896 w 90160"/>
                  <a:gd name="connsiteY14" fmla="*/ 48156 h 107353"/>
                  <a:gd name="connsiteX15" fmla="*/ 63297 w 90160"/>
                  <a:gd name="connsiteY15" fmla="*/ 54729 h 107353"/>
                  <a:gd name="connsiteX16" fmla="*/ 53364 w 90160"/>
                  <a:gd name="connsiteY16" fmla="*/ 59110 h 107353"/>
                  <a:gd name="connsiteX17" fmla="*/ 53364 w 90160"/>
                  <a:gd name="connsiteY17" fmla="*/ 59406 h 107353"/>
                  <a:gd name="connsiteX18" fmla="*/ 58013 w 90160"/>
                  <a:gd name="connsiteY18" fmla="*/ 61838 h 107353"/>
                  <a:gd name="connsiteX19" fmla="*/ 62398 w 90160"/>
                  <a:gd name="connsiteY19" fmla="*/ 65771 h 107353"/>
                  <a:gd name="connsiteX20" fmla="*/ 66411 w 90160"/>
                  <a:gd name="connsiteY20" fmla="*/ 70602 h 107353"/>
                  <a:gd name="connsiteX21" fmla="*/ 69898 w 90160"/>
                  <a:gd name="connsiteY21" fmla="*/ 75663 h 107353"/>
                  <a:gd name="connsiteX22" fmla="*/ 24209 w 90160"/>
                  <a:gd name="connsiteY22" fmla="*/ 18097 h 107353"/>
                  <a:gd name="connsiteX23" fmla="*/ 24209 w 90160"/>
                  <a:gd name="connsiteY23" fmla="*/ 47970 h 107353"/>
                  <a:gd name="connsiteX24" fmla="*/ 34702 w 90160"/>
                  <a:gd name="connsiteY24" fmla="*/ 47970 h 107353"/>
                  <a:gd name="connsiteX25" fmla="*/ 47213 w 90160"/>
                  <a:gd name="connsiteY25" fmla="*/ 43478 h 107353"/>
                  <a:gd name="connsiteX26" fmla="*/ 52015 w 90160"/>
                  <a:gd name="connsiteY26" fmla="*/ 32173 h 107353"/>
                  <a:gd name="connsiteX27" fmla="*/ 35152 w 90160"/>
                  <a:gd name="connsiteY27" fmla="*/ 18097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0160" h="107353">
                    <a:moveTo>
                      <a:pt x="90160" y="107354"/>
                    </a:moveTo>
                    <a:lnTo>
                      <a:pt x="62354" y="107354"/>
                    </a:lnTo>
                    <a:lnTo>
                      <a:pt x="45645" y="79727"/>
                    </a:lnTo>
                    <a:cubicBezTo>
                      <a:pt x="44395" y="77623"/>
                      <a:pt x="43189" y="75750"/>
                      <a:pt x="42048" y="74107"/>
                    </a:cubicBezTo>
                    <a:cubicBezTo>
                      <a:pt x="41011" y="72600"/>
                      <a:pt x="39845" y="71184"/>
                      <a:pt x="38562" y="69879"/>
                    </a:cubicBezTo>
                    <a:cubicBezTo>
                      <a:pt x="37494" y="68784"/>
                      <a:pt x="36253" y="67874"/>
                      <a:pt x="34889" y="67184"/>
                    </a:cubicBezTo>
                    <a:cubicBezTo>
                      <a:pt x="33592" y="66553"/>
                      <a:pt x="32165" y="66231"/>
                      <a:pt x="30722" y="66242"/>
                    </a:cubicBezTo>
                    <a:lnTo>
                      <a:pt x="24209" y="66242"/>
                    </a:lnTo>
                    <a:lnTo>
                      <a:pt x="24209" y="107354"/>
                    </a:lnTo>
                    <a:lnTo>
                      <a:pt x="0" y="107354"/>
                    </a:lnTo>
                    <a:lnTo>
                      <a:pt x="0" y="0"/>
                    </a:lnTo>
                    <a:lnTo>
                      <a:pt x="38375" y="0"/>
                    </a:lnTo>
                    <a:cubicBezTo>
                      <a:pt x="64449" y="0"/>
                      <a:pt x="77489" y="9735"/>
                      <a:pt x="77496" y="29205"/>
                    </a:cubicBezTo>
                    <a:cubicBezTo>
                      <a:pt x="77535" y="32736"/>
                      <a:pt x="76951" y="36247"/>
                      <a:pt x="75775" y="39579"/>
                    </a:cubicBezTo>
                    <a:cubicBezTo>
                      <a:pt x="74655" y="42697"/>
                      <a:pt x="73004" y="45599"/>
                      <a:pt x="70896" y="48156"/>
                    </a:cubicBezTo>
                    <a:cubicBezTo>
                      <a:pt x="68739" y="50747"/>
                      <a:pt x="66172" y="52966"/>
                      <a:pt x="63297" y="54729"/>
                    </a:cubicBezTo>
                    <a:cubicBezTo>
                      <a:pt x="60204" y="56641"/>
                      <a:pt x="56861" y="58116"/>
                      <a:pt x="53364" y="59110"/>
                    </a:cubicBezTo>
                    <a:lnTo>
                      <a:pt x="53364" y="59406"/>
                    </a:lnTo>
                    <a:cubicBezTo>
                      <a:pt x="55039" y="59949"/>
                      <a:pt x="56610" y="60772"/>
                      <a:pt x="58013" y="61838"/>
                    </a:cubicBezTo>
                    <a:cubicBezTo>
                      <a:pt x="59585" y="63021"/>
                      <a:pt x="61052" y="64337"/>
                      <a:pt x="62398" y="65771"/>
                    </a:cubicBezTo>
                    <a:cubicBezTo>
                      <a:pt x="63825" y="67305"/>
                      <a:pt x="65165" y="68918"/>
                      <a:pt x="66411" y="70602"/>
                    </a:cubicBezTo>
                    <a:cubicBezTo>
                      <a:pt x="67683" y="72325"/>
                      <a:pt x="68845" y="74012"/>
                      <a:pt x="69898" y="75663"/>
                    </a:cubicBezTo>
                    <a:close/>
                    <a:moveTo>
                      <a:pt x="24209" y="18097"/>
                    </a:moveTo>
                    <a:lnTo>
                      <a:pt x="24209" y="47970"/>
                    </a:lnTo>
                    <a:lnTo>
                      <a:pt x="34702" y="47970"/>
                    </a:lnTo>
                    <a:cubicBezTo>
                      <a:pt x="39303" y="48185"/>
                      <a:pt x="43802" y="46571"/>
                      <a:pt x="47213" y="43478"/>
                    </a:cubicBezTo>
                    <a:cubicBezTo>
                      <a:pt x="50356" y="40569"/>
                      <a:pt x="52104" y="36454"/>
                      <a:pt x="52015" y="32173"/>
                    </a:cubicBezTo>
                    <a:cubicBezTo>
                      <a:pt x="52015" y="22789"/>
                      <a:pt x="46394" y="18097"/>
                      <a:pt x="35152" y="18097"/>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06" name="Freeform: Shape 105">
                <a:extLst>
                  <a:ext uri="{FF2B5EF4-FFF2-40B4-BE49-F238E27FC236}">
                    <a16:creationId xmlns:a16="http://schemas.microsoft.com/office/drawing/2014/main" id="{6C04DFE5-C6F3-B17E-7C57-77B344F370BE}"/>
                  </a:ext>
                </a:extLst>
              </p:cNvPr>
              <p:cNvSpPr/>
              <p:nvPr/>
            </p:nvSpPr>
            <p:spPr>
              <a:xfrm>
                <a:off x="1388614" y="2841410"/>
                <a:ext cx="73767" cy="80676"/>
              </a:xfrm>
              <a:custGeom>
                <a:avLst/>
                <a:gdLst>
                  <a:gd name="connsiteX0" fmla="*/ 73755 w 73767"/>
                  <a:gd name="connsiteY0" fmla="*/ 47014 h 80676"/>
                  <a:gd name="connsiteX1" fmla="*/ 23680 w 73767"/>
                  <a:gd name="connsiteY1" fmla="*/ 47014 h 80676"/>
                  <a:gd name="connsiteX2" fmla="*/ 44743 w 73767"/>
                  <a:gd name="connsiteY2" fmla="*/ 63719 h 80676"/>
                  <a:gd name="connsiteX3" fmla="*/ 67001 w 73767"/>
                  <a:gd name="connsiteY3" fmla="*/ 57727 h 80676"/>
                  <a:gd name="connsiteX4" fmla="*/ 67001 w 73767"/>
                  <a:gd name="connsiteY4" fmla="*/ 74794 h 80676"/>
                  <a:gd name="connsiteX5" fmla="*/ 39348 w 73767"/>
                  <a:gd name="connsiteY5" fmla="*/ 80490 h 80676"/>
                  <a:gd name="connsiteX6" fmla="*/ 184 w 73767"/>
                  <a:gd name="connsiteY6" fmla="*/ 48584 h 80676"/>
                  <a:gd name="connsiteX7" fmla="*/ 173 w 73767"/>
                  <a:gd name="connsiteY7" fmla="*/ 41471 h 80676"/>
                  <a:gd name="connsiteX8" fmla="*/ 11269 w 73767"/>
                  <a:gd name="connsiteY8" fmla="*/ 11225 h 80676"/>
                  <a:gd name="connsiteX9" fmla="*/ 38548 w 73767"/>
                  <a:gd name="connsiteY9" fmla="*/ 63 h 80676"/>
                  <a:gd name="connsiteX10" fmla="*/ 64523 w 73767"/>
                  <a:gd name="connsiteY10" fmla="*/ 10020 h 80676"/>
                  <a:gd name="connsiteX11" fmla="*/ 73711 w 73767"/>
                  <a:gd name="connsiteY11" fmla="*/ 37056 h 80676"/>
                  <a:gd name="connsiteX12" fmla="*/ 51826 w 73767"/>
                  <a:gd name="connsiteY12" fmla="*/ 32488 h 80676"/>
                  <a:gd name="connsiteX13" fmla="*/ 38482 w 73767"/>
                  <a:gd name="connsiteY13" fmla="*/ 16056 h 80676"/>
                  <a:gd name="connsiteX14" fmla="*/ 28614 w 73767"/>
                  <a:gd name="connsiteY14" fmla="*/ 20778 h 80676"/>
                  <a:gd name="connsiteX15" fmla="*/ 23527 w 73767"/>
                  <a:gd name="connsiteY15" fmla="*/ 32455 h 8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67" h="80676">
                    <a:moveTo>
                      <a:pt x="73755" y="47014"/>
                    </a:moveTo>
                    <a:lnTo>
                      <a:pt x="23680" y="47014"/>
                    </a:lnTo>
                    <a:cubicBezTo>
                      <a:pt x="24477" y="58143"/>
                      <a:pt x="31498" y="63711"/>
                      <a:pt x="44743" y="63719"/>
                    </a:cubicBezTo>
                    <a:cubicBezTo>
                      <a:pt x="52582" y="63886"/>
                      <a:pt x="60306" y="61806"/>
                      <a:pt x="67001" y="57727"/>
                    </a:cubicBezTo>
                    <a:lnTo>
                      <a:pt x="67001" y="74794"/>
                    </a:lnTo>
                    <a:cubicBezTo>
                      <a:pt x="58389" y="78926"/>
                      <a:pt x="48894" y="80881"/>
                      <a:pt x="39348" y="80490"/>
                    </a:cubicBezTo>
                    <a:cubicBezTo>
                      <a:pt x="19714" y="82485"/>
                      <a:pt x="2180" y="68201"/>
                      <a:pt x="184" y="48584"/>
                    </a:cubicBezTo>
                    <a:cubicBezTo>
                      <a:pt x="-58" y="46219"/>
                      <a:pt x="-61" y="43837"/>
                      <a:pt x="173" y="41471"/>
                    </a:cubicBezTo>
                    <a:cubicBezTo>
                      <a:pt x="-409" y="30299"/>
                      <a:pt x="3599" y="19375"/>
                      <a:pt x="11269" y="11225"/>
                    </a:cubicBezTo>
                    <a:cubicBezTo>
                      <a:pt x="18420" y="3887"/>
                      <a:pt x="28300" y="-156"/>
                      <a:pt x="38548" y="63"/>
                    </a:cubicBezTo>
                    <a:cubicBezTo>
                      <a:pt x="48240" y="-530"/>
                      <a:pt x="57715" y="3101"/>
                      <a:pt x="64523" y="10020"/>
                    </a:cubicBezTo>
                    <a:cubicBezTo>
                      <a:pt x="70955" y="17514"/>
                      <a:pt x="74246" y="27198"/>
                      <a:pt x="73711" y="37056"/>
                    </a:cubicBezTo>
                    <a:close/>
                    <a:moveTo>
                      <a:pt x="51826" y="32488"/>
                    </a:moveTo>
                    <a:cubicBezTo>
                      <a:pt x="51826" y="21533"/>
                      <a:pt x="47378" y="16056"/>
                      <a:pt x="38482" y="16056"/>
                    </a:cubicBezTo>
                    <a:cubicBezTo>
                      <a:pt x="34650" y="16068"/>
                      <a:pt x="31026" y="17802"/>
                      <a:pt x="28614" y="20778"/>
                    </a:cubicBezTo>
                    <a:cubicBezTo>
                      <a:pt x="25773" y="24065"/>
                      <a:pt x="23999" y="28138"/>
                      <a:pt x="23527" y="3245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07" name="Freeform: Shape 106">
                <a:extLst>
                  <a:ext uri="{FF2B5EF4-FFF2-40B4-BE49-F238E27FC236}">
                    <a16:creationId xmlns:a16="http://schemas.microsoft.com/office/drawing/2014/main" id="{92978A80-CC66-98F6-D499-3531627E0D54}"/>
                  </a:ext>
                </a:extLst>
              </p:cNvPr>
              <p:cNvSpPr/>
              <p:nvPr/>
            </p:nvSpPr>
            <p:spPr>
              <a:xfrm>
                <a:off x="1473183" y="2841429"/>
                <a:ext cx="58941" cy="80389"/>
              </a:xfrm>
              <a:custGeom>
                <a:avLst/>
                <a:gdLst>
                  <a:gd name="connsiteX0" fmla="*/ 29 w 58941"/>
                  <a:gd name="connsiteY0" fmla="*/ 76583 h 80389"/>
                  <a:gd name="connsiteX1" fmla="*/ 29 w 58941"/>
                  <a:gd name="connsiteY1" fmla="*/ 57413 h 80389"/>
                  <a:gd name="connsiteX2" fmla="*/ 11685 w 58941"/>
                  <a:gd name="connsiteY2" fmla="*/ 62649 h 80389"/>
                  <a:gd name="connsiteX3" fmla="*/ 22649 w 58941"/>
                  <a:gd name="connsiteY3" fmla="*/ 64369 h 80389"/>
                  <a:gd name="connsiteX4" fmla="*/ 32583 w 58941"/>
                  <a:gd name="connsiteY4" fmla="*/ 62649 h 80389"/>
                  <a:gd name="connsiteX5" fmla="*/ 36212 w 58941"/>
                  <a:gd name="connsiteY5" fmla="*/ 57413 h 80389"/>
                  <a:gd name="connsiteX6" fmla="*/ 34567 w 58941"/>
                  <a:gd name="connsiteY6" fmla="*/ 53666 h 80389"/>
                  <a:gd name="connsiteX7" fmla="*/ 30324 w 58941"/>
                  <a:gd name="connsiteY7" fmla="*/ 51037 h 80389"/>
                  <a:gd name="connsiteX8" fmla="*/ 24666 w 58941"/>
                  <a:gd name="connsiteY8" fmla="*/ 49022 h 80389"/>
                  <a:gd name="connsiteX9" fmla="*/ 18746 w 58941"/>
                  <a:gd name="connsiteY9" fmla="*/ 46995 h 80389"/>
                  <a:gd name="connsiteX10" fmla="*/ 10687 w 58941"/>
                  <a:gd name="connsiteY10" fmla="*/ 43292 h 80389"/>
                  <a:gd name="connsiteX11" fmla="*/ 4843 w 58941"/>
                  <a:gd name="connsiteY11" fmla="*/ 38692 h 80389"/>
                  <a:gd name="connsiteX12" fmla="*/ 1247 w 58941"/>
                  <a:gd name="connsiteY12" fmla="*/ 32623 h 80389"/>
                  <a:gd name="connsiteX13" fmla="*/ 8 w 58941"/>
                  <a:gd name="connsiteY13" fmla="*/ 24462 h 80389"/>
                  <a:gd name="connsiteX14" fmla="*/ 2825 w 58941"/>
                  <a:gd name="connsiteY14" fmla="*/ 13376 h 80389"/>
                  <a:gd name="connsiteX15" fmla="*/ 10314 w 58941"/>
                  <a:gd name="connsiteY15" fmla="*/ 5773 h 80389"/>
                  <a:gd name="connsiteX16" fmla="*/ 21037 w 58941"/>
                  <a:gd name="connsiteY16" fmla="*/ 1392 h 80389"/>
                  <a:gd name="connsiteX17" fmla="*/ 33591 w 58941"/>
                  <a:gd name="connsiteY17" fmla="*/ 0 h 80389"/>
                  <a:gd name="connsiteX18" fmla="*/ 43931 w 58941"/>
                  <a:gd name="connsiteY18" fmla="*/ 789 h 80389"/>
                  <a:gd name="connsiteX19" fmla="*/ 54281 w 58941"/>
                  <a:gd name="connsiteY19" fmla="*/ 3068 h 80389"/>
                  <a:gd name="connsiteX20" fmla="*/ 54281 w 58941"/>
                  <a:gd name="connsiteY20" fmla="*/ 21340 h 80389"/>
                  <a:gd name="connsiteX21" fmla="*/ 44644 w 58941"/>
                  <a:gd name="connsiteY21" fmla="*/ 17418 h 80389"/>
                  <a:gd name="connsiteX22" fmla="*/ 34567 w 58941"/>
                  <a:gd name="connsiteY22" fmla="*/ 16103 h 80389"/>
                  <a:gd name="connsiteX23" fmla="*/ 30182 w 58941"/>
                  <a:gd name="connsiteY23" fmla="*/ 16520 h 80389"/>
                  <a:gd name="connsiteX24" fmla="*/ 26541 w 58941"/>
                  <a:gd name="connsiteY24" fmla="*/ 17714 h 80389"/>
                  <a:gd name="connsiteX25" fmla="*/ 24074 w 58941"/>
                  <a:gd name="connsiteY25" fmla="*/ 19729 h 80389"/>
                  <a:gd name="connsiteX26" fmla="*/ 23175 w 58941"/>
                  <a:gd name="connsiteY26" fmla="*/ 22545 h 80389"/>
                  <a:gd name="connsiteX27" fmla="*/ 24524 w 58941"/>
                  <a:gd name="connsiteY27" fmla="*/ 26138 h 80389"/>
                  <a:gd name="connsiteX28" fmla="*/ 28043 w 58941"/>
                  <a:gd name="connsiteY28" fmla="*/ 28723 h 80389"/>
                  <a:gd name="connsiteX29" fmla="*/ 32879 w 58941"/>
                  <a:gd name="connsiteY29" fmla="*/ 30673 h 80389"/>
                  <a:gd name="connsiteX30" fmla="*/ 38164 w 58941"/>
                  <a:gd name="connsiteY30" fmla="*/ 32426 h 80389"/>
                  <a:gd name="connsiteX31" fmla="*/ 46705 w 58941"/>
                  <a:gd name="connsiteY31" fmla="*/ 36019 h 80389"/>
                  <a:gd name="connsiteX32" fmla="*/ 53284 w 58941"/>
                  <a:gd name="connsiteY32" fmla="*/ 40587 h 80389"/>
                  <a:gd name="connsiteX33" fmla="*/ 57483 w 58941"/>
                  <a:gd name="connsiteY33" fmla="*/ 46732 h 80389"/>
                  <a:gd name="connsiteX34" fmla="*/ 55981 w 58941"/>
                  <a:gd name="connsiteY34" fmla="*/ 66757 h 80389"/>
                  <a:gd name="connsiteX35" fmla="*/ 48119 w 58941"/>
                  <a:gd name="connsiteY35" fmla="*/ 74622 h 80389"/>
                  <a:gd name="connsiteX36" fmla="*/ 36793 w 58941"/>
                  <a:gd name="connsiteY36" fmla="*/ 79004 h 80389"/>
                  <a:gd name="connsiteX37" fmla="*/ 23493 w 58941"/>
                  <a:gd name="connsiteY37" fmla="*/ 80384 h 80389"/>
                  <a:gd name="connsiteX38" fmla="*/ 29 w 58941"/>
                  <a:gd name="connsiteY38" fmla="*/ 76583 h 8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1" h="80389">
                    <a:moveTo>
                      <a:pt x="29" y="76583"/>
                    </a:moveTo>
                    <a:lnTo>
                      <a:pt x="29" y="57413"/>
                    </a:lnTo>
                    <a:cubicBezTo>
                      <a:pt x="3678" y="59642"/>
                      <a:pt x="7594" y="61401"/>
                      <a:pt x="11685" y="62649"/>
                    </a:cubicBezTo>
                    <a:cubicBezTo>
                      <a:pt x="15237" y="63748"/>
                      <a:pt x="18930" y="64327"/>
                      <a:pt x="22649" y="64369"/>
                    </a:cubicBezTo>
                    <a:cubicBezTo>
                      <a:pt x="26046" y="64518"/>
                      <a:pt x="29435" y="63932"/>
                      <a:pt x="32583" y="62649"/>
                    </a:cubicBezTo>
                    <a:cubicBezTo>
                      <a:pt x="34773" y="61838"/>
                      <a:pt x="36224" y="59747"/>
                      <a:pt x="36212" y="57413"/>
                    </a:cubicBezTo>
                    <a:cubicBezTo>
                      <a:pt x="36243" y="55983"/>
                      <a:pt x="35642" y="54612"/>
                      <a:pt x="34567" y="53666"/>
                    </a:cubicBezTo>
                    <a:cubicBezTo>
                      <a:pt x="33307" y="52562"/>
                      <a:pt x="31874" y="51674"/>
                      <a:pt x="30324" y="51037"/>
                    </a:cubicBezTo>
                    <a:cubicBezTo>
                      <a:pt x="28481" y="50251"/>
                      <a:pt x="26592" y="49578"/>
                      <a:pt x="24666" y="49022"/>
                    </a:cubicBezTo>
                    <a:cubicBezTo>
                      <a:pt x="22616" y="48419"/>
                      <a:pt x="20653" y="47751"/>
                      <a:pt x="18746" y="46995"/>
                    </a:cubicBezTo>
                    <a:cubicBezTo>
                      <a:pt x="15967" y="45973"/>
                      <a:pt x="13272" y="44735"/>
                      <a:pt x="10687" y="43292"/>
                    </a:cubicBezTo>
                    <a:cubicBezTo>
                      <a:pt x="8508" y="42075"/>
                      <a:pt x="6537" y="40523"/>
                      <a:pt x="4843" y="38692"/>
                    </a:cubicBezTo>
                    <a:cubicBezTo>
                      <a:pt x="3262" y="36920"/>
                      <a:pt x="2040" y="34860"/>
                      <a:pt x="1247" y="32623"/>
                    </a:cubicBezTo>
                    <a:cubicBezTo>
                      <a:pt x="370" y="29993"/>
                      <a:pt x="-49" y="27233"/>
                      <a:pt x="8" y="24462"/>
                    </a:cubicBezTo>
                    <a:cubicBezTo>
                      <a:pt x="-97" y="20577"/>
                      <a:pt x="878" y="16740"/>
                      <a:pt x="2825" y="13376"/>
                    </a:cubicBezTo>
                    <a:cubicBezTo>
                      <a:pt x="4692" y="10291"/>
                      <a:pt x="7256" y="7686"/>
                      <a:pt x="10314" y="5773"/>
                    </a:cubicBezTo>
                    <a:cubicBezTo>
                      <a:pt x="13613" y="3714"/>
                      <a:pt x="17239" y="2232"/>
                      <a:pt x="21037" y="1392"/>
                    </a:cubicBezTo>
                    <a:cubicBezTo>
                      <a:pt x="25155" y="452"/>
                      <a:pt x="29367" y="-15"/>
                      <a:pt x="33591" y="0"/>
                    </a:cubicBezTo>
                    <a:cubicBezTo>
                      <a:pt x="37053" y="5"/>
                      <a:pt x="40509" y="269"/>
                      <a:pt x="43931" y="789"/>
                    </a:cubicBezTo>
                    <a:cubicBezTo>
                      <a:pt x="47429" y="1314"/>
                      <a:pt x="50887" y="2075"/>
                      <a:pt x="54281" y="3068"/>
                    </a:cubicBezTo>
                    <a:lnTo>
                      <a:pt x="54281" y="21340"/>
                    </a:lnTo>
                    <a:cubicBezTo>
                      <a:pt x="51267" y="19590"/>
                      <a:pt x="48024" y="18270"/>
                      <a:pt x="44644" y="17418"/>
                    </a:cubicBezTo>
                    <a:cubicBezTo>
                      <a:pt x="41353" y="16559"/>
                      <a:pt x="37968" y="16118"/>
                      <a:pt x="34567" y="16103"/>
                    </a:cubicBezTo>
                    <a:cubicBezTo>
                      <a:pt x="33095" y="16098"/>
                      <a:pt x="31627" y="16237"/>
                      <a:pt x="30182" y="16520"/>
                    </a:cubicBezTo>
                    <a:cubicBezTo>
                      <a:pt x="28918" y="16749"/>
                      <a:pt x="27694" y="17150"/>
                      <a:pt x="26541" y="17714"/>
                    </a:cubicBezTo>
                    <a:cubicBezTo>
                      <a:pt x="25568" y="18177"/>
                      <a:pt x="24721" y="18868"/>
                      <a:pt x="24074" y="19729"/>
                    </a:cubicBezTo>
                    <a:cubicBezTo>
                      <a:pt x="23477" y="20546"/>
                      <a:pt x="23162" y="21534"/>
                      <a:pt x="23175" y="22545"/>
                    </a:cubicBezTo>
                    <a:cubicBezTo>
                      <a:pt x="23149" y="23870"/>
                      <a:pt x="23631" y="25156"/>
                      <a:pt x="24524" y="26138"/>
                    </a:cubicBezTo>
                    <a:cubicBezTo>
                      <a:pt x="25525" y="27212"/>
                      <a:pt x="26719" y="28089"/>
                      <a:pt x="28043" y="28723"/>
                    </a:cubicBezTo>
                    <a:cubicBezTo>
                      <a:pt x="29605" y="29491"/>
                      <a:pt x="31221" y="30143"/>
                      <a:pt x="32879" y="30673"/>
                    </a:cubicBezTo>
                    <a:cubicBezTo>
                      <a:pt x="34655" y="31243"/>
                      <a:pt x="36409" y="31823"/>
                      <a:pt x="38164" y="32426"/>
                    </a:cubicBezTo>
                    <a:cubicBezTo>
                      <a:pt x="41088" y="33430"/>
                      <a:pt x="43942" y="34631"/>
                      <a:pt x="46705" y="36019"/>
                    </a:cubicBezTo>
                    <a:cubicBezTo>
                      <a:pt x="49109" y="37212"/>
                      <a:pt x="51326" y="38751"/>
                      <a:pt x="53284" y="40587"/>
                    </a:cubicBezTo>
                    <a:cubicBezTo>
                      <a:pt x="55099" y="42318"/>
                      <a:pt x="56530" y="44412"/>
                      <a:pt x="57483" y="46732"/>
                    </a:cubicBezTo>
                    <a:cubicBezTo>
                      <a:pt x="59860" y="53316"/>
                      <a:pt x="59313" y="60601"/>
                      <a:pt x="55981" y="66757"/>
                    </a:cubicBezTo>
                    <a:cubicBezTo>
                      <a:pt x="54023" y="69965"/>
                      <a:pt x="51327" y="72661"/>
                      <a:pt x="48119" y="74622"/>
                    </a:cubicBezTo>
                    <a:cubicBezTo>
                      <a:pt x="44621" y="76717"/>
                      <a:pt x="40791" y="78198"/>
                      <a:pt x="36793" y="79004"/>
                    </a:cubicBezTo>
                    <a:cubicBezTo>
                      <a:pt x="32422" y="79935"/>
                      <a:pt x="27963" y="80397"/>
                      <a:pt x="23493" y="80384"/>
                    </a:cubicBezTo>
                    <a:cubicBezTo>
                      <a:pt x="15510" y="80485"/>
                      <a:pt x="7571" y="79199"/>
                      <a:pt x="29" y="7658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08" name="Freeform: Shape 107">
                <a:extLst>
                  <a:ext uri="{FF2B5EF4-FFF2-40B4-BE49-F238E27FC236}">
                    <a16:creationId xmlns:a16="http://schemas.microsoft.com/office/drawing/2014/main" id="{75B97F40-0CFC-961A-F26A-8E4A9296C8D7}"/>
                  </a:ext>
                </a:extLst>
              </p:cNvPr>
              <p:cNvSpPr/>
              <p:nvPr/>
            </p:nvSpPr>
            <p:spPr>
              <a:xfrm>
                <a:off x="1546400" y="2841470"/>
                <a:ext cx="79887" cy="113820"/>
              </a:xfrm>
              <a:custGeom>
                <a:avLst/>
                <a:gdLst>
                  <a:gd name="connsiteX0" fmla="*/ 23979 w 79887"/>
                  <a:gd name="connsiteY0" fmla="*/ 69641 h 113820"/>
                  <a:gd name="connsiteX1" fmla="*/ 23683 w 79887"/>
                  <a:gd name="connsiteY1" fmla="*/ 69641 h 113820"/>
                  <a:gd name="connsiteX2" fmla="*/ 23683 w 79887"/>
                  <a:gd name="connsiteY2" fmla="*/ 113820 h 113820"/>
                  <a:gd name="connsiteX3" fmla="*/ 0 w 79887"/>
                  <a:gd name="connsiteY3" fmla="*/ 113820 h 113820"/>
                  <a:gd name="connsiteX4" fmla="*/ 0 w 79887"/>
                  <a:gd name="connsiteY4" fmla="*/ 1877 h 113820"/>
                  <a:gd name="connsiteX5" fmla="*/ 23683 w 79887"/>
                  <a:gd name="connsiteY5" fmla="*/ 1877 h 113820"/>
                  <a:gd name="connsiteX6" fmla="*/ 23683 w 79887"/>
                  <a:gd name="connsiteY6" fmla="*/ 13412 h 113820"/>
                  <a:gd name="connsiteX7" fmla="*/ 23979 w 79887"/>
                  <a:gd name="connsiteY7" fmla="*/ 13412 h 113820"/>
                  <a:gd name="connsiteX8" fmla="*/ 65778 w 79887"/>
                  <a:gd name="connsiteY8" fmla="*/ 5062 h 113820"/>
                  <a:gd name="connsiteX9" fmla="*/ 71685 w 79887"/>
                  <a:gd name="connsiteY9" fmla="*/ 10224 h 113820"/>
                  <a:gd name="connsiteX10" fmla="*/ 79821 w 79887"/>
                  <a:gd name="connsiteY10" fmla="*/ 38048 h 113820"/>
                  <a:gd name="connsiteX11" fmla="*/ 70337 w 79887"/>
                  <a:gd name="connsiteY11" fmla="*/ 68819 h 113820"/>
                  <a:gd name="connsiteX12" fmla="*/ 45118 w 79887"/>
                  <a:gd name="connsiteY12" fmla="*/ 80431 h 113820"/>
                  <a:gd name="connsiteX13" fmla="*/ 23979 w 79887"/>
                  <a:gd name="connsiteY13" fmla="*/ 69641 h 113820"/>
                  <a:gd name="connsiteX14" fmla="*/ 23299 w 79887"/>
                  <a:gd name="connsiteY14" fmla="*/ 38202 h 113820"/>
                  <a:gd name="connsiteX15" fmla="*/ 23299 w 79887"/>
                  <a:gd name="connsiteY15" fmla="*/ 44336 h 113820"/>
                  <a:gd name="connsiteX16" fmla="*/ 27488 w 79887"/>
                  <a:gd name="connsiteY16" fmla="*/ 57295 h 113820"/>
                  <a:gd name="connsiteX17" fmla="*/ 38507 w 79887"/>
                  <a:gd name="connsiteY17" fmla="*/ 62312 h 113820"/>
                  <a:gd name="connsiteX18" fmla="*/ 51061 w 79887"/>
                  <a:gd name="connsiteY18" fmla="*/ 56057 h 113820"/>
                  <a:gd name="connsiteX19" fmla="*/ 55524 w 79887"/>
                  <a:gd name="connsiteY19" fmla="*/ 38344 h 113820"/>
                  <a:gd name="connsiteX20" fmla="*/ 39779 w 79887"/>
                  <a:gd name="connsiteY20" fmla="*/ 18133 h 113820"/>
                  <a:gd name="connsiteX21" fmla="*/ 27904 w 79887"/>
                  <a:gd name="connsiteY21" fmla="*/ 23610 h 113820"/>
                  <a:gd name="connsiteX22" fmla="*/ 23299 w 79887"/>
                  <a:gd name="connsiteY22" fmla="*/ 38202 h 11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87" h="113820">
                    <a:moveTo>
                      <a:pt x="23979" y="69641"/>
                    </a:moveTo>
                    <a:lnTo>
                      <a:pt x="23683" y="69641"/>
                    </a:lnTo>
                    <a:lnTo>
                      <a:pt x="23683" y="113820"/>
                    </a:lnTo>
                    <a:lnTo>
                      <a:pt x="0" y="113820"/>
                    </a:lnTo>
                    <a:lnTo>
                      <a:pt x="0" y="1877"/>
                    </a:lnTo>
                    <a:lnTo>
                      <a:pt x="23683" y="1877"/>
                    </a:lnTo>
                    <a:lnTo>
                      <a:pt x="23683" y="13412"/>
                    </a:lnTo>
                    <a:lnTo>
                      <a:pt x="23979" y="13412"/>
                    </a:lnTo>
                    <a:cubicBezTo>
                      <a:pt x="33213" y="-426"/>
                      <a:pt x="51927" y="-4165"/>
                      <a:pt x="65778" y="5062"/>
                    </a:cubicBezTo>
                    <a:cubicBezTo>
                      <a:pt x="67964" y="6518"/>
                      <a:pt x="69950" y="8253"/>
                      <a:pt x="71685" y="10224"/>
                    </a:cubicBezTo>
                    <a:cubicBezTo>
                      <a:pt x="77502" y="18296"/>
                      <a:pt x="80372" y="28117"/>
                      <a:pt x="79821" y="38048"/>
                    </a:cubicBezTo>
                    <a:cubicBezTo>
                      <a:pt x="80374" y="49100"/>
                      <a:pt x="77017" y="59993"/>
                      <a:pt x="70337" y="68819"/>
                    </a:cubicBezTo>
                    <a:cubicBezTo>
                      <a:pt x="64243" y="76458"/>
                      <a:pt x="54890" y="80765"/>
                      <a:pt x="45118" y="80431"/>
                    </a:cubicBezTo>
                    <a:cubicBezTo>
                      <a:pt x="36656" y="80831"/>
                      <a:pt x="28614" y="76726"/>
                      <a:pt x="23979" y="69641"/>
                    </a:cubicBezTo>
                    <a:close/>
                    <a:moveTo>
                      <a:pt x="23299" y="38202"/>
                    </a:moveTo>
                    <a:lnTo>
                      <a:pt x="23299" y="44336"/>
                    </a:lnTo>
                    <a:cubicBezTo>
                      <a:pt x="23094" y="49018"/>
                      <a:pt x="24581" y="53618"/>
                      <a:pt x="27488" y="57295"/>
                    </a:cubicBezTo>
                    <a:cubicBezTo>
                      <a:pt x="30181" y="60587"/>
                      <a:pt x="34253" y="62442"/>
                      <a:pt x="38507" y="62312"/>
                    </a:cubicBezTo>
                    <a:cubicBezTo>
                      <a:pt x="43488" y="62516"/>
                      <a:pt x="48227" y="60155"/>
                      <a:pt x="51061" y="56057"/>
                    </a:cubicBezTo>
                    <a:cubicBezTo>
                      <a:pt x="54342" y="50754"/>
                      <a:pt x="55901" y="44567"/>
                      <a:pt x="55524" y="38344"/>
                    </a:cubicBezTo>
                    <a:cubicBezTo>
                      <a:pt x="55524" y="24870"/>
                      <a:pt x="50275" y="18133"/>
                      <a:pt x="39779" y="18133"/>
                    </a:cubicBezTo>
                    <a:cubicBezTo>
                      <a:pt x="35184" y="18015"/>
                      <a:pt x="30795" y="20039"/>
                      <a:pt x="27904" y="23610"/>
                    </a:cubicBezTo>
                    <a:cubicBezTo>
                      <a:pt x="24669" y="27765"/>
                      <a:pt x="23034" y="32943"/>
                      <a:pt x="23299" y="3820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09" name="Freeform: Shape 108">
                <a:extLst>
                  <a:ext uri="{FF2B5EF4-FFF2-40B4-BE49-F238E27FC236}">
                    <a16:creationId xmlns:a16="http://schemas.microsoft.com/office/drawing/2014/main" id="{CAC9D52A-2D28-C61C-4FA8-DFB4828C4386}"/>
                  </a:ext>
                </a:extLst>
              </p:cNvPr>
              <p:cNvSpPr/>
              <p:nvPr/>
            </p:nvSpPr>
            <p:spPr>
              <a:xfrm>
                <a:off x="1637514" y="2841406"/>
                <a:ext cx="83101" cy="80559"/>
              </a:xfrm>
              <a:custGeom>
                <a:avLst/>
                <a:gdLst>
                  <a:gd name="connsiteX0" fmla="*/ 41149 w 83101"/>
                  <a:gd name="connsiteY0" fmla="*/ 80494 h 80559"/>
                  <a:gd name="connsiteX1" fmla="*/ 10986 w 83101"/>
                  <a:gd name="connsiteY1" fmla="*/ 69748 h 80559"/>
                  <a:gd name="connsiteX2" fmla="*/ 11392 w 83101"/>
                  <a:gd name="connsiteY2" fmla="*/ 10813 h 80559"/>
                  <a:gd name="connsiteX3" fmla="*/ 42202 w 83101"/>
                  <a:gd name="connsiteY3" fmla="*/ 67 h 80559"/>
                  <a:gd name="connsiteX4" fmla="*/ 72179 w 83101"/>
                  <a:gd name="connsiteY4" fmla="*/ 10813 h 80559"/>
                  <a:gd name="connsiteX5" fmla="*/ 83044 w 83101"/>
                  <a:gd name="connsiteY5" fmla="*/ 39229 h 80559"/>
                  <a:gd name="connsiteX6" fmla="*/ 71839 w 83101"/>
                  <a:gd name="connsiteY6" fmla="*/ 69408 h 80559"/>
                  <a:gd name="connsiteX7" fmla="*/ 41149 w 83101"/>
                  <a:gd name="connsiteY7" fmla="*/ 80494 h 80559"/>
                  <a:gd name="connsiteX8" fmla="*/ 41752 w 83101"/>
                  <a:gd name="connsiteY8" fmla="*/ 18196 h 80559"/>
                  <a:gd name="connsiteX9" fmla="*/ 28705 w 83101"/>
                  <a:gd name="connsiteY9" fmla="*/ 23958 h 80559"/>
                  <a:gd name="connsiteX10" fmla="*/ 24056 w 83101"/>
                  <a:gd name="connsiteY10" fmla="*/ 40280 h 80559"/>
                  <a:gd name="connsiteX11" fmla="*/ 41895 w 83101"/>
                  <a:gd name="connsiteY11" fmla="*/ 62376 h 80559"/>
                  <a:gd name="connsiteX12" fmla="*/ 58912 w 83101"/>
                  <a:gd name="connsiteY12" fmla="*/ 39678 h 80559"/>
                  <a:gd name="connsiteX13" fmla="*/ 41752 w 83101"/>
                  <a:gd name="connsiteY13" fmla="*/ 18218 h 8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1" h="80559">
                    <a:moveTo>
                      <a:pt x="41149" y="80494"/>
                    </a:moveTo>
                    <a:cubicBezTo>
                      <a:pt x="30057" y="81116"/>
                      <a:pt x="19182" y="77242"/>
                      <a:pt x="10986" y="69748"/>
                    </a:cubicBezTo>
                    <a:cubicBezTo>
                      <a:pt x="-3816" y="52828"/>
                      <a:pt x="-3641" y="27528"/>
                      <a:pt x="11392" y="10813"/>
                    </a:cubicBezTo>
                    <a:cubicBezTo>
                      <a:pt x="19853" y="3332"/>
                      <a:pt x="30919" y="-528"/>
                      <a:pt x="42202" y="67"/>
                    </a:cubicBezTo>
                    <a:cubicBezTo>
                      <a:pt x="53240" y="-564"/>
                      <a:pt x="64061" y="3315"/>
                      <a:pt x="72179" y="10813"/>
                    </a:cubicBezTo>
                    <a:cubicBezTo>
                      <a:pt x="79583" y="18373"/>
                      <a:pt x="83518" y="28662"/>
                      <a:pt x="83044" y="39229"/>
                    </a:cubicBezTo>
                    <a:cubicBezTo>
                      <a:pt x="83639" y="50402"/>
                      <a:pt x="79584" y="61325"/>
                      <a:pt x="71839" y="69408"/>
                    </a:cubicBezTo>
                    <a:cubicBezTo>
                      <a:pt x="63543" y="77119"/>
                      <a:pt x="52462" y="81122"/>
                      <a:pt x="41149" y="80494"/>
                    </a:cubicBezTo>
                    <a:close/>
                    <a:moveTo>
                      <a:pt x="41752" y="18196"/>
                    </a:moveTo>
                    <a:cubicBezTo>
                      <a:pt x="36734" y="17938"/>
                      <a:pt x="31891" y="20076"/>
                      <a:pt x="28705" y="23958"/>
                    </a:cubicBezTo>
                    <a:cubicBezTo>
                      <a:pt x="25333" y="28708"/>
                      <a:pt x="23692" y="34469"/>
                      <a:pt x="24056" y="40280"/>
                    </a:cubicBezTo>
                    <a:cubicBezTo>
                      <a:pt x="24056" y="55003"/>
                      <a:pt x="30002" y="62368"/>
                      <a:pt x="41895" y="62376"/>
                    </a:cubicBezTo>
                    <a:cubicBezTo>
                      <a:pt x="53240" y="62376"/>
                      <a:pt x="58912" y="54809"/>
                      <a:pt x="58912" y="39678"/>
                    </a:cubicBezTo>
                    <a:cubicBezTo>
                      <a:pt x="58912" y="25371"/>
                      <a:pt x="53192" y="18218"/>
                      <a:pt x="41752" y="1821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0" name="Freeform: Shape 109">
                <a:extLst>
                  <a:ext uri="{FF2B5EF4-FFF2-40B4-BE49-F238E27FC236}">
                    <a16:creationId xmlns:a16="http://schemas.microsoft.com/office/drawing/2014/main" id="{BF82BFCC-4798-F684-D22A-E9D563CB147F}"/>
                  </a:ext>
                </a:extLst>
              </p:cNvPr>
              <p:cNvSpPr/>
              <p:nvPr/>
            </p:nvSpPr>
            <p:spPr>
              <a:xfrm>
                <a:off x="1735700" y="2841458"/>
                <a:ext cx="74119" cy="78569"/>
              </a:xfrm>
              <a:custGeom>
                <a:avLst/>
                <a:gdLst>
                  <a:gd name="connsiteX0" fmla="*/ 74119 w 74119"/>
                  <a:gd name="connsiteY0" fmla="*/ 78569 h 78569"/>
                  <a:gd name="connsiteX1" fmla="*/ 50513 w 74119"/>
                  <a:gd name="connsiteY1" fmla="*/ 78569 h 78569"/>
                  <a:gd name="connsiteX2" fmla="*/ 50513 w 74119"/>
                  <a:gd name="connsiteY2" fmla="*/ 35956 h 78569"/>
                  <a:gd name="connsiteX3" fmla="*/ 37772 w 74119"/>
                  <a:gd name="connsiteY3" fmla="*/ 18144 h 78569"/>
                  <a:gd name="connsiteX4" fmla="*/ 27652 w 74119"/>
                  <a:gd name="connsiteY4" fmla="*/ 22855 h 78569"/>
                  <a:gd name="connsiteX5" fmla="*/ 23683 w 74119"/>
                  <a:gd name="connsiteY5" fmla="*/ 34839 h 78569"/>
                  <a:gd name="connsiteX6" fmla="*/ 23683 w 74119"/>
                  <a:gd name="connsiteY6" fmla="*/ 78569 h 78569"/>
                  <a:gd name="connsiteX7" fmla="*/ 0 w 74119"/>
                  <a:gd name="connsiteY7" fmla="*/ 78569 h 78569"/>
                  <a:gd name="connsiteX8" fmla="*/ 0 w 74119"/>
                  <a:gd name="connsiteY8" fmla="*/ 1888 h 78569"/>
                  <a:gd name="connsiteX9" fmla="*/ 23683 w 74119"/>
                  <a:gd name="connsiteY9" fmla="*/ 1888 h 78569"/>
                  <a:gd name="connsiteX10" fmla="*/ 23683 w 74119"/>
                  <a:gd name="connsiteY10" fmla="*/ 14025 h 78569"/>
                  <a:gd name="connsiteX11" fmla="*/ 23979 w 74119"/>
                  <a:gd name="connsiteY11" fmla="*/ 14025 h 78569"/>
                  <a:gd name="connsiteX12" fmla="*/ 48638 w 74119"/>
                  <a:gd name="connsiteY12" fmla="*/ 15 h 78569"/>
                  <a:gd name="connsiteX13" fmla="*/ 74119 w 74119"/>
                  <a:gd name="connsiteY13" fmla="*/ 31618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69"/>
                    </a:moveTo>
                    <a:lnTo>
                      <a:pt x="50513" y="78569"/>
                    </a:lnTo>
                    <a:lnTo>
                      <a:pt x="50513" y="35956"/>
                    </a:lnTo>
                    <a:cubicBezTo>
                      <a:pt x="50513" y="24082"/>
                      <a:pt x="46266" y="18144"/>
                      <a:pt x="37772" y="18144"/>
                    </a:cubicBezTo>
                    <a:cubicBezTo>
                      <a:pt x="33850" y="18064"/>
                      <a:pt x="30114" y="19804"/>
                      <a:pt x="27652" y="22855"/>
                    </a:cubicBezTo>
                    <a:cubicBezTo>
                      <a:pt x="24925" y="26241"/>
                      <a:pt x="23515" y="30497"/>
                      <a:pt x="23683" y="34839"/>
                    </a:cubicBezTo>
                    <a:lnTo>
                      <a:pt x="23683" y="78569"/>
                    </a:lnTo>
                    <a:lnTo>
                      <a:pt x="0" y="78569"/>
                    </a:lnTo>
                    <a:lnTo>
                      <a:pt x="0" y="1888"/>
                    </a:lnTo>
                    <a:lnTo>
                      <a:pt x="23683" y="1888"/>
                    </a:lnTo>
                    <a:lnTo>
                      <a:pt x="23683" y="14025"/>
                    </a:lnTo>
                    <a:lnTo>
                      <a:pt x="23979" y="14025"/>
                    </a:lnTo>
                    <a:cubicBezTo>
                      <a:pt x="28907" y="5093"/>
                      <a:pt x="38435" y="-321"/>
                      <a:pt x="48638" y="15"/>
                    </a:cubicBezTo>
                    <a:cubicBezTo>
                      <a:pt x="65633" y="15"/>
                      <a:pt x="74127" y="10550"/>
                      <a:pt x="74119" y="3161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1" name="Freeform: Shape 110">
                <a:extLst>
                  <a:ext uri="{FF2B5EF4-FFF2-40B4-BE49-F238E27FC236}">
                    <a16:creationId xmlns:a16="http://schemas.microsoft.com/office/drawing/2014/main" id="{3FCAF12B-B43A-8390-CE98-FC8D5021EFD8}"/>
                  </a:ext>
                </a:extLst>
              </p:cNvPr>
              <p:cNvSpPr/>
              <p:nvPr/>
            </p:nvSpPr>
            <p:spPr>
              <a:xfrm>
                <a:off x="1824877" y="2841429"/>
                <a:ext cx="59007" cy="80433"/>
              </a:xfrm>
              <a:custGeom>
                <a:avLst/>
                <a:gdLst>
                  <a:gd name="connsiteX0" fmla="*/ 19 w 59007"/>
                  <a:gd name="connsiteY0" fmla="*/ 76583 h 80433"/>
                  <a:gd name="connsiteX1" fmla="*/ 19 w 59007"/>
                  <a:gd name="connsiteY1" fmla="*/ 57413 h 80433"/>
                  <a:gd name="connsiteX2" fmla="*/ 11674 w 59007"/>
                  <a:gd name="connsiteY2" fmla="*/ 62649 h 80433"/>
                  <a:gd name="connsiteX3" fmla="*/ 22639 w 59007"/>
                  <a:gd name="connsiteY3" fmla="*/ 64369 h 80433"/>
                  <a:gd name="connsiteX4" fmla="*/ 32572 w 59007"/>
                  <a:gd name="connsiteY4" fmla="*/ 62649 h 80433"/>
                  <a:gd name="connsiteX5" fmla="*/ 36212 w 59007"/>
                  <a:gd name="connsiteY5" fmla="*/ 57413 h 80433"/>
                  <a:gd name="connsiteX6" fmla="*/ 34557 w 59007"/>
                  <a:gd name="connsiteY6" fmla="*/ 53666 h 80433"/>
                  <a:gd name="connsiteX7" fmla="*/ 30325 w 59007"/>
                  <a:gd name="connsiteY7" fmla="*/ 51037 h 80433"/>
                  <a:gd name="connsiteX8" fmla="*/ 24667 w 59007"/>
                  <a:gd name="connsiteY8" fmla="*/ 49022 h 80433"/>
                  <a:gd name="connsiteX9" fmla="*/ 18746 w 59007"/>
                  <a:gd name="connsiteY9" fmla="*/ 46995 h 80433"/>
                  <a:gd name="connsiteX10" fmla="*/ 10687 w 59007"/>
                  <a:gd name="connsiteY10" fmla="*/ 43292 h 80433"/>
                  <a:gd name="connsiteX11" fmla="*/ 4843 w 59007"/>
                  <a:gd name="connsiteY11" fmla="*/ 38692 h 80433"/>
                  <a:gd name="connsiteX12" fmla="*/ 1247 w 59007"/>
                  <a:gd name="connsiteY12" fmla="*/ 32623 h 80433"/>
                  <a:gd name="connsiteX13" fmla="*/ 8 w 59007"/>
                  <a:gd name="connsiteY13" fmla="*/ 24462 h 80433"/>
                  <a:gd name="connsiteX14" fmla="*/ 2815 w 59007"/>
                  <a:gd name="connsiteY14" fmla="*/ 13376 h 80433"/>
                  <a:gd name="connsiteX15" fmla="*/ 10315 w 59007"/>
                  <a:gd name="connsiteY15" fmla="*/ 5773 h 80433"/>
                  <a:gd name="connsiteX16" fmla="*/ 21027 w 59007"/>
                  <a:gd name="connsiteY16" fmla="*/ 1392 h 80433"/>
                  <a:gd name="connsiteX17" fmla="*/ 33581 w 59007"/>
                  <a:gd name="connsiteY17" fmla="*/ 0 h 80433"/>
                  <a:gd name="connsiteX18" fmla="*/ 43931 w 59007"/>
                  <a:gd name="connsiteY18" fmla="*/ 789 h 80433"/>
                  <a:gd name="connsiteX19" fmla="*/ 54271 w 59007"/>
                  <a:gd name="connsiteY19" fmla="*/ 3068 h 80433"/>
                  <a:gd name="connsiteX20" fmla="*/ 54271 w 59007"/>
                  <a:gd name="connsiteY20" fmla="*/ 21340 h 80433"/>
                  <a:gd name="connsiteX21" fmla="*/ 44644 w 59007"/>
                  <a:gd name="connsiteY21" fmla="*/ 17418 h 80433"/>
                  <a:gd name="connsiteX22" fmla="*/ 34557 w 59007"/>
                  <a:gd name="connsiteY22" fmla="*/ 16103 h 80433"/>
                  <a:gd name="connsiteX23" fmla="*/ 30171 w 59007"/>
                  <a:gd name="connsiteY23" fmla="*/ 16520 h 80433"/>
                  <a:gd name="connsiteX24" fmla="*/ 26608 w 59007"/>
                  <a:gd name="connsiteY24" fmla="*/ 17758 h 80433"/>
                  <a:gd name="connsiteX25" fmla="*/ 24130 w 59007"/>
                  <a:gd name="connsiteY25" fmla="*/ 19773 h 80433"/>
                  <a:gd name="connsiteX26" fmla="*/ 23231 w 59007"/>
                  <a:gd name="connsiteY26" fmla="*/ 22589 h 80433"/>
                  <a:gd name="connsiteX27" fmla="*/ 24579 w 59007"/>
                  <a:gd name="connsiteY27" fmla="*/ 26182 h 80433"/>
                  <a:gd name="connsiteX28" fmla="*/ 28110 w 59007"/>
                  <a:gd name="connsiteY28" fmla="*/ 28767 h 80433"/>
                  <a:gd name="connsiteX29" fmla="*/ 32945 w 59007"/>
                  <a:gd name="connsiteY29" fmla="*/ 30717 h 80433"/>
                  <a:gd name="connsiteX30" fmla="*/ 38219 w 59007"/>
                  <a:gd name="connsiteY30" fmla="*/ 32469 h 80433"/>
                  <a:gd name="connsiteX31" fmla="*/ 46771 w 59007"/>
                  <a:gd name="connsiteY31" fmla="*/ 36062 h 80433"/>
                  <a:gd name="connsiteX32" fmla="*/ 53350 w 59007"/>
                  <a:gd name="connsiteY32" fmla="*/ 40630 h 80433"/>
                  <a:gd name="connsiteX33" fmla="*/ 57549 w 59007"/>
                  <a:gd name="connsiteY33" fmla="*/ 46776 h 80433"/>
                  <a:gd name="connsiteX34" fmla="*/ 56047 w 59007"/>
                  <a:gd name="connsiteY34" fmla="*/ 66801 h 80433"/>
                  <a:gd name="connsiteX35" fmla="*/ 48175 w 59007"/>
                  <a:gd name="connsiteY35" fmla="*/ 74666 h 80433"/>
                  <a:gd name="connsiteX36" fmla="*/ 36859 w 59007"/>
                  <a:gd name="connsiteY36" fmla="*/ 79048 h 80433"/>
                  <a:gd name="connsiteX37" fmla="*/ 23560 w 59007"/>
                  <a:gd name="connsiteY37" fmla="*/ 80428 h 80433"/>
                  <a:gd name="connsiteX38" fmla="*/ 19 w 59007"/>
                  <a:gd name="connsiteY38" fmla="*/ 76583 h 8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9007" h="80433">
                    <a:moveTo>
                      <a:pt x="19" y="76583"/>
                    </a:moveTo>
                    <a:lnTo>
                      <a:pt x="19" y="57413"/>
                    </a:lnTo>
                    <a:cubicBezTo>
                      <a:pt x="3667" y="59644"/>
                      <a:pt x="7583" y="61403"/>
                      <a:pt x="11674" y="62649"/>
                    </a:cubicBezTo>
                    <a:cubicBezTo>
                      <a:pt x="15227" y="63748"/>
                      <a:pt x="18919" y="64327"/>
                      <a:pt x="22639" y="64369"/>
                    </a:cubicBezTo>
                    <a:cubicBezTo>
                      <a:pt x="26035" y="64519"/>
                      <a:pt x="29424" y="63933"/>
                      <a:pt x="32572" y="62649"/>
                    </a:cubicBezTo>
                    <a:cubicBezTo>
                      <a:pt x="34765" y="61839"/>
                      <a:pt x="36219" y="59748"/>
                      <a:pt x="36212" y="57413"/>
                    </a:cubicBezTo>
                    <a:cubicBezTo>
                      <a:pt x="36240" y="55981"/>
                      <a:pt x="35634" y="54611"/>
                      <a:pt x="34557" y="53666"/>
                    </a:cubicBezTo>
                    <a:cubicBezTo>
                      <a:pt x="33300" y="52564"/>
                      <a:pt x="31869" y="51676"/>
                      <a:pt x="30325" y="51037"/>
                    </a:cubicBezTo>
                    <a:cubicBezTo>
                      <a:pt x="28481" y="50251"/>
                      <a:pt x="26592" y="49578"/>
                      <a:pt x="24667" y="49022"/>
                    </a:cubicBezTo>
                    <a:cubicBezTo>
                      <a:pt x="22617" y="48419"/>
                      <a:pt x="20643" y="47751"/>
                      <a:pt x="18746" y="46995"/>
                    </a:cubicBezTo>
                    <a:cubicBezTo>
                      <a:pt x="15968" y="45973"/>
                      <a:pt x="13273" y="44735"/>
                      <a:pt x="10687" y="43292"/>
                    </a:cubicBezTo>
                    <a:cubicBezTo>
                      <a:pt x="8505" y="42081"/>
                      <a:pt x="6532" y="40528"/>
                      <a:pt x="4843" y="38692"/>
                    </a:cubicBezTo>
                    <a:cubicBezTo>
                      <a:pt x="3258" y="36924"/>
                      <a:pt x="2037" y="34862"/>
                      <a:pt x="1247" y="32623"/>
                    </a:cubicBezTo>
                    <a:cubicBezTo>
                      <a:pt x="371" y="29993"/>
                      <a:pt x="-49" y="27233"/>
                      <a:pt x="8" y="24462"/>
                    </a:cubicBezTo>
                    <a:cubicBezTo>
                      <a:pt x="-99" y="20578"/>
                      <a:pt x="872" y="16741"/>
                      <a:pt x="2815" y="13376"/>
                    </a:cubicBezTo>
                    <a:cubicBezTo>
                      <a:pt x="4681" y="10287"/>
                      <a:pt x="7250" y="7682"/>
                      <a:pt x="10315" y="5773"/>
                    </a:cubicBezTo>
                    <a:cubicBezTo>
                      <a:pt x="13610" y="3716"/>
                      <a:pt x="17233" y="2234"/>
                      <a:pt x="21027" y="1392"/>
                    </a:cubicBezTo>
                    <a:cubicBezTo>
                      <a:pt x="25145" y="452"/>
                      <a:pt x="29356" y="-15"/>
                      <a:pt x="33581" y="0"/>
                    </a:cubicBezTo>
                    <a:cubicBezTo>
                      <a:pt x="37046" y="5"/>
                      <a:pt x="40506" y="269"/>
                      <a:pt x="43931" y="789"/>
                    </a:cubicBezTo>
                    <a:cubicBezTo>
                      <a:pt x="47426" y="1313"/>
                      <a:pt x="50881" y="2074"/>
                      <a:pt x="54271" y="3068"/>
                    </a:cubicBezTo>
                    <a:lnTo>
                      <a:pt x="54271" y="21340"/>
                    </a:lnTo>
                    <a:cubicBezTo>
                      <a:pt x="51261" y="19588"/>
                      <a:pt x="48021" y="18268"/>
                      <a:pt x="44644" y="17418"/>
                    </a:cubicBezTo>
                    <a:cubicBezTo>
                      <a:pt x="41350" y="16559"/>
                      <a:pt x="37961" y="16117"/>
                      <a:pt x="34557" y="16103"/>
                    </a:cubicBezTo>
                    <a:cubicBezTo>
                      <a:pt x="33085" y="16098"/>
                      <a:pt x="31616" y="16238"/>
                      <a:pt x="30171" y="16520"/>
                    </a:cubicBezTo>
                    <a:cubicBezTo>
                      <a:pt x="28933" y="16769"/>
                      <a:pt x="27734" y="17186"/>
                      <a:pt x="26608" y="17758"/>
                    </a:cubicBezTo>
                    <a:cubicBezTo>
                      <a:pt x="25632" y="18221"/>
                      <a:pt x="24782" y="18912"/>
                      <a:pt x="24130" y="19773"/>
                    </a:cubicBezTo>
                    <a:cubicBezTo>
                      <a:pt x="23537" y="20591"/>
                      <a:pt x="23222" y="21579"/>
                      <a:pt x="23231" y="22589"/>
                    </a:cubicBezTo>
                    <a:cubicBezTo>
                      <a:pt x="23204" y="23914"/>
                      <a:pt x="23687" y="25200"/>
                      <a:pt x="24579" y="26182"/>
                    </a:cubicBezTo>
                    <a:cubicBezTo>
                      <a:pt x="25583" y="27258"/>
                      <a:pt x="26780" y="28136"/>
                      <a:pt x="28110" y="28767"/>
                    </a:cubicBezTo>
                    <a:cubicBezTo>
                      <a:pt x="29671" y="29535"/>
                      <a:pt x="31287" y="30187"/>
                      <a:pt x="32945" y="30717"/>
                    </a:cubicBezTo>
                    <a:cubicBezTo>
                      <a:pt x="34710" y="31286"/>
                      <a:pt x="36476" y="31867"/>
                      <a:pt x="38219" y="32469"/>
                    </a:cubicBezTo>
                    <a:cubicBezTo>
                      <a:pt x="41148" y="33474"/>
                      <a:pt x="44005" y="34675"/>
                      <a:pt x="46771" y="36062"/>
                    </a:cubicBezTo>
                    <a:cubicBezTo>
                      <a:pt x="49172" y="37261"/>
                      <a:pt x="51388" y="38799"/>
                      <a:pt x="53350" y="40630"/>
                    </a:cubicBezTo>
                    <a:cubicBezTo>
                      <a:pt x="55162" y="42365"/>
                      <a:pt x="56593" y="44458"/>
                      <a:pt x="57549" y="46776"/>
                    </a:cubicBezTo>
                    <a:cubicBezTo>
                      <a:pt x="59926" y="53360"/>
                      <a:pt x="59379" y="60644"/>
                      <a:pt x="56047" y="66801"/>
                    </a:cubicBezTo>
                    <a:cubicBezTo>
                      <a:pt x="54088" y="70013"/>
                      <a:pt x="51389" y="72709"/>
                      <a:pt x="48175" y="74666"/>
                    </a:cubicBezTo>
                    <a:cubicBezTo>
                      <a:pt x="44681" y="76762"/>
                      <a:pt x="40854" y="78244"/>
                      <a:pt x="36859" y="79048"/>
                    </a:cubicBezTo>
                    <a:cubicBezTo>
                      <a:pt x="32488" y="79978"/>
                      <a:pt x="28030" y="80441"/>
                      <a:pt x="23560" y="80428"/>
                    </a:cubicBezTo>
                    <a:cubicBezTo>
                      <a:pt x="15549" y="80524"/>
                      <a:pt x="7582" y="79223"/>
                      <a:pt x="19" y="7658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2" name="Freeform: Shape 111">
                <a:extLst>
                  <a:ext uri="{FF2B5EF4-FFF2-40B4-BE49-F238E27FC236}">
                    <a16:creationId xmlns:a16="http://schemas.microsoft.com/office/drawing/2014/main" id="{C9E499F4-B2C6-7876-D85F-D44ABB8CB28D}"/>
                  </a:ext>
                </a:extLst>
              </p:cNvPr>
              <p:cNvSpPr/>
              <p:nvPr/>
            </p:nvSpPr>
            <p:spPr>
              <a:xfrm>
                <a:off x="1896060" y="2806836"/>
                <a:ext cx="27289" cy="113191"/>
              </a:xfrm>
              <a:custGeom>
                <a:avLst/>
                <a:gdLst>
                  <a:gd name="connsiteX0" fmla="*/ 13689 w 27289"/>
                  <a:gd name="connsiteY0" fmla="*/ 24383 h 113191"/>
                  <a:gd name="connsiteX1" fmla="*/ 3821 w 27289"/>
                  <a:gd name="connsiteY1" fmla="*/ 20823 h 113191"/>
                  <a:gd name="connsiteX2" fmla="*/ 5 w 27289"/>
                  <a:gd name="connsiteY2" fmla="*/ 12059 h 113191"/>
                  <a:gd name="connsiteX3" fmla="*/ 3821 w 27289"/>
                  <a:gd name="connsiteY3" fmla="*/ 3373 h 113191"/>
                  <a:gd name="connsiteX4" fmla="*/ 23502 w 27289"/>
                  <a:gd name="connsiteY4" fmla="*/ 3373 h 113191"/>
                  <a:gd name="connsiteX5" fmla="*/ 27284 w 27289"/>
                  <a:gd name="connsiteY5" fmla="*/ 12059 h 113191"/>
                  <a:gd name="connsiteX6" fmla="*/ 23502 w 27289"/>
                  <a:gd name="connsiteY6" fmla="*/ 20889 h 113191"/>
                  <a:gd name="connsiteX7" fmla="*/ 13689 w 27289"/>
                  <a:gd name="connsiteY7" fmla="*/ 24383 h 113191"/>
                  <a:gd name="connsiteX8" fmla="*/ 25377 w 27289"/>
                  <a:gd name="connsiteY8" fmla="*/ 113191 h 113191"/>
                  <a:gd name="connsiteX9" fmla="*/ 1693 w 27289"/>
                  <a:gd name="connsiteY9" fmla="*/ 113191 h 113191"/>
                  <a:gd name="connsiteX10" fmla="*/ 1693 w 27289"/>
                  <a:gd name="connsiteY10" fmla="*/ 36510 h 113191"/>
                  <a:gd name="connsiteX11" fmla="*/ 25377 w 27289"/>
                  <a:gd name="connsiteY11" fmla="*/ 36510 h 11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91">
                    <a:moveTo>
                      <a:pt x="13689" y="24383"/>
                    </a:moveTo>
                    <a:cubicBezTo>
                      <a:pt x="10059" y="24533"/>
                      <a:pt x="6517" y="23255"/>
                      <a:pt x="3821" y="20823"/>
                    </a:cubicBezTo>
                    <a:cubicBezTo>
                      <a:pt x="1332" y="18596"/>
                      <a:pt x="-61" y="15396"/>
                      <a:pt x="5" y="12059"/>
                    </a:cubicBezTo>
                    <a:cubicBezTo>
                      <a:pt x="-95" y="8738"/>
                      <a:pt x="1306" y="5548"/>
                      <a:pt x="3821" y="3373"/>
                    </a:cubicBezTo>
                    <a:cubicBezTo>
                      <a:pt x="9609" y="-1124"/>
                      <a:pt x="17714" y="-1124"/>
                      <a:pt x="23502" y="3373"/>
                    </a:cubicBezTo>
                    <a:cubicBezTo>
                      <a:pt x="25998" y="5558"/>
                      <a:pt x="27386" y="8745"/>
                      <a:pt x="27284" y="12059"/>
                    </a:cubicBezTo>
                    <a:cubicBezTo>
                      <a:pt x="27387" y="15416"/>
                      <a:pt x="26004" y="18646"/>
                      <a:pt x="23502" y="20889"/>
                    </a:cubicBezTo>
                    <a:cubicBezTo>
                      <a:pt x="20799" y="23266"/>
                      <a:pt x="17287" y="24517"/>
                      <a:pt x="13689" y="24383"/>
                    </a:cubicBezTo>
                    <a:close/>
                    <a:moveTo>
                      <a:pt x="25377" y="113191"/>
                    </a:moveTo>
                    <a:lnTo>
                      <a:pt x="1693" y="113191"/>
                    </a:lnTo>
                    <a:lnTo>
                      <a:pt x="1693" y="36510"/>
                    </a:lnTo>
                    <a:lnTo>
                      <a:pt x="25377" y="3651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3" name="Freeform: Shape 112">
                <a:extLst>
                  <a:ext uri="{FF2B5EF4-FFF2-40B4-BE49-F238E27FC236}">
                    <a16:creationId xmlns:a16="http://schemas.microsoft.com/office/drawing/2014/main" id="{55F83778-97D6-4EEF-99E2-FA9CF24590A1}"/>
                  </a:ext>
                </a:extLst>
              </p:cNvPr>
              <p:cNvSpPr/>
              <p:nvPr/>
            </p:nvSpPr>
            <p:spPr>
              <a:xfrm>
                <a:off x="1940976" y="2806506"/>
                <a:ext cx="79890" cy="115427"/>
              </a:xfrm>
              <a:custGeom>
                <a:avLst/>
                <a:gdLst>
                  <a:gd name="connsiteX0" fmla="*/ 23979 w 79890"/>
                  <a:gd name="connsiteY0" fmla="*/ 104604 h 115427"/>
                  <a:gd name="connsiteX1" fmla="*/ 23683 w 79890"/>
                  <a:gd name="connsiteY1" fmla="*/ 104604 h 115427"/>
                  <a:gd name="connsiteX2" fmla="*/ 23683 w 79890"/>
                  <a:gd name="connsiteY2" fmla="*/ 113510 h 115427"/>
                  <a:gd name="connsiteX3" fmla="*/ 0 w 79890"/>
                  <a:gd name="connsiteY3" fmla="*/ 113510 h 115427"/>
                  <a:gd name="connsiteX4" fmla="*/ 0 w 79890"/>
                  <a:gd name="connsiteY4" fmla="*/ 0 h 115427"/>
                  <a:gd name="connsiteX5" fmla="*/ 23683 w 79890"/>
                  <a:gd name="connsiteY5" fmla="*/ 0 h 115427"/>
                  <a:gd name="connsiteX6" fmla="*/ 23683 w 79890"/>
                  <a:gd name="connsiteY6" fmla="*/ 48375 h 115427"/>
                  <a:gd name="connsiteX7" fmla="*/ 23979 w 79890"/>
                  <a:gd name="connsiteY7" fmla="*/ 48375 h 115427"/>
                  <a:gd name="connsiteX8" fmla="*/ 48945 w 79890"/>
                  <a:gd name="connsiteY8" fmla="*/ 34967 h 115427"/>
                  <a:gd name="connsiteX9" fmla="*/ 71806 w 79890"/>
                  <a:gd name="connsiteY9" fmla="*/ 45154 h 115427"/>
                  <a:gd name="connsiteX10" fmla="*/ 79821 w 79890"/>
                  <a:gd name="connsiteY10" fmla="*/ 73012 h 115427"/>
                  <a:gd name="connsiteX11" fmla="*/ 70457 w 79890"/>
                  <a:gd name="connsiteY11" fmla="*/ 103783 h 115427"/>
                  <a:gd name="connsiteX12" fmla="*/ 45414 w 79890"/>
                  <a:gd name="connsiteY12" fmla="*/ 115394 h 115427"/>
                  <a:gd name="connsiteX13" fmla="*/ 23979 w 79890"/>
                  <a:gd name="connsiteY13" fmla="*/ 104604 h 115427"/>
                  <a:gd name="connsiteX14" fmla="*/ 23310 w 79890"/>
                  <a:gd name="connsiteY14" fmla="*/ 72256 h 115427"/>
                  <a:gd name="connsiteX15" fmla="*/ 23310 w 79890"/>
                  <a:gd name="connsiteY15" fmla="*/ 80110 h 115427"/>
                  <a:gd name="connsiteX16" fmla="*/ 27586 w 79890"/>
                  <a:gd name="connsiteY16" fmla="*/ 92390 h 115427"/>
                  <a:gd name="connsiteX17" fmla="*/ 38551 w 79890"/>
                  <a:gd name="connsiteY17" fmla="*/ 97265 h 115427"/>
                  <a:gd name="connsiteX18" fmla="*/ 51105 w 79890"/>
                  <a:gd name="connsiteY18" fmla="*/ 91010 h 115427"/>
                  <a:gd name="connsiteX19" fmla="*/ 55556 w 79890"/>
                  <a:gd name="connsiteY19" fmla="*/ 73296 h 115427"/>
                  <a:gd name="connsiteX20" fmla="*/ 51478 w 79890"/>
                  <a:gd name="connsiteY20" fmla="*/ 58431 h 115427"/>
                  <a:gd name="connsiteX21" fmla="*/ 39823 w 79890"/>
                  <a:gd name="connsiteY21" fmla="*/ 53085 h 115427"/>
                  <a:gd name="connsiteX22" fmla="*/ 28014 w 79890"/>
                  <a:gd name="connsiteY22" fmla="*/ 58398 h 115427"/>
                  <a:gd name="connsiteX23" fmla="*/ 23310 w 79890"/>
                  <a:gd name="connsiteY23" fmla="*/ 72267 h 11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890" h="115427">
                    <a:moveTo>
                      <a:pt x="23979" y="104604"/>
                    </a:moveTo>
                    <a:lnTo>
                      <a:pt x="23683" y="104604"/>
                    </a:lnTo>
                    <a:lnTo>
                      <a:pt x="23683" y="113510"/>
                    </a:lnTo>
                    <a:lnTo>
                      <a:pt x="0" y="113510"/>
                    </a:lnTo>
                    <a:lnTo>
                      <a:pt x="0" y="0"/>
                    </a:lnTo>
                    <a:lnTo>
                      <a:pt x="23683" y="0"/>
                    </a:lnTo>
                    <a:lnTo>
                      <a:pt x="23683" y="48375"/>
                    </a:lnTo>
                    <a:lnTo>
                      <a:pt x="23979" y="48375"/>
                    </a:lnTo>
                    <a:cubicBezTo>
                      <a:pt x="29272" y="39734"/>
                      <a:pt x="38814" y="34611"/>
                      <a:pt x="48945" y="34967"/>
                    </a:cubicBezTo>
                    <a:cubicBezTo>
                      <a:pt x="57760" y="34485"/>
                      <a:pt x="66269" y="38277"/>
                      <a:pt x="71806" y="45154"/>
                    </a:cubicBezTo>
                    <a:cubicBezTo>
                      <a:pt x="77562" y="53265"/>
                      <a:pt x="80380" y="63087"/>
                      <a:pt x="79821" y="73012"/>
                    </a:cubicBezTo>
                    <a:cubicBezTo>
                      <a:pt x="80369" y="84044"/>
                      <a:pt x="77058" y="94925"/>
                      <a:pt x="70457" y="103783"/>
                    </a:cubicBezTo>
                    <a:cubicBezTo>
                      <a:pt x="64438" y="111420"/>
                      <a:pt x="55140" y="115734"/>
                      <a:pt x="45414" y="115394"/>
                    </a:cubicBezTo>
                    <a:cubicBezTo>
                      <a:pt x="36862" y="115843"/>
                      <a:pt x="28708" y="111739"/>
                      <a:pt x="23979" y="104604"/>
                    </a:cubicBezTo>
                    <a:close/>
                    <a:moveTo>
                      <a:pt x="23310" y="72256"/>
                    </a:moveTo>
                    <a:lnTo>
                      <a:pt x="23310" y="80110"/>
                    </a:lnTo>
                    <a:cubicBezTo>
                      <a:pt x="23148" y="84594"/>
                      <a:pt x="24673" y="88975"/>
                      <a:pt x="27586" y="92390"/>
                    </a:cubicBezTo>
                    <a:cubicBezTo>
                      <a:pt x="30311" y="95593"/>
                      <a:pt x="34340" y="97387"/>
                      <a:pt x="38551" y="97265"/>
                    </a:cubicBezTo>
                    <a:cubicBezTo>
                      <a:pt x="43529" y="97468"/>
                      <a:pt x="48265" y="95108"/>
                      <a:pt x="51105" y="91010"/>
                    </a:cubicBezTo>
                    <a:cubicBezTo>
                      <a:pt x="54383" y="85706"/>
                      <a:pt x="55940" y="79519"/>
                      <a:pt x="55556" y="73296"/>
                    </a:cubicBezTo>
                    <a:cubicBezTo>
                      <a:pt x="55864" y="68028"/>
                      <a:pt x="54427" y="62806"/>
                      <a:pt x="51478" y="58431"/>
                    </a:cubicBezTo>
                    <a:cubicBezTo>
                      <a:pt x="48704" y="54847"/>
                      <a:pt x="44351" y="52849"/>
                      <a:pt x="39823" y="53085"/>
                    </a:cubicBezTo>
                    <a:cubicBezTo>
                      <a:pt x="35283" y="52987"/>
                      <a:pt x="30947" y="54939"/>
                      <a:pt x="28014" y="58398"/>
                    </a:cubicBezTo>
                    <a:cubicBezTo>
                      <a:pt x="24765" y="62271"/>
                      <a:pt x="23087" y="67219"/>
                      <a:pt x="23310" y="72267"/>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4" name="Freeform: Shape 113">
                <a:extLst>
                  <a:ext uri="{FF2B5EF4-FFF2-40B4-BE49-F238E27FC236}">
                    <a16:creationId xmlns:a16="http://schemas.microsoft.com/office/drawing/2014/main" id="{541522A9-8827-E8B3-BF13-97D0AA1D92CB}"/>
                  </a:ext>
                </a:extLst>
              </p:cNvPr>
              <p:cNvSpPr/>
              <p:nvPr/>
            </p:nvSpPr>
            <p:spPr>
              <a:xfrm>
                <a:off x="2034508" y="2806835"/>
                <a:ext cx="27289" cy="113192"/>
              </a:xfrm>
              <a:custGeom>
                <a:avLst/>
                <a:gdLst>
                  <a:gd name="connsiteX0" fmla="*/ 13645 w 27289"/>
                  <a:gd name="connsiteY0" fmla="*/ 24385 h 113192"/>
                  <a:gd name="connsiteX1" fmla="*/ 3831 w 27289"/>
                  <a:gd name="connsiteY1" fmla="*/ 20825 h 113192"/>
                  <a:gd name="connsiteX2" fmla="*/ 5 w 27289"/>
                  <a:gd name="connsiteY2" fmla="*/ 12061 h 113192"/>
                  <a:gd name="connsiteX3" fmla="*/ 3831 w 27289"/>
                  <a:gd name="connsiteY3" fmla="*/ 3374 h 113192"/>
                  <a:gd name="connsiteX4" fmla="*/ 23502 w 27289"/>
                  <a:gd name="connsiteY4" fmla="*/ 3374 h 113192"/>
                  <a:gd name="connsiteX5" fmla="*/ 27284 w 27289"/>
                  <a:gd name="connsiteY5" fmla="*/ 12061 h 113192"/>
                  <a:gd name="connsiteX6" fmla="*/ 23502 w 27289"/>
                  <a:gd name="connsiteY6" fmla="*/ 20890 h 113192"/>
                  <a:gd name="connsiteX7" fmla="*/ 13645 w 27289"/>
                  <a:gd name="connsiteY7" fmla="*/ 24385 h 113192"/>
                  <a:gd name="connsiteX8" fmla="*/ 25300 w 27289"/>
                  <a:gd name="connsiteY8" fmla="*/ 113193 h 113192"/>
                  <a:gd name="connsiteX9" fmla="*/ 1617 w 27289"/>
                  <a:gd name="connsiteY9" fmla="*/ 113193 h 113192"/>
                  <a:gd name="connsiteX10" fmla="*/ 1617 w 27289"/>
                  <a:gd name="connsiteY10" fmla="*/ 36512 h 113192"/>
                  <a:gd name="connsiteX11" fmla="*/ 25300 w 27289"/>
                  <a:gd name="connsiteY11" fmla="*/ 36512 h 11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92">
                    <a:moveTo>
                      <a:pt x="13645" y="24385"/>
                    </a:moveTo>
                    <a:cubicBezTo>
                      <a:pt x="10037" y="24523"/>
                      <a:pt x="6518" y="23245"/>
                      <a:pt x="3831" y="20825"/>
                    </a:cubicBezTo>
                    <a:cubicBezTo>
                      <a:pt x="1332" y="18602"/>
                      <a:pt x="-61" y="15400"/>
                      <a:pt x="5" y="12061"/>
                    </a:cubicBezTo>
                    <a:cubicBezTo>
                      <a:pt x="-94" y="8738"/>
                      <a:pt x="1310" y="5545"/>
                      <a:pt x="3831" y="3374"/>
                    </a:cubicBezTo>
                    <a:cubicBezTo>
                      <a:pt x="9610" y="-1125"/>
                      <a:pt x="17723" y="-1125"/>
                      <a:pt x="23502" y="3374"/>
                    </a:cubicBezTo>
                    <a:cubicBezTo>
                      <a:pt x="26001" y="5560"/>
                      <a:pt x="27383" y="8746"/>
                      <a:pt x="27284" y="12061"/>
                    </a:cubicBezTo>
                    <a:cubicBezTo>
                      <a:pt x="27383" y="15418"/>
                      <a:pt x="26001" y="18648"/>
                      <a:pt x="23502" y="20890"/>
                    </a:cubicBezTo>
                    <a:cubicBezTo>
                      <a:pt x="20793" y="23279"/>
                      <a:pt x="17263" y="24531"/>
                      <a:pt x="13645" y="24385"/>
                    </a:cubicBezTo>
                    <a:close/>
                    <a:moveTo>
                      <a:pt x="25300" y="113193"/>
                    </a:moveTo>
                    <a:lnTo>
                      <a:pt x="1617" y="113193"/>
                    </a:lnTo>
                    <a:lnTo>
                      <a:pt x="1617" y="36512"/>
                    </a:lnTo>
                    <a:lnTo>
                      <a:pt x="25300" y="36512"/>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5" name="Freeform: Shape 114">
                <a:extLst>
                  <a:ext uri="{FF2B5EF4-FFF2-40B4-BE49-F238E27FC236}">
                    <a16:creationId xmlns:a16="http://schemas.microsoft.com/office/drawing/2014/main" id="{349070C4-C1E6-BCCB-AFFF-DA155C439D12}"/>
                  </a:ext>
                </a:extLst>
              </p:cNvPr>
              <p:cNvSpPr/>
              <p:nvPr/>
            </p:nvSpPr>
            <p:spPr>
              <a:xfrm>
                <a:off x="2079313" y="2806506"/>
                <a:ext cx="23683" cy="113521"/>
              </a:xfrm>
              <a:custGeom>
                <a:avLst/>
                <a:gdLst>
                  <a:gd name="connsiteX0" fmla="*/ 23683 w 23683"/>
                  <a:gd name="connsiteY0" fmla="*/ 113521 h 113521"/>
                  <a:gd name="connsiteX1" fmla="*/ 0 w 23683"/>
                  <a:gd name="connsiteY1" fmla="*/ 113521 h 113521"/>
                  <a:gd name="connsiteX2" fmla="*/ 0 w 23683"/>
                  <a:gd name="connsiteY2" fmla="*/ 0 h 113521"/>
                  <a:gd name="connsiteX3" fmla="*/ 23683 w 23683"/>
                  <a:gd name="connsiteY3" fmla="*/ 0 h 113521"/>
                </a:gdLst>
                <a:ahLst/>
                <a:cxnLst>
                  <a:cxn ang="0">
                    <a:pos x="connsiteX0" y="connsiteY0"/>
                  </a:cxn>
                  <a:cxn ang="0">
                    <a:pos x="connsiteX1" y="connsiteY1"/>
                  </a:cxn>
                  <a:cxn ang="0">
                    <a:pos x="connsiteX2" y="connsiteY2"/>
                  </a:cxn>
                  <a:cxn ang="0">
                    <a:pos x="connsiteX3" y="connsiteY3"/>
                  </a:cxn>
                </a:cxnLst>
                <a:rect l="l" t="t" r="r" b="b"/>
                <a:pathLst>
                  <a:path w="23683" h="113521">
                    <a:moveTo>
                      <a:pt x="23683" y="113521"/>
                    </a:moveTo>
                    <a:lnTo>
                      <a:pt x="0" y="113521"/>
                    </a:lnTo>
                    <a:lnTo>
                      <a:pt x="0" y="0"/>
                    </a:lnTo>
                    <a:lnTo>
                      <a:pt x="23683"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6" name="Freeform: Shape 115">
                <a:extLst>
                  <a:ext uri="{FF2B5EF4-FFF2-40B4-BE49-F238E27FC236}">
                    <a16:creationId xmlns:a16="http://schemas.microsoft.com/office/drawing/2014/main" id="{AC58BCDA-9CF4-6E48-38D4-DD62A62BDD1E}"/>
                  </a:ext>
                </a:extLst>
              </p:cNvPr>
              <p:cNvSpPr/>
              <p:nvPr/>
            </p:nvSpPr>
            <p:spPr>
              <a:xfrm>
                <a:off x="2120765" y="2806836"/>
                <a:ext cx="27289" cy="113191"/>
              </a:xfrm>
              <a:custGeom>
                <a:avLst/>
                <a:gdLst>
                  <a:gd name="connsiteX0" fmla="*/ 13688 w 27289"/>
                  <a:gd name="connsiteY0" fmla="*/ 24383 h 113191"/>
                  <a:gd name="connsiteX1" fmla="*/ 3820 w 27289"/>
                  <a:gd name="connsiteY1" fmla="*/ 20823 h 113191"/>
                  <a:gd name="connsiteX2" fmla="*/ 5 w 27289"/>
                  <a:gd name="connsiteY2" fmla="*/ 12059 h 113191"/>
                  <a:gd name="connsiteX3" fmla="*/ 3820 w 27289"/>
                  <a:gd name="connsiteY3" fmla="*/ 3373 h 113191"/>
                  <a:gd name="connsiteX4" fmla="*/ 23502 w 27289"/>
                  <a:gd name="connsiteY4" fmla="*/ 3373 h 113191"/>
                  <a:gd name="connsiteX5" fmla="*/ 27284 w 27289"/>
                  <a:gd name="connsiteY5" fmla="*/ 12059 h 113191"/>
                  <a:gd name="connsiteX6" fmla="*/ 23502 w 27289"/>
                  <a:gd name="connsiteY6" fmla="*/ 20889 h 113191"/>
                  <a:gd name="connsiteX7" fmla="*/ 13688 w 27289"/>
                  <a:gd name="connsiteY7" fmla="*/ 24383 h 113191"/>
                  <a:gd name="connsiteX8" fmla="*/ 25377 w 27289"/>
                  <a:gd name="connsiteY8" fmla="*/ 113191 h 113191"/>
                  <a:gd name="connsiteX9" fmla="*/ 1693 w 27289"/>
                  <a:gd name="connsiteY9" fmla="*/ 113191 h 113191"/>
                  <a:gd name="connsiteX10" fmla="*/ 1693 w 27289"/>
                  <a:gd name="connsiteY10" fmla="*/ 36510 h 113191"/>
                  <a:gd name="connsiteX11" fmla="*/ 25377 w 27289"/>
                  <a:gd name="connsiteY11" fmla="*/ 36510 h 11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91">
                    <a:moveTo>
                      <a:pt x="13688" y="24383"/>
                    </a:moveTo>
                    <a:cubicBezTo>
                      <a:pt x="10059" y="24533"/>
                      <a:pt x="6518" y="23255"/>
                      <a:pt x="3820" y="20823"/>
                    </a:cubicBezTo>
                    <a:cubicBezTo>
                      <a:pt x="1332" y="18596"/>
                      <a:pt x="-61" y="15396"/>
                      <a:pt x="5" y="12059"/>
                    </a:cubicBezTo>
                    <a:cubicBezTo>
                      <a:pt x="-94" y="8738"/>
                      <a:pt x="1310" y="5548"/>
                      <a:pt x="3820" y="3373"/>
                    </a:cubicBezTo>
                    <a:cubicBezTo>
                      <a:pt x="9610" y="-1124"/>
                      <a:pt x="17712" y="-1124"/>
                      <a:pt x="23502" y="3373"/>
                    </a:cubicBezTo>
                    <a:cubicBezTo>
                      <a:pt x="26001" y="5558"/>
                      <a:pt x="27383" y="8745"/>
                      <a:pt x="27284" y="12059"/>
                    </a:cubicBezTo>
                    <a:cubicBezTo>
                      <a:pt x="27383" y="15416"/>
                      <a:pt x="26001" y="18646"/>
                      <a:pt x="23502" y="20889"/>
                    </a:cubicBezTo>
                    <a:cubicBezTo>
                      <a:pt x="20804" y="23266"/>
                      <a:pt x="17285" y="24517"/>
                      <a:pt x="13688" y="24383"/>
                    </a:cubicBezTo>
                    <a:close/>
                    <a:moveTo>
                      <a:pt x="25377" y="113191"/>
                    </a:moveTo>
                    <a:lnTo>
                      <a:pt x="1693" y="113191"/>
                    </a:lnTo>
                    <a:lnTo>
                      <a:pt x="1693" y="36510"/>
                    </a:lnTo>
                    <a:lnTo>
                      <a:pt x="25377" y="3651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7" name="Freeform: Shape 116">
                <a:extLst>
                  <a:ext uri="{FF2B5EF4-FFF2-40B4-BE49-F238E27FC236}">
                    <a16:creationId xmlns:a16="http://schemas.microsoft.com/office/drawing/2014/main" id="{2276F65C-C360-8181-22B5-AEA23B4F13A0}"/>
                  </a:ext>
                </a:extLst>
              </p:cNvPr>
              <p:cNvSpPr/>
              <p:nvPr/>
            </p:nvSpPr>
            <p:spPr>
              <a:xfrm>
                <a:off x="2157939" y="2820024"/>
                <a:ext cx="53286" cy="101936"/>
              </a:xfrm>
              <a:custGeom>
                <a:avLst/>
                <a:gdLst>
                  <a:gd name="connsiteX0" fmla="*/ 53287 w 53286"/>
                  <a:gd name="connsiteY0" fmla="*/ 99105 h 101936"/>
                  <a:gd name="connsiteX1" fmla="*/ 37476 w 53286"/>
                  <a:gd name="connsiteY1" fmla="*/ 101877 h 101936"/>
                  <a:gd name="connsiteX2" fmla="*/ 12445 w 53286"/>
                  <a:gd name="connsiteY2" fmla="*/ 75893 h 101936"/>
                  <a:gd name="connsiteX3" fmla="*/ 12445 w 53286"/>
                  <a:gd name="connsiteY3" fmla="*/ 40773 h 101936"/>
                  <a:gd name="connsiteX4" fmla="*/ 0 w 53286"/>
                  <a:gd name="connsiteY4" fmla="*/ 40773 h 101936"/>
                  <a:gd name="connsiteX5" fmla="*/ 0 w 53286"/>
                  <a:gd name="connsiteY5" fmla="*/ 23322 h 101936"/>
                  <a:gd name="connsiteX6" fmla="*/ 12445 w 53286"/>
                  <a:gd name="connsiteY6" fmla="*/ 23322 h 101936"/>
                  <a:gd name="connsiteX7" fmla="*/ 12445 w 53286"/>
                  <a:gd name="connsiteY7" fmla="*/ 6737 h 101936"/>
                  <a:gd name="connsiteX8" fmla="*/ 36051 w 53286"/>
                  <a:gd name="connsiteY8" fmla="*/ 0 h 101936"/>
                  <a:gd name="connsiteX9" fmla="*/ 36051 w 53286"/>
                  <a:gd name="connsiteY9" fmla="*/ 23289 h 101936"/>
                  <a:gd name="connsiteX10" fmla="*/ 53287 w 53286"/>
                  <a:gd name="connsiteY10" fmla="*/ 23289 h 101936"/>
                  <a:gd name="connsiteX11" fmla="*/ 53287 w 53286"/>
                  <a:gd name="connsiteY11" fmla="*/ 40740 h 101936"/>
                  <a:gd name="connsiteX12" fmla="*/ 36051 w 53286"/>
                  <a:gd name="connsiteY12" fmla="*/ 40740 h 101936"/>
                  <a:gd name="connsiteX13" fmla="*/ 36051 w 53286"/>
                  <a:gd name="connsiteY13" fmla="*/ 71741 h 101936"/>
                  <a:gd name="connsiteX14" fmla="*/ 45568 w 53286"/>
                  <a:gd name="connsiteY14" fmla="*/ 83725 h 101936"/>
                  <a:gd name="connsiteX15" fmla="*/ 53243 w 53286"/>
                  <a:gd name="connsiteY15" fmla="*/ 81534 h 10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6">
                    <a:moveTo>
                      <a:pt x="53287" y="99105"/>
                    </a:moveTo>
                    <a:cubicBezTo>
                      <a:pt x="48309" y="101244"/>
                      <a:pt x="42893" y="102193"/>
                      <a:pt x="37476" y="101877"/>
                    </a:cubicBezTo>
                    <a:cubicBezTo>
                      <a:pt x="20789" y="101877"/>
                      <a:pt x="12445" y="93215"/>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23"/>
                      <a:pt x="39220" y="83717"/>
                      <a:pt x="45568" y="83725"/>
                    </a:cubicBezTo>
                    <a:cubicBezTo>
                      <a:pt x="48276" y="83657"/>
                      <a:pt x="50908" y="82903"/>
                      <a:pt x="53243" y="8153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8" name="Freeform: Shape 117">
                <a:extLst>
                  <a:ext uri="{FF2B5EF4-FFF2-40B4-BE49-F238E27FC236}">
                    <a16:creationId xmlns:a16="http://schemas.microsoft.com/office/drawing/2014/main" id="{C73AC89A-0B14-81FA-B363-BCE18BCBC5BC}"/>
                  </a:ext>
                </a:extLst>
              </p:cNvPr>
              <p:cNvSpPr/>
              <p:nvPr/>
            </p:nvSpPr>
            <p:spPr>
              <a:xfrm>
                <a:off x="2218046" y="2843324"/>
                <a:ext cx="83362" cy="112718"/>
              </a:xfrm>
              <a:custGeom>
                <a:avLst/>
                <a:gdLst>
                  <a:gd name="connsiteX0" fmla="*/ 83362 w 83362"/>
                  <a:gd name="connsiteY0" fmla="*/ 22 h 112718"/>
                  <a:gd name="connsiteX1" fmla="*/ 52191 w 83362"/>
                  <a:gd name="connsiteY1" fmla="*/ 82849 h 112718"/>
                  <a:gd name="connsiteX2" fmla="*/ 18289 w 83362"/>
                  <a:gd name="connsiteY2" fmla="*/ 112700 h 112718"/>
                  <a:gd name="connsiteX3" fmla="*/ 4123 w 83362"/>
                  <a:gd name="connsiteY3" fmla="*/ 110750 h 112718"/>
                  <a:gd name="connsiteX4" fmla="*/ 4123 w 83362"/>
                  <a:gd name="connsiteY4" fmla="*/ 91886 h 112718"/>
                  <a:gd name="connsiteX5" fmla="*/ 14385 w 83362"/>
                  <a:gd name="connsiteY5" fmla="*/ 94658 h 112718"/>
                  <a:gd name="connsiteX6" fmla="*/ 27126 w 83362"/>
                  <a:gd name="connsiteY6" fmla="*/ 86047 h 112718"/>
                  <a:gd name="connsiteX7" fmla="*/ 31183 w 83362"/>
                  <a:gd name="connsiteY7" fmla="*/ 76528 h 112718"/>
                  <a:gd name="connsiteX8" fmla="*/ 0 w 83362"/>
                  <a:gd name="connsiteY8" fmla="*/ 0 h 112718"/>
                  <a:gd name="connsiteX9" fmla="*/ 26227 w 83362"/>
                  <a:gd name="connsiteY9" fmla="*/ 0 h 112718"/>
                  <a:gd name="connsiteX10" fmla="*/ 40546 w 83362"/>
                  <a:gd name="connsiteY10" fmla="*/ 46655 h 112718"/>
                  <a:gd name="connsiteX11" fmla="*/ 42651 w 83362"/>
                  <a:gd name="connsiteY11" fmla="*/ 56908 h 112718"/>
                  <a:gd name="connsiteX12" fmla="*/ 42948 w 83362"/>
                  <a:gd name="connsiteY12" fmla="*/ 56908 h 112718"/>
                  <a:gd name="connsiteX13" fmla="*/ 45414 w 83362"/>
                  <a:gd name="connsiteY13" fmla="*/ 46808 h 112718"/>
                  <a:gd name="connsiteX14" fmla="*/ 59887 w 83362"/>
                  <a:gd name="connsiteY14" fmla="*/ 0 h 11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62" h="112718">
                    <a:moveTo>
                      <a:pt x="83362" y="22"/>
                    </a:moveTo>
                    <a:lnTo>
                      <a:pt x="52191" y="82849"/>
                    </a:lnTo>
                    <a:cubicBezTo>
                      <a:pt x="44691" y="102750"/>
                      <a:pt x="33387" y="112700"/>
                      <a:pt x="18289" y="112700"/>
                    </a:cubicBezTo>
                    <a:cubicBezTo>
                      <a:pt x="13486" y="112840"/>
                      <a:pt x="8706" y="112180"/>
                      <a:pt x="4123" y="110750"/>
                    </a:cubicBezTo>
                    <a:lnTo>
                      <a:pt x="4123" y="91886"/>
                    </a:lnTo>
                    <a:cubicBezTo>
                      <a:pt x="7226" y="93720"/>
                      <a:pt x="10778" y="94677"/>
                      <a:pt x="14385" y="94658"/>
                    </a:cubicBezTo>
                    <a:cubicBezTo>
                      <a:pt x="20076" y="94939"/>
                      <a:pt x="25273" y="91429"/>
                      <a:pt x="27126" y="86047"/>
                    </a:cubicBezTo>
                    <a:lnTo>
                      <a:pt x="31183" y="76528"/>
                    </a:lnTo>
                    <a:lnTo>
                      <a:pt x="0" y="0"/>
                    </a:lnTo>
                    <a:lnTo>
                      <a:pt x="26227" y="0"/>
                    </a:lnTo>
                    <a:lnTo>
                      <a:pt x="40546" y="46655"/>
                    </a:lnTo>
                    <a:cubicBezTo>
                      <a:pt x="41544" y="50006"/>
                      <a:pt x="42246" y="53437"/>
                      <a:pt x="42651" y="56908"/>
                    </a:cubicBezTo>
                    <a:lnTo>
                      <a:pt x="42948" y="56908"/>
                    </a:lnTo>
                    <a:cubicBezTo>
                      <a:pt x="43529" y="53486"/>
                      <a:pt x="44351" y="50111"/>
                      <a:pt x="45414" y="46808"/>
                    </a:cubicBezTo>
                    <a:lnTo>
                      <a:pt x="59887"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19" name="Freeform: Shape 118">
                <a:extLst>
                  <a:ext uri="{FF2B5EF4-FFF2-40B4-BE49-F238E27FC236}">
                    <a16:creationId xmlns:a16="http://schemas.microsoft.com/office/drawing/2014/main" id="{E0FEF435-10E2-8A01-2EB3-89EEA10C4189}"/>
                  </a:ext>
                </a:extLst>
              </p:cNvPr>
              <p:cNvSpPr/>
              <p:nvPr/>
            </p:nvSpPr>
            <p:spPr>
              <a:xfrm>
                <a:off x="2347587" y="2841175"/>
                <a:ext cx="69858" cy="80816"/>
              </a:xfrm>
              <a:custGeom>
                <a:avLst/>
                <a:gdLst>
                  <a:gd name="connsiteX0" fmla="*/ 69550 w 69858"/>
                  <a:gd name="connsiteY0" fmla="*/ 78853 h 80816"/>
                  <a:gd name="connsiteX1" fmla="*/ 47139 w 69858"/>
                  <a:gd name="connsiteY1" fmla="*/ 78853 h 80816"/>
                  <a:gd name="connsiteX2" fmla="*/ 47139 w 69858"/>
                  <a:gd name="connsiteY2" fmla="*/ 67898 h 80816"/>
                  <a:gd name="connsiteX3" fmla="*/ 46843 w 69858"/>
                  <a:gd name="connsiteY3" fmla="*/ 67898 h 80816"/>
                  <a:gd name="connsiteX4" fmla="*/ 23983 w 69858"/>
                  <a:gd name="connsiteY4" fmla="*/ 80781 h 80816"/>
                  <a:gd name="connsiteX5" fmla="*/ 6439 w 69858"/>
                  <a:gd name="connsiteY5" fmla="*/ 74449 h 80816"/>
                  <a:gd name="connsiteX6" fmla="*/ 25 w 69858"/>
                  <a:gd name="connsiteY6" fmla="*/ 57568 h 80816"/>
                  <a:gd name="connsiteX7" fmla="*/ 26482 w 69858"/>
                  <a:gd name="connsiteY7" fmla="*/ 31803 h 80816"/>
                  <a:gd name="connsiteX8" fmla="*/ 47315 w 69858"/>
                  <a:gd name="connsiteY8" fmla="*/ 29032 h 80816"/>
                  <a:gd name="connsiteX9" fmla="*/ 33675 w 69858"/>
                  <a:gd name="connsiteY9" fmla="*/ 16456 h 80816"/>
                  <a:gd name="connsiteX10" fmla="*/ 7591 w 69858"/>
                  <a:gd name="connsiteY10" fmla="*/ 24617 h 80816"/>
                  <a:gd name="connsiteX11" fmla="*/ 7591 w 69858"/>
                  <a:gd name="connsiteY11" fmla="*/ 6739 h 80816"/>
                  <a:gd name="connsiteX12" fmla="*/ 21121 w 69858"/>
                  <a:gd name="connsiteY12" fmla="*/ 2248 h 80816"/>
                  <a:gd name="connsiteX13" fmla="*/ 36745 w 69858"/>
                  <a:gd name="connsiteY13" fmla="*/ 298 h 80816"/>
                  <a:gd name="connsiteX14" fmla="*/ 69561 w 69858"/>
                  <a:gd name="connsiteY14" fmla="*/ 24847 h 80816"/>
                  <a:gd name="connsiteX15" fmla="*/ 69572 w 69858"/>
                  <a:gd name="connsiteY15" fmla="*/ 33030 h 80816"/>
                  <a:gd name="connsiteX16" fmla="*/ 47293 w 69858"/>
                  <a:gd name="connsiteY16" fmla="*/ 47698 h 80816"/>
                  <a:gd name="connsiteX17" fmla="*/ 47293 w 69858"/>
                  <a:gd name="connsiteY17" fmla="*/ 42550 h 80816"/>
                  <a:gd name="connsiteX18" fmla="*/ 33346 w 69858"/>
                  <a:gd name="connsiteY18" fmla="*/ 44346 h 80816"/>
                  <a:gd name="connsiteX19" fmla="*/ 21811 w 69858"/>
                  <a:gd name="connsiteY19" fmla="*/ 54753 h 80816"/>
                  <a:gd name="connsiteX20" fmla="*/ 24618 w 69858"/>
                  <a:gd name="connsiteY20" fmla="*/ 61380 h 80816"/>
                  <a:gd name="connsiteX21" fmla="*/ 32228 w 69858"/>
                  <a:gd name="connsiteY21" fmla="*/ 63966 h 80816"/>
                  <a:gd name="connsiteX22" fmla="*/ 43093 w 69858"/>
                  <a:gd name="connsiteY22" fmla="*/ 59354 h 80816"/>
                  <a:gd name="connsiteX23" fmla="*/ 47293 w 69858"/>
                  <a:gd name="connsiteY23" fmla="*/ 47698 h 8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6">
                    <a:moveTo>
                      <a:pt x="69550" y="78853"/>
                    </a:moveTo>
                    <a:lnTo>
                      <a:pt x="47139" y="78853"/>
                    </a:lnTo>
                    <a:lnTo>
                      <a:pt x="47139" y="67898"/>
                    </a:lnTo>
                    <a:lnTo>
                      <a:pt x="46843" y="67898"/>
                    </a:lnTo>
                    <a:cubicBezTo>
                      <a:pt x="42271" y="76163"/>
                      <a:pt x="33423" y="81148"/>
                      <a:pt x="23983" y="80781"/>
                    </a:cubicBezTo>
                    <a:cubicBezTo>
                      <a:pt x="17513" y="81133"/>
                      <a:pt x="11187" y="78848"/>
                      <a:pt x="6439" y="74449"/>
                    </a:cubicBezTo>
                    <a:cubicBezTo>
                      <a:pt x="2054" y="69953"/>
                      <a:pt x="-271" y="63840"/>
                      <a:pt x="25" y="57568"/>
                    </a:cubicBezTo>
                    <a:cubicBezTo>
                      <a:pt x="25" y="42692"/>
                      <a:pt x="8841" y="34104"/>
                      <a:pt x="26482" y="31803"/>
                    </a:cubicBezTo>
                    <a:lnTo>
                      <a:pt x="47315" y="29032"/>
                    </a:lnTo>
                    <a:cubicBezTo>
                      <a:pt x="47315" y="20655"/>
                      <a:pt x="42764" y="16464"/>
                      <a:pt x="33675" y="16456"/>
                    </a:cubicBezTo>
                    <a:cubicBezTo>
                      <a:pt x="24355" y="16506"/>
                      <a:pt x="15277" y="19350"/>
                      <a:pt x="7591" y="24617"/>
                    </a:cubicBezTo>
                    <a:lnTo>
                      <a:pt x="7591" y="6739"/>
                    </a:lnTo>
                    <a:cubicBezTo>
                      <a:pt x="11900" y="4701"/>
                      <a:pt x="16450" y="3192"/>
                      <a:pt x="21121" y="2248"/>
                    </a:cubicBezTo>
                    <a:cubicBezTo>
                      <a:pt x="26241" y="1020"/>
                      <a:pt x="31482" y="366"/>
                      <a:pt x="36745" y="298"/>
                    </a:cubicBezTo>
                    <a:cubicBezTo>
                      <a:pt x="52589" y="-1977"/>
                      <a:pt x="67281" y="9014"/>
                      <a:pt x="69561" y="24847"/>
                    </a:cubicBezTo>
                    <a:cubicBezTo>
                      <a:pt x="69956" y="27561"/>
                      <a:pt x="69956" y="30316"/>
                      <a:pt x="69572" y="33030"/>
                    </a:cubicBezTo>
                    <a:close/>
                    <a:moveTo>
                      <a:pt x="47293" y="47698"/>
                    </a:moveTo>
                    <a:lnTo>
                      <a:pt x="47293" y="42550"/>
                    </a:lnTo>
                    <a:lnTo>
                      <a:pt x="33346" y="44346"/>
                    </a:lnTo>
                    <a:cubicBezTo>
                      <a:pt x="25660" y="45340"/>
                      <a:pt x="21811" y="48808"/>
                      <a:pt x="21811" y="54753"/>
                    </a:cubicBezTo>
                    <a:cubicBezTo>
                      <a:pt x="21735" y="57266"/>
                      <a:pt x="22754" y="59688"/>
                      <a:pt x="24618" y="61380"/>
                    </a:cubicBezTo>
                    <a:cubicBezTo>
                      <a:pt x="26724" y="63187"/>
                      <a:pt x="29454" y="64112"/>
                      <a:pt x="32228" y="63966"/>
                    </a:cubicBezTo>
                    <a:cubicBezTo>
                      <a:pt x="36350" y="64105"/>
                      <a:pt x="40330" y="62418"/>
                      <a:pt x="43093" y="59354"/>
                    </a:cubicBezTo>
                    <a:cubicBezTo>
                      <a:pt x="45944" y="56154"/>
                      <a:pt x="47446" y="51979"/>
                      <a:pt x="47293" y="4769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0" name="Freeform: Shape 119">
                <a:extLst>
                  <a:ext uri="{FF2B5EF4-FFF2-40B4-BE49-F238E27FC236}">
                    <a16:creationId xmlns:a16="http://schemas.microsoft.com/office/drawing/2014/main" id="{E33BF0C3-6CC3-4569-0221-CAAC20AD160A}"/>
                  </a:ext>
                </a:extLst>
              </p:cNvPr>
              <p:cNvSpPr/>
              <p:nvPr/>
            </p:nvSpPr>
            <p:spPr>
              <a:xfrm>
                <a:off x="2435755" y="2806506"/>
                <a:ext cx="23683" cy="113521"/>
              </a:xfrm>
              <a:custGeom>
                <a:avLst/>
                <a:gdLst>
                  <a:gd name="connsiteX0" fmla="*/ 23683 w 23683"/>
                  <a:gd name="connsiteY0" fmla="*/ 113521 h 113521"/>
                  <a:gd name="connsiteX1" fmla="*/ 0 w 23683"/>
                  <a:gd name="connsiteY1" fmla="*/ 113521 h 113521"/>
                  <a:gd name="connsiteX2" fmla="*/ 0 w 23683"/>
                  <a:gd name="connsiteY2" fmla="*/ 0 h 113521"/>
                  <a:gd name="connsiteX3" fmla="*/ 23683 w 23683"/>
                  <a:gd name="connsiteY3" fmla="*/ 0 h 113521"/>
                </a:gdLst>
                <a:ahLst/>
                <a:cxnLst>
                  <a:cxn ang="0">
                    <a:pos x="connsiteX0" y="connsiteY0"/>
                  </a:cxn>
                  <a:cxn ang="0">
                    <a:pos x="connsiteX1" y="connsiteY1"/>
                  </a:cxn>
                  <a:cxn ang="0">
                    <a:pos x="connsiteX2" y="connsiteY2"/>
                  </a:cxn>
                  <a:cxn ang="0">
                    <a:pos x="connsiteX3" y="connsiteY3"/>
                  </a:cxn>
                </a:cxnLst>
                <a:rect l="l" t="t" r="r" b="b"/>
                <a:pathLst>
                  <a:path w="23683" h="113521">
                    <a:moveTo>
                      <a:pt x="23683" y="113521"/>
                    </a:moveTo>
                    <a:lnTo>
                      <a:pt x="0" y="113521"/>
                    </a:lnTo>
                    <a:lnTo>
                      <a:pt x="0" y="0"/>
                    </a:lnTo>
                    <a:lnTo>
                      <a:pt x="23683"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1" name="Freeform: Shape 120">
                <a:extLst>
                  <a:ext uri="{FF2B5EF4-FFF2-40B4-BE49-F238E27FC236}">
                    <a16:creationId xmlns:a16="http://schemas.microsoft.com/office/drawing/2014/main" id="{B51C022F-DEBD-8647-7AE1-D71315899A00}"/>
                  </a:ext>
                </a:extLst>
              </p:cNvPr>
              <p:cNvSpPr/>
              <p:nvPr/>
            </p:nvSpPr>
            <p:spPr>
              <a:xfrm>
                <a:off x="2470358" y="2843313"/>
                <a:ext cx="119928" cy="76714"/>
              </a:xfrm>
              <a:custGeom>
                <a:avLst/>
                <a:gdLst>
                  <a:gd name="connsiteX0" fmla="*/ 119929 w 119928"/>
                  <a:gd name="connsiteY0" fmla="*/ 33 h 76714"/>
                  <a:gd name="connsiteX1" fmla="*/ 97813 w 119928"/>
                  <a:gd name="connsiteY1" fmla="*/ 76714 h 76714"/>
                  <a:gd name="connsiteX2" fmla="*/ 72979 w 119928"/>
                  <a:gd name="connsiteY2" fmla="*/ 76714 h 76714"/>
                  <a:gd name="connsiteX3" fmla="*/ 61653 w 119928"/>
                  <a:gd name="connsiteY3" fmla="*/ 31801 h 76714"/>
                  <a:gd name="connsiteX4" fmla="*/ 60381 w 119928"/>
                  <a:gd name="connsiteY4" fmla="*/ 21942 h 76714"/>
                  <a:gd name="connsiteX5" fmla="*/ 59931 w 119928"/>
                  <a:gd name="connsiteY5" fmla="*/ 21942 h 76714"/>
                  <a:gd name="connsiteX6" fmla="*/ 58429 w 119928"/>
                  <a:gd name="connsiteY6" fmla="*/ 31450 h 76714"/>
                  <a:gd name="connsiteX7" fmla="*/ 46292 w 119928"/>
                  <a:gd name="connsiteY7" fmla="*/ 76681 h 76714"/>
                  <a:gd name="connsiteX8" fmla="*/ 21666 w 119928"/>
                  <a:gd name="connsiteY8" fmla="*/ 76681 h 76714"/>
                  <a:gd name="connsiteX9" fmla="*/ 0 w 119928"/>
                  <a:gd name="connsiteY9" fmla="*/ 0 h 76714"/>
                  <a:gd name="connsiteX10" fmla="*/ 24122 w 119928"/>
                  <a:gd name="connsiteY10" fmla="*/ 0 h 76714"/>
                  <a:gd name="connsiteX11" fmla="*/ 34691 w 119928"/>
                  <a:gd name="connsiteY11" fmla="*/ 50029 h 76714"/>
                  <a:gd name="connsiteX12" fmla="*/ 35788 w 119928"/>
                  <a:gd name="connsiteY12" fmla="*/ 58563 h 76714"/>
                  <a:gd name="connsiteX13" fmla="*/ 36237 w 119928"/>
                  <a:gd name="connsiteY13" fmla="*/ 58563 h 76714"/>
                  <a:gd name="connsiteX14" fmla="*/ 37586 w 119928"/>
                  <a:gd name="connsiteY14" fmla="*/ 49722 h 76714"/>
                  <a:gd name="connsiteX15" fmla="*/ 50743 w 119928"/>
                  <a:gd name="connsiteY15" fmla="*/ 0 h 76714"/>
                  <a:gd name="connsiteX16" fmla="*/ 73308 w 119928"/>
                  <a:gd name="connsiteY16" fmla="*/ 0 h 76714"/>
                  <a:gd name="connsiteX17" fmla="*/ 85150 w 119928"/>
                  <a:gd name="connsiteY17" fmla="*/ 50029 h 76714"/>
                  <a:gd name="connsiteX18" fmla="*/ 86191 w 119928"/>
                  <a:gd name="connsiteY18" fmla="*/ 58705 h 76714"/>
                  <a:gd name="connsiteX19" fmla="*/ 86717 w 119928"/>
                  <a:gd name="connsiteY19" fmla="*/ 58705 h 76714"/>
                  <a:gd name="connsiteX20" fmla="*/ 87923 w 119928"/>
                  <a:gd name="connsiteY20" fmla="*/ 50029 h 76714"/>
                  <a:gd name="connsiteX21" fmla="*/ 97890 w 119928"/>
                  <a:gd name="connsiteY21" fmla="*/ 0 h 7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9928" h="76714">
                    <a:moveTo>
                      <a:pt x="119929" y="33"/>
                    </a:moveTo>
                    <a:lnTo>
                      <a:pt x="97813" y="76714"/>
                    </a:lnTo>
                    <a:lnTo>
                      <a:pt x="72979" y="76714"/>
                    </a:lnTo>
                    <a:lnTo>
                      <a:pt x="61653" y="31801"/>
                    </a:lnTo>
                    <a:cubicBezTo>
                      <a:pt x="60874" y="28570"/>
                      <a:pt x="60447" y="25264"/>
                      <a:pt x="60381" y="21942"/>
                    </a:cubicBezTo>
                    <a:lnTo>
                      <a:pt x="59931" y="21942"/>
                    </a:lnTo>
                    <a:cubicBezTo>
                      <a:pt x="59690" y="25147"/>
                      <a:pt x="59186" y="28327"/>
                      <a:pt x="58429" y="31450"/>
                    </a:cubicBezTo>
                    <a:lnTo>
                      <a:pt x="46292" y="76681"/>
                    </a:lnTo>
                    <a:lnTo>
                      <a:pt x="21666" y="76681"/>
                    </a:lnTo>
                    <a:lnTo>
                      <a:pt x="0" y="0"/>
                    </a:lnTo>
                    <a:lnTo>
                      <a:pt x="24122" y="0"/>
                    </a:lnTo>
                    <a:lnTo>
                      <a:pt x="34691" y="50029"/>
                    </a:lnTo>
                    <a:cubicBezTo>
                      <a:pt x="35250" y="52847"/>
                      <a:pt x="35612" y="55697"/>
                      <a:pt x="35788" y="58563"/>
                    </a:cubicBezTo>
                    <a:lnTo>
                      <a:pt x="36237" y="58563"/>
                    </a:lnTo>
                    <a:cubicBezTo>
                      <a:pt x="36413" y="55580"/>
                      <a:pt x="36862" y="52621"/>
                      <a:pt x="37586" y="49722"/>
                    </a:cubicBezTo>
                    <a:lnTo>
                      <a:pt x="50743" y="0"/>
                    </a:lnTo>
                    <a:lnTo>
                      <a:pt x="73308" y="0"/>
                    </a:lnTo>
                    <a:lnTo>
                      <a:pt x="85150" y="50029"/>
                    </a:lnTo>
                    <a:cubicBezTo>
                      <a:pt x="85654" y="52900"/>
                      <a:pt x="86005" y="55797"/>
                      <a:pt x="86191" y="58705"/>
                    </a:cubicBezTo>
                    <a:lnTo>
                      <a:pt x="86717" y="58705"/>
                    </a:lnTo>
                    <a:cubicBezTo>
                      <a:pt x="86970" y="55794"/>
                      <a:pt x="87375" y="52898"/>
                      <a:pt x="87923" y="50029"/>
                    </a:cubicBezTo>
                    <a:lnTo>
                      <a:pt x="97890"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2" name="Freeform: Shape 121">
                <a:extLst>
                  <a:ext uri="{FF2B5EF4-FFF2-40B4-BE49-F238E27FC236}">
                    <a16:creationId xmlns:a16="http://schemas.microsoft.com/office/drawing/2014/main" id="{45803C33-0C23-67D2-207A-B0C76A46C640}"/>
                  </a:ext>
                </a:extLst>
              </p:cNvPr>
              <p:cNvSpPr/>
              <p:nvPr/>
            </p:nvSpPr>
            <p:spPr>
              <a:xfrm>
                <a:off x="2594615" y="2841175"/>
                <a:ext cx="69858" cy="80816"/>
              </a:xfrm>
              <a:custGeom>
                <a:avLst/>
                <a:gdLst>
                  <a:gd name="connsiteX0" fmla="*/ 69539 w 69858"/>
                  <a:gd name="connsiteY0" fmla="*/ 78853 h 80816"/>
                  <a:gd name="connsiteX1" fmla="*/ 47128 w 69858"/>
                  <a:gd name="connsiteY1" fmla="*/ 78853 h 80816"/>
                  <a:gd name="connsiteX2" fmla="*/ 47128 w 69858"/>
                  <a:gd name="connsiteY2" fmla="*/ 67898 h 80816"/>
                  <a:gd name="connsiteX3" fmla="*/ 46832 w 69858"/>
                  <a:gd name="connsiteY3" fmla="*/ 67898 h 80816"/>
                  <a:gd name="connsiteX4" fmla="*/ 23971 w 69858"/>
                  <a:gd name="connsiteY4" fmla="*/ 80781 h 80816"/>
                  <a:gd name="connsiteX5" fmla="*/ 6428 w 69858"/>
                  <a:gd name="connsiteY5" fmla="*/ 74449 h 80816"/>
                  <a:gd name="connsiteX6" fmla="*/ 25 w 69858"/>
                  <a:gd name="connsiteY6" fmla="*/ 57568 h 80816"/>
                  <a:gd name="connsiteX7" fmla="*/ 26482 w 69858"/>
                  <a:gd name="connsiteY7" fmla="*/ 31803 h 80816"/>
                  <a:gd name="connsiteX8" fmla="*/ 47314 w 69858"/>
                  <a:gd name="connsiteY8" fmla="*/ 29032 h 80816"/>
                  <a:gd name="connsiteX9" fmla="*/ 33675 w 69858"/>
                  <a:gd name="connsiteY9" fmla="*/ 16456 h 80816"/>
                  <a:gd name="connsiteX10" fmla="*/ 7590 w 69858"/>
                  <a:gd name="connsiteY10" fmla="*/ 24617 h 80816"/>
                  <a:gd name="connsiteX11" fmla="*/ 7590 w 69858"/>
                  <a:gd name="connsiteY11" fmla="*/ 6739 h 80816"/>
                  <a:gd name="connsiteX12" fmla="*/ 21121 w 69858"/>
                  <a:gd name="connsiteY12" fmla="*/ 2248 h 80816"/>
                  <a:gd name="connsiteX13" fmla="*/ 36745 w 69858"/>
                  <a:gd name="connsiteY13" fmla="*/ 298 h 80816"/>
                  <a:gd name="connsiteX14" fmla="*/ 69561 w 69858"/>
                  <a:gd name="connsiteY14" fmla="*/ 24847 h 80816"/>
                  <a:gd name="connsiteX15" fmla="*/ 69572 w 69858"/>
                  <a:gd name="connsiteY15" fmla="*/ 33030 h 80816"/>
                  <a:gd name="connsiteX16" fmla="*/ 47282 w 69858"/>
                  <a:gd name="connsiteY16" fmla="*/ 47698 h 80816"/>
                  <a:gd name="connsiteX17" fmla="*/ 47282 w 69858"/>
                  <a:gd name="connsiteY17" fmla="*/ 42550 h 80816"/>
                  <a:gd name="connsiteX18" fmla="*/ 33346 w 69858"/>
                  <a:gd name="connsiteY18" fmla="*/ 44346 h 80816"/>
                  <a:gd name="connsiteX19" fmla="*/ 21800 w 69858"/>
                  <a:gd name="connsiteY19" fmla="*/ 54753 h 80816"/>
                  <a:gd name="connsiteX20" fmla="*/ 24607 w 69858"/>
                  <a:gd name="connsiteY20" fmla="*/ 61380 h 80816"/>
                  <a:gd name="connsiteX21" fmla="*/ 32217 w 69858"/>
                  <a:gd name="connsiteY21" fmla="*/ 63966 h 80816"/>
                  <a:gd name="connsiteX22" fmla="*/ 43082 w 69858"/>
                  <a:gd name="connsiteY22" fmla="*/ 59354 h 80816"/>
                  <a:gd name="connsiteX23" fmla="*/ 47282 w 69858"/>
                  <a:gd name="connsiteY23" fmla="*/ 47698 h 8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6">
                    <a:moveTo>
                      <a:pt x="69539" y="78853"/>
                    </a:moveTo>
                    <a:lnTo>
                      <a:pt x="47128" y="78853"/>
                    </a:lnTo>
                    <a:lnTo>
                      <a:pt x="47128" y="67898"/>
                    </a:lnTo>
                    <a:lnTo>
                      <a:pt x="46832" y="67898"/>
                    </a:lnTo>
                    <a:cubicBezTo>
                      <a:pt x="42260" y="76166"/>
                      <a:pt x="33412" y="81150"/>
                      <a:pt x="23971" y="80781"/>
                    </a:cubicBezTo>
                    <a:cubicBezTo>
                      <a:pt x="17502" y="81133"/>
                      <a:pt x="11176" y="78848"/>
                      <a:pt x="6428" y="74449"/>
                    </a:cubicBezTo>
                    <a:cubicBezTo>
                      <a:pt x="2054" y="69949"/>
                      <a:pt x="-271" y="63837"/>
                      <a:pt x="25" y="57568"/>
                    </a:cubicBezTo>
                    <a:cubicBezTo>
                      <a:pt x="25" y="42692"/>
                      <a:pt x="8840" y="34104"/>
                      <a:pt x="26482" y="31803"/>
                    </a:cubicBezTo>
                    <a:lnTo>
                      <a:pt x="47314" y="29032"/>
                    </a:lnTo>
                    <a:cubicBezTo>
                      <a:pt x="47314" y="20655"/>
                      <a:pt x="42764" y="16464"/>
                      <a:pt x="33675" y="16456"/>
                    </a:cubicBezTo>
                    <a:cubicBezTo>
                      <a:pt x="24355" y="16506"/>
                      <a:pt x="15277" y="19350"/>
                      <a:pt x="7590" y="24617"/>
                    </a:cubicBezTo>
                    <a:lnTo>
                      <a:pt x="7590" y="6739"/>
                    </a:lnTo>
                    <a:cubicBezTo>
                      <a:pt x="11900" y="4701"/>
                      <a:pt x="16450" y="3192"/>
                      <a:pt x="21121" y="2248"/>
                    </a:cubicBezTo>
                    <a:cubicBezTo>
                      <a:pt x="26241" y="1020"/>
                      <a:pt x="31482" y="366"/>
                      <a:pt x="36745" y="298"/>
                    </a:cubicBezTo>
                    <a:cubicBezTo>
                      <a:pt x="52588" y="-1977"/>
                      <a:pt x="67281" y="9014"/>
                      <a:pt x="69561" y="24847"/>
                    </a:cubicBezTo>
                    <a:cubicBezTo>
                      <a:pt x="69956" y="27561"/>
                      <a:pt x="69956" y="30316"/>
                      <a:pt x="69572" y="33030"/>
                    </a:cubicBezTo>
                    <a:close/>
                    <a:moveTo>
                      <a:pt x="47282" y="47698"/>
                    </a:moveTo>
                    <a:lnTo>
                      <a:pt x="47282" y="42550"/>
                    </a:lnTo>
                    <a:lnTo>
                      <a:pt x="33346" y="44346"/>
                    </a:lnTo>
                    <a:cubicBezTo>
                      <a:pt x="25649" y="45340"/>
                      <a:pt x="21800" y="48808"/>
                      <a:pt x="21800" y="54753"/>
                    </a:cubicBezTo>
                    <a:cubicBezTo>
                      <a:pt x="21724" y="57266"/>
                      <a:pt x="22743" y="59688"/>
                      <a:pt x="24607" y="61380"/>
                    </a:cubicBezTo>
                    <a:cubicBezTo>
                      <a:pt x="26723" y="63186"/>
                      <a:pt x="29443" y="64110"/>
                      <a:pt x="32217" y="63966"/>
                    </a:cubicBezTo>
                    <a:cubicBezTo>
                      <a:pt x="36339" y="64105"/>
                      <a:pt x="40319" y="62418"/>
                      <a:pt x="43082" y="59354"/>
                    </a:cubicBezTo>
                    <a:cubicBezTo>
                      <a:pt x="45933" y="56156"/>
                      <a:pt x="47446" y="51979"/>
                      <a:pt x="47282" y="4769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3" name="Freeform: Shape 122">
                <a:extLst>
                  <a:ext uri="{FF2B5EF4-FFF2-40B4-BE49-F238E27FC236}">
                    <a16:creationId xmlns:a16="http://schemas.microsoft.com/office/drawing/2014/main" id="{5A98B3CB-A717-742A-A3A1-D67024DAB34E}"/>
                  </a:ext>
                </a:extLst>
              </p:cNvPr>
              <p:cNvSpPr/>
              <p:nvPr/>
            </p:nvSpPr>
            <p:spPr>
              <a:xfrm>
                <a:off x="2669888" y="2843324"/>
                <a:ext cx="83384" cy="112739"/>
              </a:xfrm>
              <a:custGeom>
                <a:avLst/>
                <a:gdLst>
                  <a:gd name="connsiteX0" fmla="*/ 83384 w 83384"/>
                  <a:gd name="connsiteY0" fmla="*/ 22 h 112739"/>
                  <a:gd name="connsiteX1" fmla="*/ 52169 w 83384"/>
                  <a:gd name="connsiteY1" fmla="*/ 82849 h 112739"/>
                  <a:gd name="connsiteX2" fmla="*/ 18289 w 83384"/>
                  <a:gd name="connsiteY2" fmla="*/ 112722 h 112739"/>
                  <a:gd name="connsiteX3" fmla="*/ 4123 w 83384"/>
                  <a:gd name="connsiteY3" fmla="*/ 110772 h 112739"/>
                  <a:gd name="connsiteX4" fmla="*/ 4123 w 83384"/>
                  <a:gd name="connsiteY4" fmla="*/ 91886 h 112739"/>
                  <a:gd name="connsiteX5" fmla="*/ 14396 w 83384"/>
                  <a:gd name="connsiteY5" fmla="*/ 94658 h 112739"/>
                  <a:gd name="connsiteX6" fmla="*/ 27137 w 83384"/>
                  <a:gd name="connsiteY6" fmla="*/ 86047 h 112739"/>
                  <a:gd name="connsiteX7" fmla="*/ 31183 w 83384"/>
                  <a:gd name="connsiteY7" fmla="*/ 76528 h 112739"/>
                  <a:gd name="connsiteX8" fmla="*/ 0 w 83384"/>
                  <a:gd name="connsiteY8" fmla="*/ 0 h 112739"/>
                  <a:gd name="connsiteX9" fmla="*/ 26238 w 83384"/>
                  <a:gd name="connsiteY9" fmla="*/ 0 h 112739"/>
                  <a:gd name="connsiteX10" fmla="*/ 40557 w 83384"/>
                  <a:gd name="connsiteY10" fmla="*/ 46655 h 112739"/>
                  <a:gd name="connsiteX11" fmla="*/ 42651 w 83384"/>
                  <a:gd name="connsiteY11" fmla="*/ 56908 h 112739"/>
                  <a:gd name="connsiteX12" fmla="*/ 42948 w 83384"/>
                  <a:gd name="connsiteY12" fmla="*/ 56908 h 112739"/>
                  <a:gd name="connsiteX13" fmla="*/ 45426 w 83384"/>
                  <a:gd name="connsiteY13" fmla="*/ 46808 h 112739"/>
                  <a:gd name="connsiteX14" fmla="*/ 59888 w 83384"/>
                  <a:gd name="connsiteY14" fmla="*/ 0 h 11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84" h="112739">
                    <a:moveTo>
                      <a:pt x="83384" y="22"/>
                    </a:moveTo>
                    <a:lnTo>
                      <a:pt x="52169" y="82849"/>
                    </a:lnTo>
                    <a:cubicBezTo>
                      <a:pt x="44680" y="102764"/>
                      <a:pt x="33387" y="112722"/>
                      <a:pt x="18289" y="112722"/>
                    </a:cubicBezTo>
                    <a:cubicBezTo>
                      <a:pt x="13486" y="112861"/>
                      <a:pt x="8706" y="112202"/>
                      <a:pt x="4123" y="110772"/>
                    </a:cubicBezTo>
                    <a:lnTo>
                      <a:pt x="4123" y="91886"/>
                    </a:lnTo>
                    <a:cubicBezTo>
                      <a:pt x="7237" y="93721"/>
                      <a:pt x="10789" y="94678"/>
                      <a:pt x="14396" y="94658"/>
                    </a:cubicBezTo>
                    <a:cubicBezTo>
                      <a:pt x="20087" y="94931"/>
                      <a:pt x="25273" y="91425"/>
                      <a:pt x="27137" y="86047"/>
                    </a:cubicBezTo>
                    <a:lnTo>
                      <a:pt x="31183" y="76528"/>
                    </a:lnTo>
                    <a:lnTo>
                      <a:pt x="0" y="0"/>
                    </a:lnTo>
                    <a:lnTo>
                      <a:pt x="26238" y="0"/>
                    </a:lnTo>
                    <a:lnTo>
                      <a:pt x="40557" y="46655"/>
                    </a:lnTo>
                    <a:cubicBezTo>
                      <a:pt x="41555" y="50006"/>
                      <a:pt x="42257" y="53436"/>
                      <a:pt x="42651" y="56908"/>
                    </a:cubicBezTo>
                    <a:lnTo>
                      <a:pt x="42948" y="56908"/>
                    </a:lnTo>
                    <a:cubicBezTo>
                      <a:pt x="43529" y="53486"/>
                      <a:pt x="44362" y="50111"/>
                      <a:pt x="45426" y="46808"/>
                    </a:cubicBezTo>
                    <a:lnTo>
                      <a:pt x="59888"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4" name="Freeform: Shape 123">
                <a:extLst>
                  <a:ext uri="{FF2B5EF4-FFF2-40B4-BE49-F238E27FC236}">
                    <a16:creationId xmlns:a16="http://schemas.microsoft.com/office/drawing/2014/main" id="{969DCA52-46EB-2C55-E2C8-DF4975446E69}"/>
                  </a:ext>
                </a:extLst>
              </p:cNvPr>
              <p:cNvSpPr/>
              <p:nvPr/>
            </p:nvSpPr>
            <p:spPr>
              <a:xfrm>
                <a:off x="2757979" y="2841429"/>
                <a:ext cx="58943" cy="80390"/>
              </a:xfrm>
              <a:custGeom>
                <a:avLst/>
                <a:gdLst>
                  <a:gd name="connsiteX0" fmla="*/ 19 w 58943"/>
                  <a:gd name="connsiteY0" fmla="*/ 76583 h 80390"/>
                  <a:gd name="connsiteX1" fmla="*/ 19 w 58943"/>
                  <a:gd name="connsiteY1" fmla="*/ 57413 h 80390"/>
                  <a:gd name="connsiteX2" fmla="*/ 11674 w 58943"/>
                  <a:gd name="connsiteY2" fmla="*/ 62649 h 80390"/>
                  <a:gd name="connsiteX3" fmla="*/ 22639 w 58943"/>
                  <a:gd name="connsiteY3" fmla="*/ 64369 h 80390"/>
                  <a:gd name="connsiteX4" fmla="*/ 32573 w 58943"/>
                  <a:gd name="connsiteY4" fmla="*/ 62649 h 80390"/>
                  <a:gd name="connsiteX5" fmla="*/ 36213 w 58943"/>
                  <a:gd name="connsiteY5" fmla="*/ 57413 h 80390"/>
                  <a:gd name="connsiteX6" fmla="*/ 34557 w 58943"/>
                  <a:gd name="connsiteY6" fmla="*/ 53666 h 80390"/>
                  <a:gd name="connsiteX7" fmla="*/ 30325 w 58943"/>
                  <a:gd name="connsiteY7" fmla="*/ 51037 h 80390"/>
                  <a:gd name="connsiteX8" fmla="*/ 24667 w 58943"/>
                  <a:gd name="connsiteY8" fmla="*/ 49022 h 80390"/>
                  <a:gd name="connsiteX9" fmla="*/ 18746 w 58943"/>
                  <a:gd name="connsiteY9" fmla="*/ 46995 h 80390"/>
                  <a:gd name="connsiteX10" fmla="*/ 10688 w 58943"/>
                  <a:gd name="connsiteY10" fmla="*/ 43293 h 80390"/>
                  <a:gd name="connsiteX11" fmla="*/ 4844 w 58943"/>
                  <a:gd name="connsiteY11" fmla="*/ 38692 h 80390"/>
                  <a:gd name="connsiteX12" fmla="*/ 1247 w 58943"/>
                  <a:gd name="connsiteY12" fmla="*/ 32623 h 80390"/>
                  <a:gd name="connsiteX13" fmla="*/ 8 w 58943"/>
                  <a:gd name="connsiteY13" fmla="*/ 24462 h 80390"/>
                  <a:gd name="connsiteX14" fmla="*/ 2815 w 58943"/>
                  <a:gd name="connsiteY14" fmla="*/ 13376 h 80390"/>
                  <a:gd name="connsiteX15" fmla="*/ 10315 w 58943"/>
                  <a:gd name="connsiteY15" fmla="*/ 5773 h 80390"/>
                  <a:gd name="connsiteX16" fmla="*/ 21038 w 58943"/>
                  <a:gd name="connsiteY16" fmla="*/ 1392 h 80390"/>
                  <a:gd name="connsiteX17" fmla="*/ 33592 w 58943"/>
                  <a:gd name="connsiteY17" fmla="*/ 0 h 80390"/>
                  <a:gd name="connsiteX18" fmla="*/ 43932 w 58943"/>
                  <a:gd name="connsiteY18" fmla="*/ 789 h 80390"/>
                  <a:gd name="connsiteX19" fmla="*/ 54271 w 58943"/>
                  <a:gd name="connsiteY19" fmla="*/ 3068 h 80390"/>
                  <a:gd name="connsiteX20" fmla="*/ 54271 w 58943"/>
                  <a:gd name="connsiteY20" fmla="*/ 21340 h 80390"/>
                  <a:gd name="connsiteX21" fmla="*/ 44644 w 58943"/>
                  <a:gd name="connsiteY21" fmla="*/ 17418 h 80390"/>
                  <a:gd name="connsiteX22" fmla="*/ 34557 w 58943"/>
                  <a:gd name="connsiteY22" fmla="*/ 16104 h 80390"/>
                  <a:gd name="connsiteX23" fmla="*/ 30171 w 58943"/>
                  <a:gd name="connsiteY23" fmla="*/ 16520 h 80390"/>
                  <a:gd name="connsiteX24" fmla="*/ 26542 w 58943"/>
                  <a:gd name="connsiteY24" fmla="*/ 17714 h 80390"/>
                  <a:gd name="connsiteX25" fmla="*/ 24064 w 58943"/>
                  <a:gd name="connsiteY25" fmla="*/ 19729 h 80390"/>
                  <a:gd name="connsiteX26" fmla="*/ 23165 w 58943"/>
                  <a:gd name="connsiteY26" fmla="*/ 22545 h 80390"/>
                  <a:gd name="connsiteX27" fmla="*/ 24514 w 58943"/>
                  <a:gd name="connsiteY27" fmla="*/ 26138 h 80390"/>
                  <a:gd name="connsiteX28" fmla="*/ 28044 w 58943"/>
                  <a:gd name="connsiteY28" fmla="*/ 28723 h 80390"/>
                  <a:gd name="connsiteX29" fmla="*/ 32880 w 58943"/>
                  <a:gd name="connsiteY29" fmla="*/ 30673 h 80390"/>
                  <a:gd name="connsiteX30" fmla="*/ 38164 w 58943"/>
                  <a:gd name="connsiteY30" fmla="*/ 32426 h 80390"/>
                  <a:gd name="connsiteX31" fmla="*/ 46706 w 58943"/>
                  <a:gd name="connsiteY31" fmla="*/ 36019 h 80390"/>
                  <a:gd name="connsiteX32" fmla="*/ 53284 w 58943"/>
                  <a:gd name="connsiteY32" fmla="*/ 40587 h 80390"/>
                  <a:gd name="connsiteX33" fmla="*/ 57484 w 58943"/>
                  <a:gd name="connsiteY33" fmla="*/ 46732 h 80390"/>
                  <a:gd name="connsiteX34" fmla="*/ 55981 w 58943"/>
                  <a:gd name="connsiteY34" fmla="*/ 66757 h 80390"/>
                  <a:gd name="connsiteX35" fmla="*/ 48109 w 58943"/>
                  <a:gd name="connsiteY35" fmla="*/ 74622 h 80390"/>
                  <a:gd name="connsiteX36" fmla="*/ 36794 w 58943"/>
                  <a:gd name="connsiteY36" fmla="*/ 79004 h 80390"/>
                  <a:gd name="connsiteX37" fmla="*/ 23494 w 58943"/>
                  <a:gd name="connsiteY37" fmla="*/ 80384 h 80390"/>
                  <a:gd name="connsiteX38" fmla="*/ 19 w 58943"/>
                  <a:gd name="connsiteY38" fmla="*/ 76583 h 8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3" h="80390">
                    <a:moveTo>
                      <a:pt x="19" y="76583"/>
                    </a:moveTo>
                    <a:lnTo>
                      <a:pt x="19" y="57413"/>
                    </a:lnTo>
                    <a:cubicBezTo>
                      <a:pt x="3670" y="59644"/>
                      <a:pt x="7585" y="61404"/>
                      <a:pt x="11674" y="62649"/>
                    </a:cubicBezTo>
                    <a:cubicBezTo>
                      <a:pt x="15227" y="63748"/>
                      <a:pt x="18922" y="64327"/>
                      <a:pt x="22639" y="64369"/>
                    </a:cubicBezTo>
                    <a:cubicBezTo>
                      <a:pt x="26038" y="64519"/>
                      <a:pt x="29426" y="63933"/>
                      <a:pt x="32573" y="62649"/>
                    </a:cubicBezTo>
                    <a:cubicBezTo>
                      <a:pt x="34765" y="61840"/>
                      <a:pt x="36224" y="59748"/>
                      <a:pt x="36213" y="57413"/>
                    </a:cubicBezTo>
                    <a:cubicBezTo>
                      <a:pt x="36235" y="55981"/>
                      <a:pt x="35632" y="54611"/>
                      <a:pt x="34557" y="53666"/>
                    </a:cubicBezTo>
                    <a:cubicBezTo>
                      <a:pt x="33296" y="52564"/>
                      <a:pt x="31871" y="51676"/>
                      <a:pt x="30325" y="51037"/>
                    </a:cubicBezTo>
                    <a:cubicBezTo>
                      <a:pt x="28483" y="50251"/>
                      <a:pt x="26597" y="49578"/>
                      <a:pt x="24667" y="49022"/>
                    </a:cubicBezTo>
                    <a:cubicBezTo>
                      <a:pt x="22617" y="48419"/>
                      <a:pt x="20643" y="47751"/>
                      <a:pt x="18746" y="46995"/>
                    </a:cubicBezTo>
                    <a:cubicBezTo>
                      <a:pt x="15972" y="45973"/>
                      <a:pt x="13275" y="44735"/>
                      <a:pt x="10688" y="43293"/>
                    </a:cubicBezTo>
                    <a:cubicBezTo>
                      <a:pt x="8506" y="42081"/>
                      <a:pt x="6532" y="40528"/>
                      <a:pt x="4844" y="38692"/>
                    </a:cubicBezTo>
                    <a:cubicBezTo>
                      <a:pt x="3254" y="36924"/>
                      <a:pt x="2037" y="34862"/>
                      <a:pt x="1247" y="32623"/>
                    </a:cubicBezTo>
                    <a:cubicBezTo>
                      <a:pt x="370" y="29993"/>
                      <a:pt x="-47" y="27233"/>
                      <a:pt x="8" y="24462"/>
                    </a:cubicBezTo>
                    <a:cubicBezTo>
                      <a:pt x="-101" y="20578"/>
                      <a:pt x="874" y="16741"/>
                      <a:pt x="2815" y="13376"/>
                    </a:cubicBezTo>
                    <a:cubicBezTo>
                      <a:pt x="4679" y="10287"/>
                      <a:pt x="7256" y="7682"/>
                      <a:pt x="10315" y="5773"/>
                    </a:cubicBezTo>
                    <a:cubicBezTo>
                      <a:pt x="13615" y="3714"/>
                      <a:pt x="17244" y="2232"/>
                      <a:pt x="21038" y="1392"/>
                    </a:cubicBezTo>
                    <a:cubicBezTo>
                      <a:pt x="25161" y="451"/>
                      <a:pt x="29371" y="-16"/>
                      <a:pt x="33592" y="0"/>
                    </a:cubicBezTo>
                    <a:cubicBezTo>
                      <a:pt x="37057" y="5"/>
                      <a:pt x="40511" y="269"/>
                      <a:pt x="43932" y="789"/>
                    </a:cubicBezTo>
                    <a:cubicBezTo>
                      <a:pt x="47429" y="1313"/>
                      <a:pt x="50883" y="2074"/>
                      <a:pt x="54271" y="3068"/>
                    </a:cubicBezTo>
                    <a:lnTo>
                      <a:pt x="54271" y="21340"/>
                    </a:lnTo>
                    <a:cubicBezTo>
                      <a:pt x="51267" y="19588"/>
                      <a:pt x="48021" y="18268"/>
                      <a:pt x="44644" y="17418"/>
                    </a:cubicBezTo>
                    <a:cubicBezTo>
                      <a:pt x="41355" y="16559"/>
                      <a:pt x="37956" y="16117"/>
                      <a:pt x="34557" y="16104"/>
                    </a:cubicBezTo>
                    <a:cubicBezTo>
                      <a:pt x="33088" y="16098"/>
                      <a:pt x="31619" y="16238"/>
                      <a:pt x="30171" y="16520"/>
                    </a:cubicBezTo>
                    <a:cubicBezTo>
                      <a:pt x="28910" y="16750"/>
                      <a:pt x="27693" y="17152"/>
                      <a:pt x="26542" y="17714"/>
                    </a:cubicBezTo>
                    <a:cubicBezTo>
                      <a:pt x="25566" y="18177"/>
                      <a:pt x="24711" y="18868"/>
                      <a:pt x="24064" y="19729"/>
                    </a:cubicBezTo>
                    <a:cubicBezTo>
                      <a:pt x="23472" y="20548"/>
                      <a:pt x="23154" y="21535"/>
                      <a:pt x="23165" y="22545"/>
                    </a:cubicBezTo>
                    <a:cubicBezTo>
                      <a:pt x="23143" y="23870"/>
                      <a:pt x="23626" y="25156"/>
                      <a:pt x="24514" y="26138"/>
                    </a:cubicBezTo>
                    <a:cubicBezTo>
                      <a:pt x="25512" y="27215"/>
                      <a:pt x="26718" y="28092"/>
                      <a:pt x="28044" y="28723"/>
                    </a:cubicBezTo>
                    <a:cubicBezTo>
                      <a:pt x="29601" y="29491"/>
                      <a:pt x="31224" y="30143"/>
                      <a:pt x="32880" y="30673"/>
                    </a:cubicBezTo>
                    <a:cubicBezTo>
                      <a:pt x="34645" y="31243"/>
                      <a:pt x="36410" y="31826"/>
                      <a:pt x="38164" y="32426"/>
                    </a:cubicBezTo>
                    <a:cubicBezTo>
                      <a:pt x="41092" y="33432"/>
                      <a:pt x="43943" y="34633"/>
                      <a:pt x="46706" y="36019"/>
                    </a:cubicBezTo>
                    <a:cubicBezTo>
                      <a:pt x="49107" y="37217"/>
                      <a:pt x="51322" y="38755"/>
                      <a:pt x="53284" y="40587"/>
                    </a:cubicBezTo>
                    <a:cubicBezTo>
                      <a:pt x="55093" y="42321"/>
                      <a:pt x="56530" y="44414"/>
                      <a:pt x="57484" y="46732"/>
                    </a:cubicBezTo>
                    <a:cubicBezTo>
                      <a:pt x="59863" y="53316"/>
                      <a:pt x="59315" y="60601"/>
                      <a:pt x="55981" y="66757"/>
                    </a:cubicBezTo>
                    <a:cubicBezTo>
                      <a:pt x="54019" y="69969"/>
                      <a:pt x="51322" y="72665"/>
                      <a:pt x="48109" y="74622"/>
                    </a:cubicBezTo>
                    <a:cubicBezTo>
                      <a:pt x="44611" y="76718"/>
                      <a:pt x="40785" y="78200"/>
                      <a:pt x="36794" y="79004"/>
                    </a:cubicBezTo>
                    <a:cubicBezTo>
                      <a:pt x="32419" y="79934"/>
                      <a:pt x="27968" y="80398"/>
                      <a:pt x="23494" y="80384"/>
                    </a:cubicBezTo>
                    <a:cubicBezTo>
                      <a:pt x="15512" y="80487"/>
                      <a:pt x="7563" y="79201"/>
                      <a:pt x="19" y="7658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5" name="Freeform: Shape 124">
                <a:extLst>
                  <a:ext uri="{FF2B5EF4-FFF2-40B4-BE49-F238E27FC236}">
                    <a16:creationId xmlns:a16="http://schemas.microsoft.com/office/drawing/2014/main" id="{9307C3C7-9FA4-0F15-4C85-932DE20B62C8}"/>
                  </a:ext>
                </a:extLst>
              </p:cNvPr>
              <p:cNvSpPr/>
              <p:nvPr/>
            </p:nvSpPr>
            <p:spPr>
              <a:xfrm>
                <a:off x="1153053" y="3026030"/>
                <a:ext cx="50107" cy="78032"/>
              </a:xfrm>
              <a:custGeom>
                <a:avLst/>
                <a:gdLst>
                  <a:gd name="connsiteX0" fmla="*/ 50107 w 50107"/>
                  <a:gd name="connsiteY0" fmla="*/ 22690 h 78032"/>
                  <a:gd name="connsiteX1" fmla="*/ 40141 w 50107"/>
                  <a:gd name="connsiteY1" fmla="*/ 20368 h 78032"/>
                  <a:gd name="connsiteX2" fmla="*/ 28080 w 50107"/>
                  <a:gd name="connsiteY2" fmla="*/ 26021 h 78032"/>
                  <a:gd name="connsiteX3" fmla="*/ 23694 w 50107"/>
                  <a:gd name="connsiteY3" fmla="*/ 41412 h 78032"/>
                  <a:gd name="connsiteX4" fmla="*/ 23694 w 50107"/>
                  <a:gd name="connsiteY4" fmla="*/ 78032 h 78032"/>
                  <a:gd name="connsiteX5" fmla="*/ 0 w 50107"/>
                  <a:gd name="connsiteY5" fmla="*/ 78032 h 78032"/>
                  <a:gd name="connsiteX6" fmla="*/ 0 w 50107"/>
                  <a:gd name="connsiteY6" fmla="*/ 1351 h 78032"/>
                  <a:gd name="connsiteX7" fmla="*/ 23683 w 50107"/>
                  <a:gd name="connsiteY7" fmla="*/ 1351 h 78032"/>
                  <a:gd name="connsiteX8" fmla="*/ 23683 w 50107"/>
                  <a:gd name="connsiteY8" fmla="*/ 15592 h 78032"/>
                  <a:gd name="connsiteX9" fmla="*/ 23990 w 50107"/>
                  <a:gd name="connsiteY9" fmla="*/ 15592 h 78032"/>
                  <a:gd name="connsiteX10" fmla="*/ 44219 w 50107"/>
                  <a:gd name="connsiteY10" fmla="*/ 15 h 78032"/>
                  <a:gd name="connsiteX11" fmla="*/ 50063 w 50107"/>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107" h="78032">
                    <a:moveTo>
                      <a:pt x="50107" y="22690"/>
                    </a:moveTo>
                    <a:cubicBezTo>
                      <a:pt x="47034" y="21089"/>
                      <a:pt x="43605" y="20290"/>
                      <a:pt x="40141" y="20368"/>
                    </a:cubicBezTo>
                    <a:cubicBezTo>
                      <a:pt x="35436" y="20161"/>
                      <a:pt x="30928" y="22273"/>
                      <a:pt x="28080" y="26021"/>
                    </a:cubicBezTo>
                    <a:cubicBezTo>
                      <a:pt x="24946" y="30521"/>
                      <a:pt x="23402" y="35937"/>
                      <a:pt x="23694" y="41412"/>
                    </a:cubicBezTo>
                    <a:lnTo>
                      <a:pt x="23694" y="78032"/>
                    </a:lnTo>
                    <a:lnTo>
                      <a:pt x="0" y="78032"/>
                    </a:lnTo>
                    <a:lnTo>
                      <a:pt x="0" y="1351"/>
                    </a:lnTo>
                    <a:lnTo>
                      <a:pt x="23683" y="1351"/>
                    </a:lnTo>
                    <a:lnTo>
                      <a:pt x="23683" y="15592"/>
                    </a:lnTo>
                    <a:lnTo>
                      <a:pt x="23990" y="15592"/>
                    </a:lnTo>
                    <a:cubicBezTo>
                      <a:pt x="26271" y="6320"/>
                      <a:pt x="34665" y="-143"/>
                      <a:pt x="44219" y="15"/>
                    </a:cubicBezTo>
                    <a:cubicBezTo>
                      <a:pt x="46207" y="-73"/>
                      <a:pt x="48193" y="233"/>
                      <a:pt x="50063" y="91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6" name="Freeform: Shape 125">
                <a:extLst>
                  <a:ext uri="{FF2B5EF4-FFF2-40B4-BE49-F238E27FC236}">
                    <a16:creationId xmlns:a16="http://schemas.microsoft.com/office/drawing/2014/main" id="{95C61563-9130-933A-E367-B0E13865BAEA}"/>
                  </a:ext>
                </a:extLst>
              </p:cNvPr>
              <p:cNvSpPr/>
              <p:nvPr/>
            </p:nvSpPr>
            <p:spPr>
              <a:xfrm>
                <a:off x="1210300" y="3025446"/>
                <a:ext cx="73757" cy="80671"/>
              </a:xfrm>
              <a:custGeom>
                <a:avLst/>
                <a:gdLst>
                  <a:gd name="connsiteX0" fmla="*/ 73700 w 73757"/>
                  <a:gd name="connsiteY0" fmla="*/ 47013 h 80671"/>
                  <a:gd name="connsiteX1" fmla="*/ 23637 w 73757"/>
                  <a:gd name="connsiteY1" fmla="*/ 47013 h 80671"/>
                  <a:gd name="connsiteX2" fmla="*/ 44688 w 73757"/>
                  <a:gd name="connsiteY2" fmla="*/ 63719 h 80671"/>
                  <a:gd name="connsiteX3" fmla="*/ 66957 w 73757"/>
                  <a:gd name="connsiteY3" fmla="*/ 57727 h 80671"/>
                  <a:gd name="connsiteX4" fmla="*/ 66957 w 73757"/>
                  <a:gd name="connsiteY4" fmla="*/ 74794 h 80671"/>
                  <a:gd name="connsiteX5" fmla="*/ 39294 w 73757"/>
                  <a:gd name="connsiteY5" fmla="*/ 80490 h 80671"/>
                  <a:gd name="connsiteX6" fmla="*/ 178 w 73757"/>
                  <a:gd name="connsiteY6" fmla="*/ 48548 h 80671"/>
                  <a:gd name="connsiteX7" fmla="*/ 173 w 73757"/>
                  <a:gd name="connsiteY7" fmla="*/ 41470 h 80671"/>
                  <a:gd name="connsiteX8" fmla="*/ 11269 w 73757"/>
                  <a:gd name="connsiteY8" fmla="*/ 11225 h 80671"/>
                  <a:gd name="connsiteX9" fmla="*/ 38548 w 73757"/>
                  <a:gd name="connsiteY9" fmla="*/ 62 h 80671"/>
                  <a:gd name="connsiteX10" fmla="*/ 64523 w 73757"/>
                  <a:gd name="connsiteY10" fmla="*/ 10020 h 80671"/>
                  <a:gd name="connsiteX11" fmla="*/ 73700 w 73757"/>
                  <a:gd name="connsiteY11" fmla="*/ 37056 h 80671"/>
                  <a:gd name="connsiteX12" fmla="*/ 51771 w 73757"/>
                  <a:gd name="connsiteY12" fmla="*/ 32488 h 80671"/>
                  <a:gd name="connsiteX13" fmla="*/ 38428 w 73757"/>
                  <a:gd name="connsiteY13" fmla="*/ 16056 h 80671"/>
                  <a:gd name="connsiteX14" fmla="*/ 28560 w 73757"/>
                  <a:gd name="connsiteY14" fmla="*/ 20777 h 80671"/>
                  <a:gd name="connsiteX15" fmla="*/ 23505 w 73757"/>
                  <a:gd name="connsiteY15" fmla="*/ 32532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7" h="80671">
                    <a:moveTo>
                      <a:pt x="73700" y="47013"/>
                    </a:moveTo>
                    <a:lnTo>
                      <a:pt x="23637" y="47013"/>
                    </a:lnTo>
                    <a:cubicBezTo>
                      <a:pt x="24426" y="58143"/>
                      <a:pt x="31443" y="63711"/>
                      <a:pt x="44688" y="63719"/>
                    </a:cubicBezTo>
                    <a:cubicBezTo>
                      <a:pt x="52531" y="63879"/>
                      <a:pt x="60255" y="61800"/>
                      <a:pt x="66957" y="57727"/>
                    </a:cubicBezTo>
                    <a:lnTo>
                      <a:pt x="66957" y="74794"/>
                    </a:lnTo>
                    <a:cubicBezTo>
                      <a:pt x="58340" y="78924"/>
                      <a:pt x="48842" y="80874"/>
                      <a:pt x="39294" y="80490"/>
                    </a:cubicBezTo>
                    <a:cubicBezTo>
                      <a:pt x="19664" y="82462"/>
                      <a:pt x="2152" y="68160"/>
                      <a:pt x="178" y="48548"/>
                    </a:cubicBezTo>
                    <a:cubicBezTo>
                      <a:pt x="-57" y="46195"/>
                      <a:pt x="-60" y="43823"/>
                      <a:pt x="173" y="41470"/>
                    </a:cubicBezTo>
                    <a:cubicBezTo>
                      <a:pt x="-414" y="30298"/>
                      <a:pt x="3595" y="19372"/>
                      <a:pt x="11269" y="11225"/>
                    </a:cubicBezTo>
                    <a:cubicBezTo>
                      <a:pt x="18415" y="3880"/>
                      <a:pt x="28298" y="-164"/>
                      <a:pt x="38548" y="62"/>
                    </a:cubicBezTo>
                    <a:cubicBezTo>
                      <a:pt x="48241" y="-529"/>
                      <a:pt x="57714" y="3102"/>
                      <a:pt x="64523" y="10020"/>
                    </a:cubicBezTo>
                    <a:cubicBezTo>
                      <a:pt x="70951" y="17515"/>
                      <a:pt x="74238" y="27199"/>
                      <a:pt x="73700" y="37056"/>
                    </a:cubicBezTo>
                    <a:close/>
                    <a:moveTo>
                      <a:pt x="51771" y="32488"/>
                    </a:moveTo>
                    <a:cubicBezTo>
                      <a:pt x="51771" y="21533"/>
                      <a:pt x="47323" y="16056"/>
                      <a:pt x="38428" y="16056"/>
                    </a:cubicBezTo>
                    <a:cubicBezTo>
                      <a:pt x="34596" y="16068"/>
                      <a:pt x="30972" y="17802"/>
                      <a:pt x="28560" y="20777"/>
                    </a:cubicBezTo>
                    <a:cubicBezTo>
                      <a:pt x="25717" y="24090"/>
                      <a:pt x="23952" y="28190"/>
                      <a:pt x="23505"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7" name="Freeform: Shape 126">
                <a:extLst>
                  <a:ext uri="{FF2B5EF4-FFF2-40B4-BE49-F238E27FC236}">
                    <a16:creationId xmlns:a16="http://schemas.microsoft.com/office/drawing/2014/main" id="{8181E91F-78F9-4648-AE94-D18C2D593F36}"/>
                  </a:ext>
                </a:extLst>
              </p:cNvPr>
              <p:cNvSpPr/>
              <p:nvPr/>
            </p:nvSpPr>
            <p:spPr>
              <a:xfrm>
                <a:off x="1291730" y="3004059"/>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301" y="101241"/>
                      <a:pt x="42890" y="102183"/>
                      <a:pt x="37476" y="101877"/>
                    </a:cubicBezTo>
                    <a:cubicBezTo>
                      <a:pt x="20788" y="101877"/>
                      <a:pt x="12445" y="93212"/>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30"/>
                      <a:pt x="39223" y="83725"/>
                      <a:pt x="45568" y="83725"/>
                    </a:cubicBezTo>
                    <a:cubicBezTo>
                      <a:pt x="48271" y="83657"/>
                      <a:pt x="50912" y="82903"/>
                      <a:pt x="53243" y="8153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8" name="Freeform: Shape 127">
                <a:extLst>
                  <a:ext uri="{FF2B5EF4-FFF2-40B4-BE49-F238E27FC236}">
                    <a16:creationId xmlns:a16="http://schemas.microsoft.com/office/drawing/2014/main" id="{B1F53E62-412B-120D-434E-F09087413818}"/>
                  </a:ext>
                </a:extLst>
              </p:cNvPr>
              <p:cNvSpPr/>
              <p:nvPr/>
            </p:nvSpPr>
            <p:spPr>
              <a:xfrm>
                <a:off x="1354213" y="3025508"/>
                <a:ext cx="69659" cy="80517"/>
              </a:xfrm>
              <a:custGeom>
                <a:avLst/>
                <a:gdLst>
                  <a:gd name="connsiteX0" fmla="*/ 69550 w 69659"/>
                  <a:gd name="connsiteY0" fmla="*/ 78555 h 80517"/>
                  <a:gd name="connsiteX1" fmla="*/ 47139 w 69659"/>
                  <a:gd name="connsiteY1" fmla="*/ 78555 h 80517"/>
                  <a:gd name="connsiteX2" fmla="*/ 47139 w 69659"/>
                  <a:gd name="connsiteY2" fmla="*/ 67600 h 80517"/>
                  <a:gd name="connsiteX3" fmla="*/ 46832 w 69659"/>
                  <a:gd name="connsiteY3" fmla="*/ 67600 h 80517"/>
                  <a:gd name="connsiteX4" fmla="*/ 23971 w 69659"/>
                  <a:gd name="connsiteY4" fmla="*/ 80483 h 80517"/>
                  <a:gd name="connsiteX5" fmla="*/ 6428 w 69659"/>
                  <a:gd name="connsiteY5" fmla="*/ 74151 h 80517"/>
                  <a:gd name="connsiteX6" fmla="*/ 25 w 69659"/>
                  <a:gd name="connsiteY6" fmla="*/ 57270 h 80517"/>
                  <a:gd name="connsiteX7" fmla="*/ 26482 w 69659"/>
                  <a:gd name="connsiteY7" fmla="*/ 31505 h 80517"/>
                  <a:gd name="connsiteX8" fmla="*/ 47314 w 69659"/>
                  <a:gd name="connsiteY8" fmla="*/ 28734 h 80517"/>
                  <a:gd name="connsiteX9" fmla="*/ 33675 w 69659"/>
                  <a:gd name="connsiteY9" fmla="*/ 16158 h 80517"/>
                  <a:gd name="connsiteX10" fmla="*/ 7590 w 69659"/>
                  <a:gd name="connsiteY10" fmla="*/ 24319 h 80517"/>
                  <a:gd name="connsiteX11" fmla="*/ 7590 w 69659"/>
                  <a:gd name="connsiteY11" fmla="*/ 6441 h 80517"/>
                  <a:gd name="connsiteX12" fmla="*/ 21120 w 69659"/>
                  <a:gd name="connsiteY12" fmla="*/ 1950 h 80517"/>
                  <a:gd name="connsiteX13" fmla="*/ 36767 w 69659"/>
                  <a:gd name="connsiteY13" fmla="*/ 0 h 80517"/>
                  <a:gd name="connsiteX14" fmla="*/ 69660 w 69659"/>
                  <a:gd name="connsiteY14" fmla="*/ 32721 h 80517"/>
                  <a:gd name="connsiteX15" fmla="*/ 47281 w 69659"/>
                  <a:gd name="connsiteY15" fmla="*/ 47400 h 80517"/>
                  <a:gd name="connsiteX16" fmla="*/ 47281 w 69659"/>
                  <a:gd name="connsiteY16" fmla="*/ 42251 h 80517"/>
                  <a:gd name="connsiteX17" fmla="*/ 33346 w 69659"/>
                  <a:gd name="connsiteY17" fmla="*/ 44059 h 80517"/>
                  <a:gd name="connsiteX18" fmla="*/ 21800 w 69659"/>
                  <a:gd name="connsiteY18" fmla="*/ 54466 h 80517"/>
                  <a:gd name="connsiteX19" fmla="*/ 24607 w 69659"/>
                  <a:gd name="connsiteY19" fmla="*/ 61093 h 80517"/>
                  <a:gd name="connsiteX20" fmla="*/ 32216 w 69659"/>
                  <a:gd name="connsiteY20" fmla="*/ 63678 h 80517"/>
                  <a:gd name="connsiteX21" fmla="*/ 43082 w 69659"/>
                  <a:gd name="connsiteY21" fmla="*/ 59067 h 80517"/>
                  <a:gd name="connsiteX22" fmla="*/ 47281 w 69659"/>
                  <a:gd name="connsiteY22" fmla="*/ 47400 h 80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9659" h="80517">
                    <a:moveTo>
                      <a:pt x="69550" y="78555"/>
                    </a:moveTo>
                    <a:lnTo>
                      <a:pt x="47139" y="78555"/>
                    </a:lnTo>
                    <a:lnTo>
                      <a:pt x="47139" y="67600"/>
                    </a:lnTo>
                    <a:lnTo>
                      <a:pt x="46832" y="67600"/>
                    </a:lnTo>
                    <a:cubicBezTo>
                      <a:pt x="42262" y="75871"/>
                      <a:pt x="33416" y="80855"/>
                      <a:pt x="23971" y="80483"/>
                    </a:cubicBezTo>
                    <a:cubicBezTo>
                      <a:pt x="17507" y="80833"/>
                      <a:pt x="11178" y="78544"/>
                      <a:pt x="6428" y="74151"/>
                    </a:cubicBezTo>
                    <a:cubicBezTo>
                      <a:pt x="2050" y="69649"/>
                      <a:pt x="-269" y="63539"/>
                      <a:pt x="25" y="57270"/>
                    </a:cubicBezTo>
                    <a:cubicBezTo>
                      <a:pt x="25" y="42394"/>
                      <a:pt x="8844" y="33805"/>
                      <a:pt x="26482" y="31505"/>
                    </a:cubicBezTo>
                    <a:lnTo>
                      <a:pt x="47314" y="28734"/>
                    </a:lnTo>
                    <a:cubicBezTo>
                      <a:pt x="47314" y="20350"/>
                      <a:pt x="42767" y="16158"/>
                      <a:pt x="33675" y="16158"/>
                    </a:cubicBezTo>
                    <a:cubicBezTo>
                      <a:pt x="24358" y="16208"/>
                      <a:pt x="15272" y="19052"/>
                      <a:pt x="7590" y="24319"/>
                    </a:cubicBezTo>
                    <a:lnTo>
                      <a:pt x="7590" y="6441"/>
                    </a:lnTo>
                    <a:cubicBezTo>
                      <a:pt x="11900" y="4398"/>
                      <a:pt x="16444" y="2890"/>
                      <a:pt x="21120" y="1950"/>
                    </a:cubicBezTo>
                    <a:cubicBezTo>
                      <a:pt x="26247" y="720"/>
                      <a:pt x="31495" y="66"/>
                      <a:pt x="36767" y="0"/>
                    </a:cubicBezTo>
                    <a:cubicBezTo>
                      <a:pt x="58695" y="0"/>
                      <a:pt x="69660" y="10907"/>
                      <a:pt x="69660" y="32721"/>
                    </a:cubicBezTo>
                    <a:close/>
                    <a:moveTo>
                      <a:pt x="47281" y="47400"/>
                    </a:moveTo>
                    <a:lnTo>
                      <a:pt x="47281" y="42251"/>
                    </a:lnTo>
                    <a:lnTo>
                      <a:pt x="33346" y="44059"/>
                    </a:lnTo>
                    <a:cubicBezTo>
                      <a:pt x="25649" y="45059"/>
                      <a:pt x="21800" y="48528"/>
                      <a:pt x="21800" y="54466"/>
                    </a:cubicBezTo>
                    <a:cubicBezTo>
                      <a:pt x="21727" y="56978"/>
                      <a:pt x="22752" y="59396"/>
                      <a:pt x="24607" y="61093"/>
                    </a:cubicBezTo>
                    <a:cubicBezTo>
                      <a:pt x="26718" y="62898"/>
                      <a:pt x="29442" y="63823"/>
                      <a:pt x="32216" y="63678"/>
                    </a:cubicBezTo>
                    <a:cubicBezTo>
                      <a:pt x="36341" y="63813"/>
                      <a:pt x="40316" y="62126"/>
                      <a:pt x="43082" y="59067"/>
                    </a:cubicBezTo>
                    <a:cubicBezTo>
                      <a:pt x="45938" y="55866"/>
                      <a:pt x="47443" y="51685"/>
                      <a:pt x="47281" y="4740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29" name="Freeform: Shape 128">
                <a:extLst>
                  <a:ext uri="{FF2B5EF4-FFF2-40B4-BE49-F238E27FC236}">
                    <a16:creationId xmlns:a16="http://schemas.microsoft.com/office/drawing/2014/main" id="{3940C415-FF6F-F32E-5FD1-76133DC705E7}"/>
                  </a:ext>
                </a:extLst>
              </p:cNvPr>
              <p:cNvSpPr/>
              <p:nvPr/>
            </p:nvSpPr>
            <p:spPr>
              <a:xfrm>
                <a:off x="1440490" y="2990881"/>
                <a:ext cx="27289" cy="113181"/>
              </a:xfrm>
              <a:custGeom>
                <a:avLst/>
                <a:gdLst>
                  <a:gd name="connsiteX0" fmla="*/ 13644 w 27289"/>
                  <a:gd name="connsiteY0" fmla="*/ 24362 h 113181"/>
                  <a:gd name="connsiteX1" fmla="*/ 3831 w 27289"/>
                  <a:gd name="connsiteY1" fmla="*/ 20813 h 113181"/>
                  <a:gd name="connsiteX2" fmla="*/ 5 w 27289"/>
                  <a:gd name="connsiteY2" fmla="*/ 12050 h 113181"/>
                  <a:gd name="connsiteX3" fmla="*/ 3831 w 27289"/>
                  <a:gd name="connsiteY3" fmla="*/ 3363 h 113181"/>
                  <a:gd name="connsiteX4" fmla="*/ 23501 w 27289"/>
                  <a:gd name="connsiteY4" fmla="*/ 3363 h 113181"/>
                  <a:gd name="connsiteX5" fmla="*/ 27284 w 27289"/>
                  <a:gd name="connsiteY5" fmla="*/ 12050 h 113181"/>
                  <a:gd name="connsiteX6" fmla="*/ 23501 w 27289"/>
                  <a:gd name="connsiteY6" fmla="*/ 20890 h 113181"/>
                  <a:gd name="connsiteX7" fmla="*/ 13644 w 27289"/>
                  <a:gd name="connsiteY7" fmla="*/ 24362 h 113181"/>
                  <a:gd name="connsiteX8" fmla="*/ 25332 w 27289"/>
                  <a:gd name="connsiteY8" fmla="*/ 113181 h 113181"/>
                  <a:gd name="connsiteX9" fmla="*/ 1649 w 27289"/>
                  <a:gd name="connsiteY9" fmla="*/ 113181 h 113181"/>
                  <a:gd name="connsiteX10" fmla="*/ 1649 w 27289"/>
                  <a:gd name="connsiteY10" fmla="*/ 36500 h 113181"/>
                  <a:gd name="connsiteX11" fmla="*/ 25332 w 27289"/>
                  <a:gd name="connsiteY11" fmla="*/ 36500 h 1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81">
                    <a:moveTo>
                      <a:pt x="13644" y="24362"/>
                    </a:moveTo>
                    <a:cubicBezTo>
                      <a:pt x="10035" y="24506"/>
                      <a:pt x="6513" y="23232"/>
                      <a:pt x="3831" y="20813"/>
                    </a:cubicBezTo>
                    <a:cubicBezTo>
                      <a:pt x="1338" y="18588"/>
                      <a:pt x="-59" y="15389"/>
                      <a:pt x="5" y="12050"/>
                    </a:cubicBezTo>
                    <a:cubicBezTo>
                      <a:pt x="-91" y="8727"/>
                      <a:pt x="1314" y="5537"/>
                      <a:pt x="3831" y="3363"/>
                    </a:cubicBezTo>
                    <a:cubicBezTo>
                      <a:pt x="9620" y="-1121"/>
                      <a:pt x="17712" y="-1121"/>
                      <a:pt x="23501" y="3363"/>
                    </a:cubicBezTo>
                    <a:cubicBezTo>
                      <a:pt x="25995" y="5551"/>
                      <a:pt x="27380" y="8736"/>
                      <a:pt x="27284" y="12050"/>
                    </a:cubicBezTo>
                    <a:cubicBezTo>
                      <a:pt x="27389" y="15409"/>
                      <a:pt x="26004" y="18644"/>
                      <a:pt x="23501" y="20890"/>
                    </a:cubicBezTo>
                    <a:cubicBezTo>
                      <a:pt x="20785" y="23271"/>
                      <a:pt x="17255" y="24515"/>
                      <a:pt x="13644" y="24362"/>
                    </a:cubicBezTo>
                    <a:close/>
                    <a:moveTo>
                      <a:pt x="25332" y="113181"/>
                    </a:moveTo>
                    <a:lnTo>
                      <a:pt x="1649" y="113181"/>
                    </a:lnTo>
                    <a:lnTo>
                      <a:pt x="1649" y="36500"/>
                    </a:lnTo>
                    <a:lnTo>
                      <a:pt x="25332" y="3650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0" name="Freeform: Shape 129">
                <a:extLst>
                  <a:ext uri="{FF2B5EF4-FFF2-40B4-BE49-F238E27FC236}">
                    <a16:creationId xmlns:a16="http://schemas.microsoft.com/office/drawing/2014/main" id="{43E74CC6-C272-35A0-ABB3-D22A23D1DAF9}"/>
                  </a:ext>
                </a:extLst>
              </p:cNvPr>
              <p:cNvSpPr/>
              <p:nvPr/>
            </p:nvSpPr>
            <p:spPr>
              <a:xfrm>
                <a:off x="1485416" y="3025493"/>
                <a:ext cx="74119" cy="78569"/>
              </a:xfrm>
              <a:custGeom>
                <a:avLst/>
                <a:gdLst>
                  <a:gd name="connsiteX0" fmla="*/ 74119 w 74119"/>
                  <a:gd name="connsiteY0" fmla="*/ 78569 h 78569"/>
                  <a:gd name="connsiteX1" fmla="*/ 50513 w 74119"/>
                  <a:gd name="connsiteY1" fmla="*/ 78569 h 78569"/>
                  <a:gd name="connsiteX2" fmla="*/ 50513 w 74119"/>
                  <a:gd name="connsiteY2" fmla="*/ 35956 h 78569"/>
                  <a:gd name="connsiteX3" fmla="*/ 37772 w 74119"/>
                  <a:gd name="connsiteY3" fmla="*/ 18133 h 78569"/>
                  <a:gd name="connsiteX4" fmla="*/ 27652 w 74119"/>
                  <a:gd name="connsiteY4" fmla="*/ 22855 h 78569"/>
                  <a:gd name="connsiteX5" fmla="*/ 23683 w 74119"/>
                  <a:gd name="connsiteY5" fmla="*/ 34839 h 78569"/>
                  <a:gd name="connsiteX6" fmla="*/ 23683 w 74119"/>
                  <a:gd name="connsiteY6" fmla="*/ 78569 h 78569"/>
                  <a:gd name="connsiteX7" fmla="*/ 0 w 74119"/>
                  <a:gd name="connsiteY7" fmla="*/ 78569 h 78569"/>
                  <a:gd name="connsiteX8" fmla="*/ 0 w 74119"/>
                  <a:gd name="connsiteY8" fmla="*/ 1888 h 78569"/>
                  <a:gd name="connsiteX9" fmla="*/ 23683 w 74119"/>
                  <a:gd name="connsiteY9" fmla="*/ 1888 h 78569"/>
                  <a:gd name="connsiteX10" fmla="*/ 23683 w 74119"/>
                  <a:gd name="connsiteY10" fmla="*/ 14015 h 78569"/>
                  <a:gd name="connsiteX11" fmla="*/ 23979 w 74119"/>
                  <a:gd name="connsiteY11" fmla="*/ 14015 h 78569"/>
                  <a:gd name="connsiteX12" fmla="*/ 48638 w 74119"/>
                  <a:gd name="connsiteY12" fmla="*/ 15 h 78569"/>
                  <a:gd name="connsiteX13" fmla="*/ 74119 w 74119"/>
                  <a:gd name="connsiteY13" fmla="*/ 31618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69"/>
                    </a:moveTo>
                    <a:lnTo>
                      <a:pt x="50513" y="78569"/>
                    </a:lnTo>
                    <a:lnTo>
                      <a:pt x="50513" y="35956"/>
                    </a:lnTo>
                    <a:cubicBezTo>
                      <a:pt x="50513" y="24082"/>
                      <a:pt x="46266" y="18141"/>
                      <a:pt x="37772" y="18133"/>
                    </a:cubicBezTo>
                    <a:cubicBezTo>
                      <a:pt x="33848" y="18054"/>
                      <a:pt x="30110" y="19799"/>
                      <a:pt x="27652" y="22855"/>
                    </a:cubicBezTo>
                    <a:cubicBezTo>
                      <a:pt x="24921" y="26238"/>
                      <a:pt x="23511" y="30496"/>
                      <a:pt x="23683" y="34839"/>
                    </a:cubicBezTo>
                    <a:lnTo>
                      <a:pt x="23683" y="78569"/>
                    </a:lnTo>
                    <a:lnTo>
                      <a:pt x="0" y="78569"/>
                    </a:lnTo>
                    <a:lnTo>
                      <a:pt x="0" y="1888"/>
                    </a:lnTo>
                    <a:lnTo>
                      <a:pt x="23683" y="1888"/>
                    </a:lnTo>
                    <a:lnTo>
                      <a:pt x="23683" y="14015"/>
                    </a:lnTo>
                    <a:lnTo>
                      <a:pt x="23979" y="14015"/>
                    </a:lnTo>
                    <a:cubicBezTo>
                      <a:pt x="28912" y="5088"/>
                      <a:pt x="38438" y="-320"/>
                      <a:pt x="48638" y="15"/>
                    </a:cubicBezTo>
                    <a:cubicBezTo>
                      <a:pt x="65625" y="15"/>
                      <a:pt x="74119" y="10550"/>
                      <a:pt x="74119" y="3161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1" name="Freeform: Shape 130">
                <a:extLst>
                  <a:ext uri="{FF2B5EF4-FFF2-40B4-BE49-F238E27FC236}">
                    <a16:creationId xmlns:a16="http://schemas.microsoft.com/office/drawing/2014/main" id="{B094ACA9-F363-D1B0-CB3D-70B47E18EEF5}"/>
                  </a:ext>
                </a:extLst>
              </p:cNvPr>
              <p:cNvSpPr/>
              <p:nvPr/>
            </p:nvSpPr>
            <p:spPr>
              <a:xfrm>
                <a:off x="1573791" y="3025445"/>
                <a:ext cx="73808" cy="80672"/>
              </a:xfrm>
              <a:custGeom>
                <a:avLst/>
                <a:gdLst>
                  <a:gd name="connsiteX0" fmla="*/ 73755 w 73808"/>
                  <a:gd name="connsiteY0" fmla="*/ 47014 h 80672"/>
                  <a:gd name="connsiteX1" fmla="*/ 23626 w 73808"/>
                  <a:gd name="connsiteY1" fmla="*/ 47014 h 80672"/>
                  <a:gd name="connsiteX2" fmla="*/ 44689 w 73808"/>
                  <a:gd name="connsiteY2" fmla="*/ 63719 h 80672"/>
                  <a:gd name="connsiteX3" fmla="*/ 66957 w 73808"/>
                  <a:gd name="connsiteY3" fmla="*/ 57727 h 80672"/>
                  <a:gd name="connsiteX4" fmla="*/ 66957 w 73808"/>
                  <a:gd name="connsiteY4" fmla="*/ 74794 h 80672"/>
                  <a:gd name="connsiteX5" fmla="*/ 39294 w 73808"/>
                  <a:gd name="connsiteY5" fmla="*/ 80491 h 80672"/>
                  <a:gd name="connsiteX6" fmla="*/ 179 w 73808"/>
                  <a:gd name="connsiteY6" fmla="*/ 48548 h 80672"/>
                  <a:gd name="connsiteX7" fmla="*/ 173 w 73808"/>
                  <a:gd name="connsiteY7" fmla="*/ 41471 h 80672"/>
                  <a:gd name="connsiteX8" fmla="*/ 11258 w 73808"/>
                  <a:gd name="connsiteY8" fmla="*/ 11226 h 80672"/>
                  <a:gd name="connsiteX9" fmla="*/ 38549 w 73808"/>
                  <a:gd name="connsiteY9" fmla="*/ 63 h 80672"/>
                  <a:gd name="connsiteX10" fmla="*/ 64512 w 73808"/>
                  <a:gd name="connsiteY10" fmla="*/ 10021 h 80672"/>
                  <a:gd name="connsiteX11" fmla="*/ 73755 w 73808"/>
                  <a:gd name="connsiteY11" fmla="*/ 37056 h 80672"/>
                  <a:gd name="connsiteX12" fmla="*/ 51827 w 73808"/>
                  <a:gd name="connsiteY12" fmla="*/ 32488 h 80672"/>
                  <a:gd name="connsiteX13" fmla="*/ 38483 w 73808"/>
                  <a:gd name="connsiteY13" fmla="*/ 16056 h 80672"/>
                  <a:gd name="connsiteX14" fmla="*/ 28615 w 73808"/>
                  <a:gd name="connsiteY14" fmla="*/ 20778 h 80672"/>
                  <a:gd name="connsiteX15" fmla="*/ 23560 w 73808"/>
                  <a:gd name="connsiteY15" fmla="*/ 32532 h 8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808" h="80672">
                    <a:moveTo>
                      <a:pt x="73755" y="47014"/>
                    </a:moveTo>
                    <a:lnTo>
                      <a:pt x="23626" y="47014"/>
                    </a:lnTo>
                    <a:cubicBezTo>
                      <a:pt x="24423" y="58144"/>
                      <a:pt x="31444" y="63712"/>
                      <a:pt x="44689" y="63719"/>
                    </a:cubicBezTo>
                    <a:cubicBezTo>
                      <a:pt x="52530" y="63879"/>
                      <a:pt x="60256" y="61800"/>
                      <a:pt x="66957" y="57727"/>
                    </a:cubicBezTo>
                    <a:lnTo>
                      <a:pt x="66957" y="74794"/>
                    </a:lnTo>
                    <a:cubicBezTo>
                      <a:pt x="58340" y="78924"/>
                      <a:pt x="48842" y="80874"/>
                      <a:pt x="39294" y="80491"/>
                    </a:cubicBezTo>
                    <a:cubicBezTo>
                      <a:pt x="19665" y="82462"/>
                      <a:pt x="2152" y="68160"/>
                      <a:pt x="179" y="48548"/>
                    </a:cubicBezTo>
                    <a:cubicBezTo>
                      <a:pt x="-58" y="46195"/>
                      <a:pt x="-59" y="43824"/>
                      <a:pt x="173" y="41471"/>
                    </a:cubicBezTo>
                    <a:cubicBezTo>
                      <a:pt x="-412" y="30301"/>
                      <a:pt x="3592" y="19377"/>
                      <a:pt x="11258" y="11226"/>
                    </a:cubicBezTo>
                    <a:cubicBezTo>
                      <a:pt x="18409" y="3881"/>
                      <a:pt x="28295" y="-163"/>
                      <a:pt x="38549" y="63"/>
                    </a:cubicBezTo>
                    <a:cubicBezTo>
                      <a:pt x="48238" y="-531"/>
                      <a:pt x="57709" y="3102"/>
                      <a:pt x="64512" y="10021"/>
                    </a:cubicBezTo>
                    <a:cubicBezTo>
                      <a:pt x="70964" y="17506"/>
                      <a:pt x="74275" y="27191"/>
                      <a:pt x="73755" y="37056"/>
                    </a:cubicBezTo>
                    <a:close/>
                    <a:moveTo>
                      <a:pt x="51827" y="32488"/>
                    </a:moveTo>
                    <a:cubicBezTo>
                      <a:pt x="51827" y="21534"/>
                      <a:pt x="47378" y="16056"/>
                      <a:pt x="38483" y="16056"/>
                    </a:cubicBezTo>
                    <a:cubicBezTo>
                      <a:pt x="34651" y="16069"/>
                      <a:pt x="31027" y="17803"/>
                      <a:pt x="28615" y="20778"/>
                    </a:cubicBezTo>
                    <a:cubicBezTo>
                      <a:pt x="25767" y="24087"/>
                      <a:pt x="24003" y="28190"/>
                      <a:pt x="23560"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2" name="Freeform: Shape 131">
                <a:extLst>
                  <a:ext uri="{FF2B5EF4-FFF2-40B4-BE49-F238E27FC236}">
                    <a16:creationId xmlns:a16="http://schemas.microsoft.com/office/drawing/2014/main" id="{690729BC-F3F3-BCC1-9DEE-15F0FB624C99}"/>
                  </a:ext>
                </a:extLst>
              </p:cNvPr>
              <p:cNvSpPr/>
              <p:nvPr/>
            </p:nvSpPr>
            <p:spPr>
              <a:xfrm>
                <a:off x="1658147" y="2990541"/>
                <a:ext cx="79746" cy="115423"/>
              </a:xfrm>
              <a:custGeom>
                <a:avLst/>
                <a:gdLst>
                  <a:gd name="connsiteX0" fmla="*/ 79747 w 79746"/>
                  <a:gd name="connsiteY0" fmla="*/ 113521 h 115423"/>
                  <a:gd name="connsiteX1" fmla="*/ 56064 w 79746"/>
                  <a:gd name="connsiteY1" fmla="*/ 113521 h 115423"/>
                  <a:gd name="connsiteX2" fmla="*/ 56064 w 79746"/>
                  <a:gd name="connsiteY2" fmla="*/ 102961 h 115423"/>
                  <a:gd name="connsiteX3" fmla="*/ 55768 w 79746"/>
                  <a:gd name="connsiteY3" fmla="*/ 102961 h 115423"/>
                  <a:gd name="connsiteX4" fmla="*/ 32008 w 79746"/>
                  <a:gd name="connsiteY4" fmla="*/ 115394 h 115423"/>
                  <a:gd name="connsiteX5" fmla="*/ 8851 w 79746"/>
                  <a:gd name="connsiteY5" fmla="*/ 105251 h 115423"/>
                  <a:gd name="connsiteX6" fmla="*/ 79 w 79746"/>
                  <a:gd name="connsiteY6" fmla="*/ 76900 h 115423"/>
                  <a:gd name="connsiteX7" fmla="*/ 9750 w 79746"/>
                  <a:gd name="connsiteY7" fmla="*/ 46425 h 115423"/>
                  <a:gd name="connsiteX8" fmla="*/ 35078 w 79746"/>
                  <a:gd name="connsiteY8" fmla="*/ 34967 h 115423"/>
                  <a:gd name="connsiteX9" fmla="*/ 55768 w 79746"/>
                  <a:gd name="connsiteY9" fmla="*/ 45603 h 115423"/>
                  <a:gd name="connsiteX10" fmla="*/ 56064 w 79746"/>
                  <a:gd name="connsiteY10" fmla="*/ 45603 h 115423"/>
                  <a:gd name="connsiteX11" fmla="*/ 56064 w 79746"/>
                  <a:gd name="connsiteY11" fmla="*/ 0 h 115423"/>
                  <a:gd name="connsiteX12" fmla="*/ 79747 w 79746"/>
                  <a:gd name="connsiteY12" fmla="*/ 0 h 115423"/>
                  <a:gd name="connsiteX13" fmla="*/ 56513 w 79746"/>
                  <a:gd name="connsiteY13" fmla="*/ 76276 h 115423"/>
                  <a:gd name="connsiteX14" fmla="*/ 56513 w 79746"/>
                  <a:gd name="connsiteY14" fmla="*/ 70503 h 115423"/>
                  <a:gd name="connsiteX15" fmla="*/ 52127 w 79746"/>
                  <a:gd name="connsiteY15" fmla="*/ 58070 h 115423"/>
                  <a:gd name="connsiteX16" fmla="*/ 30438 w 79746"/>
                  <a:gd name="connsiteY16" fmla="*/ 57168 h 115423"/>
                  <a:gd name="connsiteX17" fmla="*/ 28510 w 79746"/>
                  <a:gd name="connsiteY17" fmla="*/ 59308 h 115423"/>
                  <a:gd name="connsiteX18" fmla="*/ 24124 w 79746"/>
                  <a:gd name="connsiteY18" fmla="*/ 76276 h 115423"/>
                  <a:gd name="connsiteX19" fmla="*/ 28400 w 79746"/>
                  <a:gd name="connsiteY19" fmla="*/ 91842 h 115423"/>
                  <a:gd name="connsiteX20" fmla="*/ 49736 w 79746"/>
                  <a:gd name="connsiteY20" fmla="*/ 93839 h 115423"/>
                  <a:gd name="connsiteX21" fmla="*/ 51974 w 79746"/>
                  <a:gd name="connsiteY21" fmla="*/ 91547 h 115423"/>
                  <a:gd name="connsiteX22" fmla="*/ 56513 w 79746"/>
                  <a:gd name="connsiteY22" fmla="*/ 76232 h 11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746" h="115423">
                    <a:moveTo>
                      <a:pt x="79747" y="113521"/>
                    </a:moveTo>
                    <a:lnTo>
                      <a:pt x="56064" y="113521"/>
                    </a:lnTo>
                    <a:lnTo>
                      <a:pt x="56064" y="102961"/>
                    </a:lnTo>
                    <a:lnTo>
                      <a:pt x="55768" y="102961"/>
                    </a:lnTo>
                    <a:cubicBezTo>
                      <a:pt x="50677" y="111089"/>
                      <a:pt x="41594" y="115844"/>
                      <a:pt x="32008" y="115394"/>
                    </a:cubicBezTo>
                    <a:cubicBezTo>
                      <a:pt x="23145" y="115712"/>
                      <a:pt x="14619" y="111977"/>
                      <a:pt x="8851" y="105251"/>
                    </a:cubicBezTo>
                    <a:cubicBezTo>
                      <a:pt x="2570" y="97183"/>
                      <a:pt x="-549" y="87102"/>
                      <a:pt x="79" y="76900"/>
                    </a:cubicBezTo>
                    <a:cubicBezTo>
                      <a:pt x="-475" y="65910"/>
                      <a:pt x="2959" y="55089"/>
                      <a:pt x="9750" y="46425"/>
                    </a:cubicBezTo>
                    <a:cubicBezTo>
                      <a:pt x="15961" y="38894"/>
                      <a:pt x="25315" y="34662"/>
                      <a:pt x="35078" y="34967"/>
                    </a:cubicBezTo>
                    <a:cubicBezTo>
                      <a:pt x="43462" y="34169"/>
                      <a:pt x="51543" y="38324"/>
                      <a:pt x="55768" y="45603"/>
                    </a:cubicBezTo>
                    <a:lnTo>
                      <a:pt x="56064" y="45603"/>
                    </a:lnTo>
                    <a:lnTo>
                      <a:pt x="56064" y="0"/>
                    </a:lnTo>
                    <a:lnTo>
                      <a:pt x="79747" y="0"/>
                    </a:lnTo>
                    <a:close/>
                    <a:moveTo>
                      <a:pt x="56513" y="76276"/>
                    </a:moveTo>
                    <a:lnTo>
                      <a:pt x="56513" y="70503"/>
                    </a:lnTo>
                    <a:cubicBezTo>
                      <a:pt x="56659" y="65957"/>
                      <a:pt x="55094" y="61520"/>
                      <a:pt x="52127" y="58070"/>
                    </a:cubicBezTo>
                    <a:cubicBezTo>
                      <a:pt x="46387" y="51837"/>
                      <a:pt x="36676" y="51433"/>
                      <a:pt x="30438" y="57168"/>
                    </a:cubicBezTo>
                    <a:cubicBezTo>
                      <a:pt x="29729" y="57820"/>
                      <a:pt x="29085" y="58535"/>
                      <a:pt x="28510" y="59308"/>
                    </a:cubicBezTo>
                    <a:cubicBezTo>
                      <a:pt x="25313" y="64369"/>
                      <a:pt x="23779" y="70301"/>
                      <a:pt x="24124" y="76276"/>
                    </a:cubicBezTo>
                    <a:cubicBezTo>
                      <a:pt x="23770" y="81796"/>
                      <a:pt x="25275" y="87276"/>
                      <a:pt x="28400" y="91842"/>
                    </a:cubicBezTo>
                    <a:cubicBezTo>
                      <a:pt x="33740" y="98280"/>
                      <a:pt x="43292" y="99174"/>
                      <a:pt x="49736" y="93839"/>
                    </a:cubicBezTo>
                    <a:cubicBezTo>
                      <a:pt x="50562" y="93156"/>
                      <a:pt x="51312" y="92388"/>
                      <a:pt x="51974" y="91547"/>
                    </a:cubicBezTo>
                    <a:cubicBezTo>
                      <a:pt x="55192" y="87109"/>
                      <a:pt x="56794" y="81705"/>
                      <a:pt x="56513" y="762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3" name="Freeform: Shape 132">
                <a:extLst>
                  <a:ext uri="{FF2B5EF4-FFF2-40B4-BE49-F238E27FC236}">
                    <a16:creationId xmlns:a16="http://schemas.microsoft.com/office/drawing/2014/main" id="{2E504738-6010-5813-85F1-CE365A3C16E9}"/>
                  </a:ext>
                </a:extLst>
              </p:cNvPr>
              <p:cNvSpPr/>
              <p:nvPr/>
            </p:nvSpPr>
            <p:spPr>
              <a:xfrm>
                <a:off x="1800182" y="2990541"/>
                <a:ext cx="79892" cy="115429"/>
              </a:xfrm>
              <a:custGeom>
                <a:avLst/>
                <a:gdLst>
                  <a:gd name="connsiteX0" fmla="*/ 23990 w 79892"/>
                  <a:gd name="connsiteY0" fmla="*/ 104604 h 115429"/>
                  <a:gd name="connsiteX1" fmla="*/ 23683 w 79892"/>
                  <a:gd name="connsiteY1" fmla="*/ 104604 h 115429"/>
                  <a:gd name="connsiteX2" fmla="*/ 23683 w 79892"/>
                  <a:gd name="connsiteY2" fmla="*/ 113521 h 115429"/>
                  <a:gd name="connsiteX3" fmla="*/ 0 w 79892"/>
                  <a:gd name="connsiteY3" fmla="*/ 113521 h 115429"/>
                  <a:gd name="connsiteX4" fmla="*/ 0 w 79892"/>
                  <a:gd name="connsiteY4" fmla="*/ 0 h 115429"/>
                  <a:gd name="connsiteX5" fmla="*/ 23683 w 79892"/>
                  <a:gd name="connsiteY5" fmla="*/ 0 h 115429"/>
                  <a:gd name="connsiteX6" fmla="*/ 23683 w 79892"/>
                  <a:gd name="connsiteY6" fmla="*/ 48375 h 115429"/>
                  <a:gd name="connsiteX7" fmla="*/ 23990 w 79892"/>
                  <a:gd name="connsiteY7" fmla="*/ 48375 h 115429"/>
                  <a:gd name="connsiteX8" fmla="*/ 48945 w 79892"/>
                  <a:gd name="connsiteY8" fmla="*/ 34967 h 115429"/>
                  <a:gd name="connsiteX9" fmla="*/ 71806 w 79892"/>
                  <a:gd name="connsiteY9" fmla="*/ 45154 h 115429"/>
                  <a:gd name="connsiteX10" fmla="*/ 79821 w 79892"/>
                  <a:gd name="connsiteY10" fmla="*/ 73012 h 115429"/>
                  <a:gd name="connsiteX11" fmla="*/ 70457 w 79892"/>
                  <a:gd name="connsiteY11" fmla="*/ 103783 h 115429"/>
                  <a:gd name="connsiteX12" fmla="*/ 45425 w 79892"/>
                  <a:gd name="connsiteY12" fmla="*/ 115394 h 115429"/>
                  <a:gd name="connsiteX13" fmla="*/ 23990 w 79892"/>
                  <a:gd name="connsiteY13" fmla="*/ 104604 h 115429"/>
                  <a:gd name="connsiteX14" fmla="*/ 23310 w 79892"/>
                  <a:gd name="connsiteY14" fmla="*/ 72256 h 115429"/>
                  <a:gd name="connsiteX15" fmla="*/ 23310 w 79892"/>
                  <a:gd name="connsiteY15" fmla="*/ 80121 h 115429"/>
                  <a:gd name="connsiteX16" fmla="*/ 27586 w 79892"/>
                  <a:gd name="connsiteY16" fmla="*/ 92401 h 115429"/>
                  <a:gd name="connsiteX17" fmla="*/ 38551 w 79892"/>
                  <a:gd name="connsiteY17" fmla="*/ 97276 h 115429"/>
                  <a:gd name="connsiteX18" fmla="*/ 51105 w 79892"/>
                  <a:gd name="connsiteY18" fmla="*/ 91021 h 115429"/>
                  <a:gd name="connsiteX19" fmla="*/ 55568 w 79892"/>
                  <a:gd name="connsiteY19" fmla="*/ 73307 h 115429"/>
                  <a:gd name="connsiteX20" fmla="*/ 51478 w 79892"/>
                  <a:gd name="connsiteY20" fmla="*/ 58442 h 115429"/>
                  <a:gd name="connsiteX21" fmla="*/ 39823 w 79892"/>
                  <a:gd name="connsiteY21" fmla="*/ 53085 h 115429"/>
                  <a:gd name="connsiteX22" fmla="*/ 28014 w 79892"/>
                  <a:gd name="connsiteY22" fmla="*/ 58409 h 115429"/>
                  <a:gd name="connsiteX23" fmla="*/ 23310 w 79892"/>
                  <a:gd name="connsiteY23" fmla="*/ 72256 h 1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892" h="115429">
                    <a:moveTo>
                      <a:pt x="23990" y="104604"/>
                    </a:moveTo>
                    <a:lnTo>
                      <a:pt x="23683" y="104604"/>
                    </a:lnTo>
                    <a:lnTo>
                      <a:pt x="23683" y="113521"/>
                    </a:lnTo>
                    <a:lnTo>
                      <a:pt x="0" y="113521"/>
                    </a:lnTo>
                    <a:lnTo>
                      <a:pt x="0" y="0"/>
                    </a:lnTo>
                    <a:lnTo>
                      <a:pt x="23683" y="0"/>
                    </a:lnTo>
                    <a:lnTo>
                      <a:pt x="23683" y="48375"/>
                    </a:lnTo>
                    <a:lnTo>
                      <a:pt x="23990" y="48375"/>
                    </a:lnTo>
                    <a:cubicBezTo>
                      <a:pt x="29279" y="39736"/>
                      <a:pt x="38815" y="34613"/>
                      <a:pt x="48945" y="34967"/>
                    </a:cubicBezTo>
                    <a:cubicBezTo>
                      <a:pt x="57763" y="34485"/>
                      <a:pt x="66273" y="38277"/>
                      <a:pt x="71806" y="45154"/>
                    </a:cubicBezTo>
                    <a:cubicBezTo>
                      <a:pt x="77563" y="53263"/>
                      <a:pt x="80390" y="63087"/>
                      <a:pt x="79821" y="73012"/>
                    </a:cubicBezTo>
                    <a:cubicBezTo>
                      <a:pt x="80374" y="84044"/>
                      <a:pt x="77063" y="94925"/>
                      <a:pt x="70457" y="103783"/>
                    </a:cubicBezTo>
                    <a:cubicBezTo>
                      <a:pt x="64442" y="111418"/>
                      <a:pt x="55144" y="115734"/>
                      <a:pt x="45425" y="115394"/>
                    </a:cubicBezTo>
                    <a:cubicBezTo>
                      <a:pt x="36870" y="115855"/>
                      <a:pt x="28710" y="111747"/>
                      <a:pt x="23990" y="104604"/>
                    </a:cubicBezTo>
                    <a:close/>
                    <a:moveTo>
                      <a:pt x="23310" y="72256"/>
                    </a:moveTo>
                    <a:lnTo>
                      <a:pt x="23310" y="80121"/>
                    </a:lnTo>
                    <a:cubicBezTo>
                      <a:pt x="23148" y="84605"/>
                      <a:pt x="24673" y="88987"/>
                      <a:pt x="27586" y="92401"/>
                    </a:cubicBezTo>
                    <a:cubicBezTo>
                      <a:pt x="30311" y="95605"/>
                      <a:pt x="34345" y="97398"/>
                      <a:pt x="38551" y="97276"/>
                    </a:cubicBezTo>
                    <a:cubicBezTo>
                      <a:pt x="43532" y="97480"/>
                      <a:pt x="48271" y="95119"/>
                      <a:pt x="51105" y="91021"/>
                    </a:cubicBezTo>
                    <a:cubicBezTo>
                      <a:pt x="54384" y="85718"/>
                      <a:pt x="55944" y="79531"/>
                      <a:pt x="55568" y="73307"/>
                    </a:cubicBezTo>
                    <a:cubicBezTo>
                      <a:pt x="55870" y="68038"/>
                      <a:pt x="54434" y="62816"/>
                      <a:pt x="51478" y="58442"/>
                    </a:cubicBezTo>
                    <a:cubicBezTo>
                      <a:pt x="48710" y="54850"/>
                      <a:pt x="44353" y="52848"/>
                      <a:pt x="39823" y="53085"/>
                    </a:cubicBezTo>
                    <a:cubicBezTo>
                      <a:pt x="35285" y="52990"/>
                      <a:pt x="30946" y="54947"/>
                      <a:pt x="28014" y="58409"/>
                    </a:cubicBezTo>
                    <a:cubicBezTo>
                      <a:pt x="24772" y="62277"/>
                      <a:pt x="23094" y="67216"/>
                      <a:pt x="23310" y="7225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4" name="Freeform: Shape 133">
                <a:extLst>
                  <a:ext uri="{FF2B5EF4-FFF2-40B4-BE49-F238E27FC236}">
                    <a16:creationId xmlns:a16="http://schemas.microsoft.com/office/drawing/2014/main" id="{DB33E898-E16F-6E27-17F6-D06BC8510886}"/>
                  </a:ext>
                </a:extLst>
              </p:cNvPr>
              <p:cNvSpPr/>
              <p:nvPr/>
            </p:nvSpPr>
            <p:spPr>
              <a:xfrm>
                <a:off x="1883478" y="3027359"/>
                <a:ext cx="83340" cy="112740"/>
              </a:xfrm>
              <a:custGeom>
                <a:avLst/>
                <a:gdLst>
                  <a:gd name="connsiteX0" fmla="*/ 83340 w 83340"/>
                  <a:gd name="connsiteY0" fmla="*/ 22 h 112740"/>
                  <a:gd name="connsiteX1" fmla="*/ 52169 w 83340"/>
                  <a:gd name="connsiteY1" fmla="*/ 82838 h 112740"/>
                  <a:gd name="connsiteX2" fmla="*/ 18289 w 83340"/>
                  <a:gd name="connsiteY2" fmla="*/ 112722 h 112740"/>
                  <a:gd name="connsiteX3" fmla="*/ 4123 w 83340"/>
                  <a:gd name="connsiteY3" fmla="*/ 110772 h 112740"/>
                  <a:gd name="connsiteX4" fmla="*/ 4123 w 83340"/>
                  <a:gd name="connsiteY4" fmla="*/ 91886 h 112740"/>
                  <a:gd name="connsiteX5" fmla="*/ 14385 w 83340"/>
                  <a:gd name="connsiteY5" fmla="*/ 94658 h 112740"/>
                  <a:gd name="connsiteX6" fmla="*/ 27126 w 83340"/>
                  <a:gd name="connsiteY6" fmla="*/ 86036 h 112740"/>
                  <a:gd name="connsiteX7" fmla="*/ 31183 w 83340"/>
                  <a:gd name="connsiteY7" fmla="*/ 76528 h 112740"/>
                  <a:gd name="connsiteX8" fmla="*/ 0 w 83340"/>
                  <a:gd name="connsiteY8" fmla="*/ 0 h 112740"/>
                  <a:gd name="connsiteX9" fmla="*/ 26227 w 83340"/>
                  <a:gd name="connsiteY9" fmla="*/ 0 h 112740"/>
                  <a:gd name="connsiteX10" fmla="*/ 40546 w 83340"/>
                  <a:gd name="connsiteY10" fmla="*/ 46655 h 112740"/>
                  <a:gd name="connsiteX11" fmla="*/ 42641 w 83340"/>
                  <a:gd name="connsiteY11" fmla="*/ 56909 h 112740"/>
                  <a:gd name="connsiteX12" fmla="*/ 42948 w 83340"/>
                  <a:gd name="connsiteY12" fmla="*/ 56909 h 112740"/>
                  <a:gd name="connsiteX13" fmla="*/ 45414 w 83340"/>
                  <a:gd name="connsiteY13" fmla="*/ 46798 h 112740"/>
                  <a:gd name="connsiteX14" fmla="*/ 59887 w 83340"/>
                  <a:gd name="connsiteY14" fmla="*/ 0 h 11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40" h="112740">
                    <a:moveTo>
                      <a:pt x="83340" y="22"/>
                    </a:moveTo>
                    <a:lnTo>
                      <a:pt x="52169" y="82838"/>
                    </a:lnTo>
                    <a:cubicBezTo>
                      <a:pt x="44669" y="102764"/>
                      <a:pt x="33376" y="112722"/>
                      <a:pt x="18289" y="112722"/>
                    </a:cubicBezTo>
                    <a:cubicBezTo>
                      <a:pt x="13491" y="112864"/>
                      <a:pt x="8704" y="112207"/>
                      <a:pt x="4123" y="110772"/>
                    </a:cubicBezTo>
                    <a:lnTo>
                      <a:pt x="4123" y="91886"/>
                    </a:lnTo>
                    <a:cubicBezTo>
                      <a:pt x="7230" y="93716"/>
                      <a:pt x="10777" y="94680"/>
                      <a:pt x="14385" y="94658"/>
                    </a:cubicBezTo>
                    <a:cubicBezTo>
                      <a:pt x="20077" y="94931"/>
                      <a:pt x="25267" y="91415"/>
                      <a:pt x="27126" y="86036"/>
                    </a:cubicBezTo>
                    <a:lnTo>
                      <a:pt x="31183" y="76528"/>
                    </a:lnTo>
                    <a:lnTo>
                      <a:pt x="0" y="0"/>
                    </a:lnTo>
                    <a:lnTo>
                      <a:pt x="26227" y="0"/>
                    </a:lnTo>
                    <a:lnTo>
                      <a:pt x="40546" y="46655"/>
                    </a:lnTo>
                    <a:cubicBezTo>
                      <a:pt x="41542" y="50005"/>
                      <a:pt x="42243" y="53436"/>
                      <a:pt x="42641" y="56909"/>
                    </a:cubicBezTo>
                    <a:lnTo>
                      <a:pt x="42948" y="56909"/>
                    </a:lnTo>
                    <a:cubicBezTo>
                      <a:pt x="43525" y="53483"/>
                      <a:pt x="44350" y="50104"/>
                      <a:pt x="45414" y="46798"/>
                    </a:cubicBezTo>
                    <a:lnTo>
                      <a:pt x="59887"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5" name="Freeform: Shape 134">
                <a:extLst>
                  <a:ext uri="{FF2B5EF4-FFF2-40B4-BE49-F238E27FC236}">
                    <a16:creationId xmlns:a16="http://schemas.microsoft.com/office/drawing/2014/main" id="{E7D163E3-7244-D022-F5C0-D90AB01C0A84}"/>
                  </a:ext>
                </a:extLst>
              </p:cNvPr>
              <p:cNvSpPr/>
              <p:nvPr/>
            </p:nvSpPr>
            <p:spPr>
              <a:xfrm>
                <a:off x="2011795" y="3004059"/>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298" y="101241"/>
                      <a:pt x="42893" y="102183"/>
                      <a:pt x="37476" y="101877"/>
                    </a:cubicBezTo>
                    <a:cubicBezTo>
                      <a:pt x="20788" y="101877"/>
                      <a:pt x="12445" y="93212"/>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30"/>
                      <a:pt x="39220" y="83725"/>
                      <a:pt x="45568" y="83725"/>
                    </a:cubicBezTo>
                    <a:cubicBezTo>
                      <a:pt x="48276" y="83657"/>
                      <a:pt x="50908" y="82903"/>
                      <a:pt x="53243" y="8153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6" name="Freeform: Shape 135">
                <a:extLst>
                  <a:ext uri="{FF2B5EF4-FFF2-40B4-BE49-F238E27FC236}">
                    <a16:creationId xmlns:a16="http://schemas.microsoft.com/office/drawing/2014/main" id="{B813F8FF-5AE1-3C76-D6DF-537449E8F0FA}"/>
                  </a:ext>
                </a:extLst>
              </p:cNvPr>
              <p:cNvSpPr/>
              <p:nvPr/>
            </p:nvSpPr>
            <p:spPr>
              <a:xfrm>
                <a:off x="2079916" y="2990541"/>
                <a:ext cx="73680" cy="113521"/>
              </a:xfrm>
              <a:custGeom>
                <a:avLst/>
                <a:gdLst>
                  <a:gd name="connsiteX0" fmla="*/ 73648 w 73680"/>
                  <a:gd name="connsiteY0" fmla="*/ 113521 h 113521"/>
                  <a:gd name="connsiteX1" fmla="*/ 50063 w 73680"/>
                  <a:gd name="connsiteY1" fmla="*/ 113521 h 113521"/>
                  <a:gd name="connsiteX2" fmla="*/ 50063 w 73680"/>
                  <a:gd name="connsiteY2" fmla="*/ 69933 h 113521"/>
                  <a:gd name="connsiteX3" fmla="*/ 37772 w 73680"/>
                  <a:gd name="connsiteY3" fmla="*/ 53085 h 113521"/>
                  <a:gd name="connsiteX4" fmla="*/ 27575 w 73680"/>
                  <a:gd name="connsiteY4" fmla="*/ 57807 h 113521"/>
                  <a:gd name="connsiteX5" fmla="*/ 23683 w 73680"/>
                  <a:gd name="connsiteY5" fmla="*/ 69791 h 113521"/>
                  <a:gd name="connsiteX6" fmla="*/ 23683 w 73680"/>
                  <a:gd name="connsiteY6" fmla="*/ 113521 h 113521"/>
                  <a:gd name="connsiteX7" fmla="*/ 0 w 73680"/>
                  <a:gd name="connsiteY7" fmla="*/ 113521 h 113521"/>
                  <a:gd name="connsiteX8" fmla="*/ 0 w 73680"/>
                  <a:gd name="connsiteY8" fmla="*/ 0 h 113521"/>
                  <a:gd name="connsiteX9" fmla="*/ 23683 w 73680"/>
                  <a:gd name="connsiteY9" fmla="*/ 0 h 113521"/>
                  <a:gd name="connsiteX10" fmla="*/ 23683 w 73680"/>
                  <a:gd name="connsiteY10" fmla="*/ 48200 h 113521"/>
                  <a:gd name="connsiteX11" fmla="*/ 23979 w 73680"/>
                  <a:gd name="connsiteY11" fmla="*/ 48200 h 113521"/>
                  <a:gd name="connsiteX12" fmla="*/ 47596 w 73680"/>
                  <a:gd name="connsiteY12" fmla="*/ 34945 h 113521"/>
                  <a:gd name="connsiteX13" fmla="*/ 73681 w 73680"/>
                  <a:gd name="connsiteY13" fmla="*/ 66395 h 1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680" h="113521">
                    <a:moveTo>
                      <a:pt x="73648" y="113521"/>
                    </a:moveTo>
                    <a:lnTo>
                      <a:pt x="50063" y="113521"/>
                    </a:lnTo>
                    <a:lnTo>
                      <a:pt x="50063" y="69933"/>
                    </a:lnTo>
                    <a:cubicBezTo>
                      <a:pt x="50063" y="58708"/>
                      <a:pt x="45963" y="53093"/>
                      <a:pt x="37772" y="53085"/>
                    </a:cubicBezTo>
                    <a:cubicBezTo>
                      <a:pt x="33825" y="52974"/>
                      <a:pt x="30042" y="54722"/>
                      <a:pt x="27575" y="57807"/>
                    </a:cubicBezTo>
                    <a:cubicBezTo>
                      <a:pt x="24900" y="61214"/>
                      <a:pt x="23519" y="65462"/>
                      <a:pt x="23683" y="69791"/>
                    </a:cubicBezTo>
                    <a:lnTo>
                      <a:pt x="23683" y="113521"/>
                    </a:lnTo>
                    <a:lnTo>
                      <a:pt x="0" y="113521"/>
                    </a:lnTo>
                    <a:lnTo>
                      <a:pt x="0" y="0"/>
                    </a:lnTo>
                    <a:lnTo>
                      <a:pt x="23683" y="0"/>
                    </a:lnTo>
                    <a:lnTo>
                      <a:pt x="23683" y="48200"/>
                    </a:lnTo>
                    <a:lnTo>
                      <a:pt x="23979" y="48200"/>
                    </a:lnTo>
                    <a:cubicBezTo>
                      <a:pt x="28891" y="39857"/>
                      <a:pt x="37915" y="34795"/>
                      <a:pt x="47596" y="34945"/>
                    </a:cubicBezTo>
                    <a:cubicBezTo>
                      <a:pt x="64986" y="34945"/>
                      <a:pt x="73681" y="45428"/>
                      <a:pt x="73681" y="6639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7" name="Freeform: Shape 136">
                <a:extLst>
                  <a:ext uri="{FF2B5EF4-FFF2-40B4-BE49-F238E27FC236}">
                    <a16:creationId xmlns:a16="http://schemas.microsoft.com/office/drawing/2014/main" id="{3F1585DC-74E4-B7BB-18E1-2FD0ADAE815B}"/>
                  </a:ext>
                </a:extLst>
              </p:cNvPr>
              <p:cNvSpPr/>
              <p:nvPr/>
            </p:nvSpPr>
            <p:spPr>
              <a:xfrm>
                <a:off x="2167800" y="3025445"/>
                <a:ext cx="73755" cy="80670"/>
              </a:xfrm>
              <a:custGeom>
                <a:avLst/>
                <a:gdLst>
                  <a:gd name="connsiteX0" fmla="*/ 73699 w 73755"/>
                  <a:gd name="connsiteY0" fmla="*/ 47014 h 80670"/>
                  <a:gd name="connsiteX1" fmla="*/ 23635 w 73755"/>
                  <a:gd name="connsiteY1" fmla="*/ 47014 h 80670"/>
                  <a:gd name="connsiteX2" fmla="*/ 44698 w 73755"/>
                  <a:gd name="connsiteY2" fmla="*/ 63719 h 80670"/>
                  <a:gd name="connsiteX3" fmla="*/ 66955 w 73755"/>
                  <a:gd name="connsiteY3" fmla="*/ 57727 h 80670"/>
                  <a:gd name="connsiteX4" fmla="*/ 66955 w 73755"/>
                  <a:gd name="connsiteY4" fmla="*/ 74794 h 80670"/>
                  <a:gd name="connsiteX5" fmla="*/ 39292 w 73755"/>
                  <a:gd name="connsiteY5" fmla="*/ 80490 h 80670"/>
                  <a:gd name="connsiteX6" fmla="*/ 182 w 73755"/>
                  <a:gd name="connsiteY6" fmla="*/ 48524 h 80670"/>
                  <a:gd name="connsiteX7" fmla="*/ 171 w 73755"/>
                  <a:gd name="connsiteY7" fmla="*/ 41471 h 80670"/>
                  <a:gd name="connsiteX8" fmla="*/ 11267 w 73755"/>
                  <a:gd name="connsiteY8" fmla="*/ 11225 h 80670"/>
                  <a:gd name="connsiteX9" fmla="*/ 38547 w 73755"/>
                  <a:gd name="connsiteY9" fmla="*/ 63 h 80670"/>
                  <a:gd name="connsiteX10" fmla="*/ 64521 w 73755"/>
                  <a:gd name="connsiteY10" fmla="*/ 10020 h 80670"/>
                  <a:gd name="connsiteX11" fmla="*/ 73699 w 73755"/>
                  <a:gd name="connsiteY11" fmla="*/ 37056 h 80670"/>
                  <a:gd name="connsiteX12" fmla="*/ 51770 w 73755"/>
                  <a:gd name="connsiteY12" fmla="*/ 32488 h 80670"/>
                  <a:gd name="connsiteX13" fmla="*/ 38426 w 73755"/>
                  <a:gd name="connsiteY13" fmla="*/ 16056 h 80670"/>
                  <a:gd name="connsiteX14" fmla="*/ 28558 w 73755"/>
                  <a:gd name="connsiteY14" fmla="*/ 20778 h 80670"/>
                  <a:gd name="connsiteX15" fmla="*/ 23504 w 73755"/>
                  <a:gd name="connsiteY15" fmla="*/ 32532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70">
                    <a:moveTo>
                      <a:pt x="73699" y="47014"/>
                    </a:moveTo>
                    <a:lnTo>
                      <a:pt x="23635" y="47014"/>
                    </a:lnTo>
                    <a:cubicBezTo>
                      <a:pt x="24425" y="58143"/>
                      <a:pt x="31442" y="63711"/>
                      <a:pt x="44698" y="63719"/>
                    </a:cubicBezTo>
                    <a:cubicBezTo>
                      <a:pt x="52537" y="63879"/>
                      <a:pt x="60256" y="61801"/>
                      <a:pt x="66955" y="57727"/>
                    </a:cubicBezTo>
                    <a:lnTo>
                      <a:pt x="66955" y="74794"/>
                    </a:lnTo>
                    <a:cubicBezTo>
                      <a:pt x="58337" y="78924"/>
                      <a:pt x="48842" y="80874"/>
                      <a:pt x="39292" y="80490"/>
                    </a:cubicBezTo>
                    <a:cubicBezTo>
                      <a:pt x="19655" y="82451"/>
                      <a:pt x="2145" y="68143"/>
                      <a:pt x="182" y="48524"/>
                    </a:cubicBezTo>
                    <a:cubicBezTo>
                      <a:pt x="-59" y="46179"/>
                      <a:pt x="-59" y="43816"/>
                      <a:pt x="171" y="41471"/>
                    </a:cubicBezTo>
                    <a:cubicBezTo>
                      <a:pt x="-410" y="30298"/>
                      <a:pt x="3592" y="19372"/>
                      <a:pt x="11267" y="11225"/>
                    </a:cubicBezTo>
                    <a:cubicBezTo>
                      <a:pt x="18416" y="3880"/>
                      <a:pt x="28295" y="-164"/>
                      <a:pt x="38547" y="63"/>
                    </a:cubicBezTo>
                    <a:cubicBezTo>
                      <a:pt x="48239" y="-530"/>
                      <a:pt x="57712" y="3102"/>
                      <a:pt x="64521" y="10020"/>
                    </a:cubicBezTo>
                    <a:cubicBezTo>
                      <a:pt x="70946" y="17515"/>
                      <a:pt x="74236" y="27200"/>
                      <a:pt x="73699" y="37056"/>
                    </a:cubicBezTo>
                    <a:close/>
                    <a:moveTo>
                      <a:pt x="51770" y="32488"/>
                    </a:moveTo>
                    <a:cubicBezTo>
                      <a:pt x="51770" y="21533"/>
                      <a:pt x="47318" y="16056"/>
                      <a:pt x="38426" y="16056"/>
                    </a:cubicBezTo>
                    <a:cubicBezTo>
                      <a:pt x="34589" y="16068"/>
                      <a:pt x="30970" y="17802"/>
                      <a:pt x="28558" y="20778"/>
                    </a:cubicBezTo>
                    <a:cubicBezTo>
                      <a:pt x="25718" y="24092"/>
                      <a:pt x="23953" y="28192"/>
                      <a:pt x="23504"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8" name="Freeform: Shape 137">
                <a:extLst>
                  <a:ext uri="{FF2B5EF4-FFF2-40B4-BE49-F238E27FC236}">
                    <a16:creationId xmlns:a16="http://schemas.microsoft.com/office/drawing/2014/main" id="{C742960C-A46C-9A6D-BB90-AC07D61FF146}"/>
                  </a:ext>
                </a:extLst>
              </p:cNvPr>
              <p:cNvSpPr/>
              <p:nvPr/>
            </p:nvSpPr>
            <p:spPr>
              <a:xfrm>
                <a:off x="2293291" y="3025410"/>
                <a:ext cx="62807" cy="80602"/>
              </a:xfrm>
              <a:custGeom>
                <a:avLst/>
                <a:gdLst>
                  <a:gd name="connsiteX0" fmla="*/ 62807 w 62807"/>
                  <a:gd name="connsiteY0" fmla="*/ 75881 h 80602"/>
                  <a:gd name="connsiteX1" fmla="*/ 39651 w 62807"/>
                  <a:gd name="connsiteY1" fmla="*/ 80526 h 80602"/>
                  <a:gd name="connsiteX2" fmla="*/ 11023 w 62807"/>
                  <a:gd name="connsiteY2" fmla="*/ 69812 h 80602"/>
                  <a:gd name="connsiteX3" fmla="*/ 58 w 62807"/>
                  <a:gd name="connsiteY3" fmla="*/ 42185 h 80602"/>
                  <a:gd name="connsiteX4" fmla="*/ 11779 w 62807"/>
                  <a:gd name="connsiteY4" fmla="*/ 11370 h 80602"/>
                  <a:gd name="connsiteX5" fmla="*/ 43148 w 62807"/>
                  <a:gd name="connsiteY5" fmla="*/ 98 h 80602"/>
                  <a:gd name="connsiteX6" fmla="*/ 62786 w 62807"/>
                  <a:gd name="connsiteY6" fmla="*/ 3691 h 80602"/>
                  <a:gd name="connsiteX7" fmla="*/ 62786 w 62807"/>
                  <a:gd name="connsiteY7" fmla="*/ 23727 h 80602"/>
                  <a:gd name="connsiteX8" fmla="*/ 46218 w 62807"/>
                  <a:gd name="connsiteY8" fmla="*/ 18184 h 80602"/>
                  <a:gd name="connsiteX9" fmla="*/ 30068 w 62807"/>
                  <a:gd name="connsiteY9" fmla="*/ 24143 h 80602"/>
                  <a:gd name="connsiteX10" fmla="*/ 24114 w 62807"/>
                  <a:gd name="connsiteY10" fmla="*/ 40575 h 80602"/>
                  <a:gd name="connsiteX11" fmla="*/ 29805 w 62807"/>
                  <a:gd name="connsiteY11" fmla="*/ 56568 h 80602"/>
                  <a:gd name="connsiteX12" fmla="*/ 45473 w 62807"/>
                  <a:gd name="connsiteY12" fmla="*/ 62374 h 80602"/>
                  <a:gd name="connsiteX13" fmla="*/ 62786 w 62807"/>
                  <a:gd name="connsiteY13" fmla="*/ 56831 h 8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07" h="80602">
                    <a:moveTo>
                      <a:pt x="62807" y="75881"/>
                    </a:moveTo>
                    <a:cubicBezTo>
                      <a:pt x="55615" y="79386"/>
                      <a:pt x="47644" y="80986"/>
                      <a:pt x="39651" y="80526"/>
                    </a:cubicBezTo>
                    <a:cubicBezTo>
                      <a:pt x="29048" y="80986"/>
                      <a:pt x="18720" y="77119"/>
                      <a:pt x="11023" y="69812"/>
                    </a:cubicBezTo>
                    <a:cubicBezTo>
                      <a:pt x="3655" y="62543"/>
                      <a:pt x="-314" y="52522"/>
                      <a:pt x="58" y="42185"/>
                    </a:cubicBezTo>
                    <a:cubicBezTo>
                      <a:pt x="-556" y="30722"/>
                      <a:pt x="3699" y="19533"/>
                      <a:pt x="11779" y="11370"/>
                    </a:cubicBezTo>
                    <a:cubicBezTo>
                      <a:pt x="20310" y="3587"/>
                      <a:pt x="31603" y="-471"/>
                      <a:pt x="43148" y="98"/>
                    </a:cubicBezTo>
                    <a:cubicBezTo>
                      <a:pt x="49891" y="-373"/>
                      <a:pt x="56646" y="862"/>
                      <a:pt x="62786" y="3691"/>
                    </a:cubicBezTo>
                    <a:lnTo>
                      <a:pt x="62786" y="23727"/>
                    </a:lnTo>
                    <a:cubicBezTo>
                      <a:pt x="58027" y="20095"/>
                      <a:pt x="52205" y="18145"/>
                      <a:pt x="46218" y="18184"/>
                    </a:cubicBezTo>
                    <a:cubicBezTo>
                      <a:pt x="40243" y="17875"/>
                      <a:pt x="34410" y="20028"/>
                      <a:pt x="30068" y="24143"/>
                    </a:cubicBezTo>
                    <a:cubicBezTo>
                      <a:pt x="25923" y="28577"/>
                      <a:pt x="23763" y="34515"/>
                      <a:pt x="24114" y="40575"/>
                    </a:cubicBezTo>
                    <a:cubicBezTo>
                      <a:pt x="23785" y="46453"/>
                      <a:pt x="25836" y="52217"/>
                      <a:pt x="29805" y="56568"/>
                    </a:cubicBezTo>
                    <a:cubicBezTo>
                      <a:pt x="33993" y="60590"/>
                      <a:pt x="39673" y="62692"/>
                      <a:pt x="45473" y="62374"/>
                    </a:cubicBezTo>
                    <a:cubicBezTo>
                      <a:pt x="51668" y="62280"/>
                      <a:pt x="57687" y="60351"/>
                      <a:pt x="62786" y="5683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39" name="Freeform: Shape 138">
                <a:extLst>
                  <a:ext uri="{FF2B5EF4-FFF2-40B4-BE49-F238E27FC236}">
                    <a16:creationId xmlns:a16="http://schemas.microsoft.com/office/drawing/2014/main" id="{3AC92032-BBA1-D4EC-DD50-2492F34B914D}"/>
                  </a:ext>
                </a:extLst>
              </p:cNvPr>
              <p:cNvSpPr/>
              <p:nvPr/>
            </p:nvSpPr>
            <p:spPr>
              <a:xfrm>
                <a:off x="2371284" y="3027381"/>
                <a:ext cx="74119" cy="78554"/>
              </a:xfrm>
              <a:custGeom>
                <a:avLst/>
                <a:gdLst>
                  <a:gd name="connsiteX0" fmla="*/ 74119 w 74119"/>
                  <a:gd name="connsiteY0" fmla="*/ 76681 h 78554"/>
                  <a:gd name="connsiteX1" fmla="*/ 50513 w 74119"/>
                  <a:gd name="connsiteY1" fmla="*/ 76681 h 78554"/>
                  <a:gd name="connsiteX2" fmla="*/ 50513 w 74119"/>
                  <a:gd name="connsiteY2" fmla="*/ 65004 h 78554"/>
                  <a:gd name="connsiteX3" fmla="*/ 50140 w 74119"/>
                  <a:gd name="connsiteY3" fmla="*/ 65004 h 78554"/>
                  <a:gd name="connsiteX4" fmla="*/ 26676 w 74119"/>
                  <a:gd name="connsiteY4" fmla="*/ 78554 h 78554"/>
                  <a:gd name="connsiteX5" fmla="*/ 0 w 74119"/>
                  <a:gd name="connsiteY5" fmla="*/ 46283 h 78554"/>
                  <a:gd name="connsiteX6" fmla="*/ 0 w 74119"/>
                  <a:gd name="connsiteY6" fmla="*/ 0 h 78554"/>
                  <a:gd name="connsiteX7" fmla="*/ 23606 w 74119"/>
                  <a:gd name="connsiteY7" fmla="*/ 0 h 78554"/>
                  <a:gd name="connsiteX8" fmla="*/ 23606 w 74119"/>
                  <a:gd name="connsiteY8" fmla="*/ 44179 h 78554"/>
                  <a:gd name="connsiteX9" fmla="*/ 36500 w 74119"/>
                  <a:gd name="connsiteY9" fmla="*/ 60436 h 78554"/>
                  <a:gd name="connsiteX10" fmla="*/ 46686 w 74119"/>
                  <a:gd name="connsiteY10" fmla="*/ 55977 h 78554"/>
                  <a:gd name="connsiteX11" fmla="*/ 50513 w 74119"/>
                  <a:gd name="connsiteY11" fmla="*/ 43927 h 78554"/>
                  <a:gd name="connsiteX12" fmla="*/ 50513 w 74119"/>
                  <a:gd name="connsiteY12" fmla="*/ 0 h 78554"/>
                  <a:gd name="connsiteX13" fmla="*/ 74119 w 74119"/>
                  <a:gd name="connsiteY13" fmla="*/ 0 h 7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54">
                    <a:moveTo>
                      <a:pt x="74119" y="76681"/>
                    </a:moveTo>
                    <a:lnTo>
                      <a:pt x="50513" y="76681"/>
                    </a:lnTo>
                    <a:lnTo>
                      <a:pt x="50513" y="65004"/>
                    </a:lnTo>
                    <a:lnTo>
                      <a:pt x="50140" y="65004"/>
                    </a:lnTo>
                    <a:cubicBezTo>
                      <a:pt x="45349" y="73428"/>
                      <a:pt x="36380" y="78609"/>
                      <a:pt x="26676" y="78554"/>
                    </a:cubicBezTo>
                    <a:cubicBezTo>
                      <a:pt x="8892" y="78554"/>
                      <a:pt x="0" y="67797"/>
                      <a:pt x="0" y="46283"/>
                    </a:cubicBezTo>
                    <a:lnTo>
                      <a:pt x="0" y="0"/>
                    </a:lnTo>
                    <a:lnTo>
                      <a:pt x="23606" y="0"/>
                    </a:lnTo>
                    <a:lnTo>
                      <a:pt x="23606" y="44179"/>
                    </a:lnTo>
                    <a:cubicBezTo>
                      <a:pt x="23606" y="55017"/>
                      <a:pt x="27904" y="60436"/>
                      <a:pt x="36500" y="60436"/>
                    </a:cubicBezTo>
                    <a:cubicBezTo>
                      <a:pt x="40404" y="60587"/>
                      <a:pt x="44154" y="58944"/>
                      <a:pt x="46686" y="55977"/>
                    </a:cubicBezTo>
                    <a:cubicBezTo>
                      <a:pt x="49384" y="52558"/>
                      <a:pt x="50743" y="48275"/>
                      <a:pt x="50513" y="43927"/>
                    </a:cubicBezTo>
                    <a:lnTo>
                      <a:pt x="50513" y="0"/>
                    </a:lnTo>
                    <a:lnTo>
                      <a:pt x="74119"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40" name="Freeform: Shape 139">
                <a:extLst>
                  <a:ext uri="{FF2B5EF4-FFF2-40B4-BE49-F238E27FC236}">
                    <a16:creationId xmlns:a16="http://schemas.microsoft.com/office/drawing/2014/main" id="{9E4FF2C4-3424-8353-D585-E472B3C3E76E}"/>
                  </a:ext>
                </a:extLst>
              </p:cNvPr>
              <p:cNvSpPr/>
              <p:nvPr/>
            </p:nvSpPr>
            <p:spPr>
              <a:xfrm>
                <a:off x="2461458" y="3025475"/>
                <a:ext cx="58930" cy="80400"/>
              </a:xfrm>
              <a:custGeom>
                <a:avLst/>
                <a:gdLst>
                  <a:gd name="connsiteX0" fmla="*/ 19 w 58930"/>
                  <a:gd name="connsiteY0" fmla="*/ 76561 h 80400"/>
                  <a:gd name="connsiteX1" fmla="*/ 19 w 58930"/>
                  <a:gd name="connsiteY1" fmla="*/ 57391 h 80400"/>
                  <a:gd name="connsiteX2" fmla="*/ 11675 w 58930"/>
                  <a:gd name="connsiteY2" fmla="*/ 62638 h 80400"/>
                  <a:gd name="connsiteX3" fmla="*/ 22639 w 58930"/>
                  <a:gd name="connsiteY3" fmla="*/ 64358 h 80400"/>
                  <a:gd name="connsiteX4" fmla="*/ 32573 w 58930"/>
                  <a:gd name="connsiteY4" fmla="*/ 62638 h 80400"/>
                  <a:gd name="connsiteX5" fmla="*/ 36202 w 58930"/>
                  <a:gd name="connsiteY5" fmla="*/ 57391 h 80400"/>
                  <a:gd name="connsiteX6" fmla="*/ 34557 w 58930"/>
                  <a:gd name="connsiteY6" fmla="*/ 53655 h 80400"/>
                  <a:gd name="connsiteX7" fmla="*/ 30325 w 58930"/>
                  <a:gd name="connsiteY7" fmla="*/ 51026 h 80400"/>
                  <a:gd name="connsiteX8" fmla="*/ 24667 w 58930"/>
                  <a:gd name="connsiteY8" fmla="*/ 49011 h 80400"/>
                  <a:gd name="connsiteX9" fmla="*/ 18746 w 58930"/>
                  <a:gd name="connsiteY9" fmla="*/ 46984 h 80400"/>
                  <a:gd name="connsiteX10" fmla="*/ 10688 w 58930"/>
                  <a:gd name="connsiteY10" fmla="*/ 43281 h 80400"/>
                  <a:gd name="connsiteX11" fmla="*/ 4844 w 58930"/>
                  <a:gd name="connsiteY11" fmla="*/ 38670 h 80400"/>
                  <a:gd name="connsiteX12" fmla="*/ 1236 w 58930"/>
                  <a:gd name="connsiteY12" fmla="*/ 32612 h 80400"/>
                  <a:gd name="connsiteX13" fmla="*/ 8 w 58930"/>
                  <a:gd name="connsiteY13" fmla="*/ 24451 h 80400"/>
                  <a:gd name="connsiteX14" fmla="*/ 2815 w 58930"/>
                  <a:gd name="connsiteY14" fmla="*/ 13365 h 80400"/>
                  <a:gd name="connsiteX15" fmla="*/ 10315 w 58930"/>
                  <a:gd name="connsiteY15" fmla="*/ 5762 h 80400"/>
                  <a:gd name="connsiteX16" fmla="*/ 21027 w 58930"/>
                  <a:gd name="connsiteY16" fmla="*/ 1381 h 80400"/>
                  <a:gd name="connsiteX17" fmla="*/ 33581 w 58930"/>
                  <a:gd name="connsiteY17" fmla="*/ 0 h 80400"/>
                  <a:gd name="connsiteX18" fmla="*/ 43921 w 58930"/>
                  <a:gd name="connsiteY18" fmla="*/ 789 h 80400"/>
                  <a:gd name="connsiteX19" fmla="*/ 54271 w 58930"/>
                  <a:gd name="connsiteY19" fmla="*/ 3068 h 80400"/>
                  <a:gd name="connsiteX20" fmla="*/ 54271 w 58930"/>
                  <a:gd name="connsiteY20" fmla="*/ 21340 h 80400"/>
                  <a:gd name="connsiteX21" fmla="*/ 44633 w 58930"/>
                  <a:gd name="connsiteY21" fmla="*/ 17407 h 80400"/>
                  <a:gd name="connsiteX22" fmla="*/ 34557 w 58930"/>
                  <a:gd name="connsiteY22" fmla="*/ 16103 h 80400"/>
                  <a:gd name="connsiteX23" fmla="*/ 30171 w 58930"/>
                  <a:gd name="connsiteY23" fmla="*/ 16509 h 80400"/>
                  <a:gd name="connsiteX24" fmla="*/ 26542 w 58930"/>
                  <a:gd name="connsiteY24" fmla="*/ 17714 h 80400"/>
                  <a:gd name="connsiteX25" fmla="*/ 24064 w 58930"/>
                  <a:gd name="connsiteY25" fmla="*/ 19729 h 80400"/>
                  <a:gd name="connsiteX26" fmla="*/ 23165 w 58930"/>
                  <a:gd name="connsiteY26" fmla="*/ 22545 h 80400"/>
                  <a:gd name="connsiteX27" fmla="*/ 24514 w 58930"/>
                  <a:gd name="connsiteY27" fmla="*/ 26138 h 80400"/>
                  <a:gd name="connsiteX28" fmla="*/ 28033 w 58930"/>
                  <a:gd name="connsiteY28" fmla="*/ 28723 h 80400"/>
                  <a:gd name="connsiteX29" fmla="*/ 32869 w 58930"/>
                  <a:gd name="connsiteY29" fmla="*/ 30662 h 80400"/>
                  <a:gd name="connsiteX30" fmla="*/ 38153 w 58930"/>
                  <a:gd name="connsiteY30" fmla="*/ 32425 h 80400"/>
                  <a:gd name="connsiteX31" fmla="*/ 46695 w 58930"/>
                  <a:gd name="connsiteY31" fmla="*/ 36019 h 80400"/>
                  <a:gd name="connsiteX32" fmla="*/ 53273 w 58930"/>
                  <a:gd name="connsiteY32" fmla="*/ 40587 h 80400"/>
                  <a:gd name="connsiteX33" fmla="*/ 57462 w 58930"/>
                  <a:gd name="connsiteY33" fmla="*/ 46732 h 80400"/>
                  <a:gd name="connsiteX34" fmla="*/ 55971 w 58930"/>
                  <a:gd name="connsiteY34" fmla="*/ 66757 h 80400"/>
                  <a:gd name="connsiteX35" fmla="*/ 48098 w 58930"/>
                  <a:gd name="connsiteY35" fmla="*/ 74622 h 80400"/>
                  <a:gd name="connsiteX36" fmla="*/ 36783 w 58930"/>
                  <a:gd name="connsiteY36" fmla="*/ 79004 h 80400"/>
                  <a:gd name="connsiteX37" fmla="*/ 23472 w 58930"/>
                  <a:gd name="connsiteY37" fmla="*/ 80395 h 80400"/>
                  <a:gd name="connsiteX38" fmla="*/ 19 w 58930"/>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30" h="80400">
                    <a:moveTo>
                      <a:pt x="19" y="76561"/>
                    </a:moveTo>
                    <a:lnTo>
                      <a:pt x="19" y="57391"/>
                    </a:lnTo>
                    <a:cubicBezTo>
                      <a:pt x="3660" y="59630"/>
                      <a:pt x="7585" y="61394"/>
                      <a:pt x="11675" y="62638"/>
                    </a:cubicBezTo>
                    <a:cubicBezTo>
                      <a:pt x="15227" y="63737"/>
                      <a:pt x="18922" y="64316"/>
                      <a:pt x="22639" y="64358"/>
                    </a:cubicBezTo>
                    <a:cubicBezTo>
                      <a:pt x="26038" y="64508"/>
                      <a:pt x="29426" y="63922"/>
                      <a:pt x="32573" y="62638"/>
                    </a:cubicBezTo>
                    <a:cubicBezTo>
                      <a:pt x="34765" y="61826"/>
                      <a:pt x="36224" y="59728"/>
                      <a:pt x="36202" y="57391"/>
                    </a:cubicBezTo>
                    <a:cubicBezTo>
                      <a:pt x="36235" y="55965"/>
                      <a:pt x="35632" y="54597"/>
                      <a:pt x="34557" y="53655"/>
                    </a:cubicBezTo>
                    <a:cubicBezTo>
                      <a:pt x="33296" y="52553"/>
                      <a:pt x="31871" y="51665"/>
                      <a:pt x="30325" y="51026"/>
                    </a:cubicBezTo>
                    <a:cubicBezTo>
                      <a:pt x="28483" y="50235"/>
                      <a:pt x="26597" y="49562"/>
                      <a:pt x="24667" y="49011"/>
                    </a:cubicBezTo>
                    <a:cubicBezTo>
                      <a:pt x="22617" y="48408"/>
                      <a:pt x="20643" y="47740"/>
                      <a:pt x="18746" y="46984"/>
                    </a:cubicBezTo>
                    <a:cubicBezTo>
                      <a:pt x="15973" y="45958"/>
                      <a:pt x="13275" y="44720"/>
                      <a:pt x="10688" y="43281"/>
                    </a:cubicBezTo>
                    <a:cubicBezTo>
                      <a:pt x="8506" y="42070"/>
                      <a:pt x="6532" y="40512"/>
                      <a:pt x="4844" y="38670"/>
                    </a:cubicBezTo>
                    <a:cubicBezTo>
                      <a:pt x="3254" y="36905"/>
                      <a:pt x="2037" y="34846"/>
                      <a:pt x="1236" y="32612"/>
                    </a:cubicBezTo>
                    <a:cubicBezTo>
                      <a:pt x="359" y="29982"/>
                      <a:pt x="-46" y="27221"/>
                      <a:pt x="8" y="24451"/>
                    </a:cubicBezTo>
                    <a:cubicBezTo>
                      <a:pt x="-101" y="20567"/>
                      <a:pt x="875" y="16730"/>
                      <a:pt x="2815" y="13365"/>
                    </a:cubicBezTo>
                    <a:cubicBezTo>
                      <a:pt x="4679" y="10276"/>
                      <a:pt x="7256" y="7671"/>
                      <a:pt x="10315" y="5762"/>
                    </a:cubicBezTo>
                    <a:cubicBezTo>
                      <a:pt x="13615" y="3706"/>
                      <a:pt x="17233" y="2224"/>
                      <a:pt x="21027" y="1381"/>
                    </a:cubicBezTo>
                    <a:cubicBezTo>
                      <a:pt x="25150" y="450"/>
                      <a:pt x="29360" y="-13"/>
                      <a:pt x="33581" y="0"/>
                    </a:cubicBezTo>
                    <a:cubicBezTo>
                      <a:pt x="37046" y="5"/>
                      <a:pt x="40500" y="269"/>
                      <a:pt x="43921" y="789"/>
                    </a:cubicBezTo>
                    <a:cubicBezTo>
                      <a:pt x="47418" y="1313"/>
                      <a:pt x="50872" y="2074"/>
                      <a:pt x="54271" y="3068"/>
                    </a:cubicBezTo>
                    <a:lnTo>
                      <a:pt x="54271" y="21340"/>
                    </a:lnTo>
                    <a:cubicBezTo>
                      <a:pt x="51256" y="19591"/>
                      <a:pt x="48010" y="18268"/>
                      <a:pt x="44633" y="17407"/>
                    </a:cubicBezTo>
                    <a:cubicBezTo>
                      <a:pt x="41344" y="16556"/>
                      <a:pt x="37956" y="16119"/>
                      <a:pt x="34557" y="16103"/>
                    </a:cubicBezTo>
                    <a:cubicBezTo>
                      <a:pt x="33088" y="16095"/>
                      <a:pt x="31619" y="16230"/>
                      <a:pt x="30171" y="16509"/>
                    </a:cubicBezTo>
                    <a:cubicBezTo>
                      <a:pt x="28910" y="16745"/>
                      <a:pt x="27693" y="17151"/>
                      <a:pt x="26542" y="17714"/>
                    </a:cubicBezTo>
                    <a:cubicBezTo>
                      <a:pt x="25566" y="18177"/>
                      <a:pt x="24711" y="18868"/>
                      <a:pt x="24064" y="19729"/>
                    </a:cubicBezTo>
                    <a:cubicBezTo>
                      <a:pt x="23461" y="20544"/>
                      <a:pt x="23154" y="21533"/>
                      <a:pt x="23165" y="22545"/>
                    </a:cubicBezTo>
                    <a:cubicBezTo>
                      <a:pt x="23143" y="23870"/>
                      <a:pt x="23626" y="25155"/>
                      <a:pt x="24514" y="26138"/>
                    </a:cubicBezTo>
                    <a:cubicBezTo>
                      <a:pt x="25512" y="27212"/>
                      <a:pt x="26707" y="28089"/>
                      <a:pt x="28033" y="28723"/>
                    </a:cubicBezTo>
                    <a:cubicBezTo>
                      <a:pt x="29590" y="29488"/>
                      <a:pt x="31213" y="30136"/>
                      <a:pt x="32869" y="30662"/>
                    </a:cubicBezTo>
                    <a:cubicBezTo>
                      <a:pt x="34645" y="31242"/>
                      <a:pt x="36399" y="31823"/>
                      <a:pt x="38153" y="32425"/>
                    </a:cubicBezTo>
                    <a:cubicBezTo>
                      <a:pt x="41081" y="33426"/>
                      <a:pt x="43932" y="34626"/>
                      <a:pt x="46695" y="36019"/>
                    </a:cubicBezTo>
                    <a:cubicBezTo>
                      <a:pt x="49096" y="37212"/>
                      <a:pt x="51322" y="38751"/>
                      <a:pt x="53273" y="40587"/>
                    </a:cubicBezTo>
                    <a:cubicBezTo>
                      <a:pt x="55083" y="42321"/>
                      <a:pt x="56508" y="44414"/>
                      <a:pt x="57462" y="46732"/>
                    </a:cubicBezTo>
                    <a:cubicBezTo>
                      <a:pt x="59852" y="53313"/>
                      <a:pt x="59304" y="60601"/>
                      <a:pt x="55971" y="66757"/>
                    </a:cubicBezTo>
                    <a:cubicBezTo>
                      <a:pt x="54008" y="69956"/>
                      <a:pt x="51311" y="72650"/>
                      <a:pt x="48098" y="74622"/>
                    </a:cubicBezTo>
                    <a:cubicBezTo>
                      <a:pt x="44612" y="76725"/>
                      <a:pt x="40774" y="78204"/>
                      <a:pt x="36783" y="79004"/>
                    </a:cubicBezTo>
                    <a:cubicBezTo>
                      <a:pt x="32408" y="79946"/>
                      <a:pt x="27946" y="80406"/>
                      <a:pt x="23472" y="80395"/>
                    </a:cubicBezTo>
                    <a:cubicBezTo>
                      <a:pt x="15490" y="80494"/>
                      <a:pt x="7552" y="79190"/>
                      <a:pt x="19"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41" name="Freeform: Shape 140">
                <a:extLst>
                  <a:ext uri="{FF2B5EF4-FFF2-40B4-BE49-F238E27FC236}">
                    <a16:creationId xmlns:a16="http://schemas.microsoft.com/office/drawing/2014/main" id="{DAA2FB37-7964-9CC0-9E5A-BF816B718CE3}"/>
                  </a:ext>
                </a:extLst>
              </p:cNvPr>
              <p:cNvSpPr/>
              <p:nvPr/>
            </p:nvSpPr>
            <p:spPr>
              <a:xfrm>
                <a:off x="2526671" y="3004059"/>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298" y="101241"/>
                      <a:pt x="42893" y="102183"/>
                      <a:pt x="37476" y="101877"/>
                    </a:cubicBezTo>
                    <a:cubicBezTo>
                      <a:pt x="20788" y="101877"/>
                      <a:pt x="12445" y="93212"/>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30"/>
                      <a:pt x="39220" y="83725"/>
                      <a:pt x="45568" y="83725"/>
                    </a:cubicBezTo>
                    <a:cubicBezTo>
                      <a:pt x="48276" y="83657"/>
                      <a:pt x="50908" y="82903"/>
                      <a:pt x="53243" y="8153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42" name="Freeform: Shape 141">
                <a:extLst>
                  <a:ext uri="{FF2B5EF4-FFF2-40B4-BE49-F238E27FC236}">
                    <a16:creationId xmlns:a16="http://schemas.microsoft.com/office/drawing/2014/main" id="{594B2990-B444-B0F3-CF1C-6C707AB7D93B}"/>
                  </a:ext>
                </a:extLst>
              </p:cNvPr>
              <p:cNvSpPr/>
              <p:nvPr/>
            </p:nvSpPr>
            <p:spPr>
              <a:xfrm>
                <a:off x="2588520" y="3025442"/>
                <a:ext cx="83102" cy="80559"/>
              </a:xfrm>
              <a:custGeom>
                <a:avLst/>
                <a:gdLst>
                  <a:gd name="connsiteX0" fmla="*/ 41140 w 83102"/>
                  <a:gd name="connsiteY0" fmla="*/ 80494 h 80559"/>
                  <a:gd name="connsiteX1" fmla="*/ 10976 w 83102"/>
                  <a:gd name="connsiteY1" fmla="*/ 69747 h 80559"/>
                  <a:gd name="connsiteX2" fmla="*/ 11393 w 83102"/>
                  <a:gd name="connsiteY2" fmla="*/ 10812 h 80559"/>
                  <a:gd name="connsiteX3" fmla="*/ 42192 w 83102"/>
                  <a:gd name="connsiteY3" fmla="*/ 66 h 80559"/>
                  <a:gd name="connsiteX4" fmla="*/ 72180 w 83102"/>
                  <a:gd name="connsiteY4" fmla="*/ 10812 h 80559"/>
                  <a:gd name="connsiteX5" fmla="*/ 83045 w 83102"/>
                  <a:gd name="connsiteY5" fmla="*/ 39228 h 80559"/>
                  <a:gd name="connsiteX6" fmla="*/ 71840 w 83102"/>
                  <a:gd name="connsiteY6" fmla="*/ 69408 h 80559"/>
                  <a:gd name="connsiteX7" fmla="*/ 41140 w 83102"/>
                  <a:gd name="connsiteY7" fmla="*/ 80494 h 80559"/>
                  <a:gd name="connsiteX8" fmla="*/ 41743 w 83102"/>
                  <a:gd name="connsiteY8" fmla="*/ 18185 h 80559"/>
                  <a:gd name="connsiteX9" fmla="*/ 28706 w 83102"/>
                  <a:gd name="connsiteY9" fmla="*/ 23958 h 80559"/>
                  <a:gd name="connsiteX10" fmla="*/ 24057 w 83102"/>
                  <a:gd name="connsiteY10" fmla="*/ 40280 h 80559"/>
                  <a:gd name="connsiteX11" fmla="*/ 41896 w 83102"/>
                  <a:gd name="connsiteY11" fmla="*/ 62375 h 80559"/>
                  <a:gd name="connsiteX12" fmla="*/ 58913 w 83102"/>
                  <a:gd name="connsiteY12" fmla="*/ 39678 h 80559"/>
                  <a:gd name="connsiteX13" fmla="*/ 41743 w 83102"/>
                  <a:gd name="connsiteY13" fmla="*/ 18218 h 8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2" h="80559">
                    <a:moveTo>
                      <a:pt x="41140" y="80494"/>
                    </a:moveTo>
                    <a:cubicBezTo>
                      <a:pt x="30043" y="81118"/>
                      <a:pt x="19167" y="77240"/>
                      <a:pt x="10976" y="69747"/>
                    </a:cubicBezTo>
                    <a:cubicBezTo>
                      <a:pt x="-3815" y="52822"/>
                      <a:pt x="-3639" y="27527"/>
                      <a:pt x="11393" y="10812"/>
                    </a:cubicBezTo>
                    <a:cubicBezTo>
                      <a:pt x="19847" y="3329"/>
                      <a:pt x="30910" y="-530"/>
                      <a:pt x="42192" y="66"/>
                    </a:cubicBezTo>
                    <a:cubicBezTo>
                      <a:pt x="53233" y="-563"/>
                      <a:pt x="64055" y="3316"/>
                      <a:pt x="72180" y="10812"/>
                    </a:cubicBezTo>
                    <a:cubicBezTo>
                      <a:pt x="79581" y="18375"/>
                      <a:pt x="83517" y="28663"/>
                      <a:pt x="83045" y="39228"/>
                    </a:cubicBezTo>
                    <a:cubicBezTo>
                      <a:pt x="83637" y="50402"/>
                      <a:pt x="79581" y="61325"/>
                      <a:pt x="71840" y="69408"/>
                    </a:cubicBezTo>
                    <a:cubicBezTo>
                      <a:pt x="63540" y="77109"/>
                      <a:pt x="52455" y="81118"/>
                      <a:pt x="41140" y="80494"/>
                    </a:cubicBezTo>
                    <a:close/>
                    <a:moveTo>
                      <a:pt x="41743" y="18185"/>
                    </a:moveTo>
                    <a:cubicBezTo>
                      <a:pt x="36721" y="17927"/>
                      <a:pt x="31885" y="20071"/>
                      <a:pt x="28706" y="23958"/>
                    </a:cubicBezTo>
                    <a:cubicBezTo>
                      <a:pt x="25329" y="28704"/>
                      <a:pt x="23684" y="34468"/>
                      <a:pt x="24057" y="40280"/>
                    </a:cubicBezTo>
                    <a:cubicBezTo>
                      <a:pt x="24057" y="55003"/>
                      <a:pt x="30000" y="62367"/>
                      <a:pt x="41896" y="62375"/>
                    </a:cubicBezTo>
                    <a:cubicBezTo>
                      <a:pt x="53233" y="62375"/>
                      <a:pt x="58902" y="54809"/>
                      <a:pt x="58913" y="39678"/>
                    </a:cubicBezTo>
                    <a:cubicBezTo>
                      <a:pt x="58913" y="25371"/>
                      <a:pt x="53189" y="18218"/>
                      <a:pt x="41743" y="18218"/>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43" name="Freeform: Shape 142">
                <a:extLst>
                  <a:ext uri="{FF2B5EF4-FFF2-40B4-BE49-F238E27FC236}">
                    <a16:creationId xmlns:a16="http://schemas.microsoft.com/office/drawing/2014/main" id="{BE1ECFAA-FA63-6ED6-1F85-866281DCFB25}"/>
                  </a:ext>
                </a:extLst>
              </p:cNvPr>
              <p:cNvSpPr/>
              <p:nvPr/>
            </p:nvSpPr>
            <p:spPr>
              <a:xfrm>
                <a:off x="2686719" y="3025453"/>
                <a:ext cx="121869" cy="78609"/>
              </a:xfrm>
              <a:custGeom>
                <a:avLst/>
                <a:gdLst>
                  <a:gd name="connsiteX0" fmla="*/ 121869 w 121869"/>
                  <a:gd name="connsiteY0" fmla="*/ 78610 h 78609"/>
                  <a:gd name="connsiteX1" fmla="*/ 98252 w 121869"/>
                  <a:gd name="connsiteY1" fmla="*/ 78610 h 78609"/>
                  <a:gd name="connsiteX2" fmla="*/ 98252 w 121869"/>
                  <a:gd name="connsiteY2" fmla="*/ 34880 h 78609"/>
                  <a:gd name="connsiteX3" fmla="*/ 85961 w 121869"/>
                  <a:gd name="connsiteY3" fmla="*/ 18174 h 78609"/>
                  <a:gd name="connsiteX4" fmla="*/ 76444 w 121869"/>
                  <a:gd name="connsiteY4" fmla="*/ 23191 h 78609"/>
                  <a:gd name="connsiteX5" fmla="*/ 72771 w 121869"/>
                  <a:gd name="connsiteY5" fmla="*/ 35701 h 78609"/>
                  <a:gd name="connsiteX6" fmla="*/ 72771 w 121869"/>
                  <a:gd name="connsiteY6" fmla="*/ 78610 h 78609"/>
                  <a:gd name="connsiteX7" fmla="*/ 49088 w 121869"/>
                  <a:gd name="connsiteY7" fmla="*/ 78610 h 78609"/>
                  <a:gd name="connsiteX8" fmla="*/ 49088 w 121869"/>
                  <a:gd name="connsiteY8" fmla="*/ 34430 h 78609"/>
                  <a:gd name="connsiteX9" fmla="*/ 37027 w 121869"/>
                  <a:gd name="connsiteY9" fmla="*/ 18174 h 78609"/>
                  <a:gd name="connsiteX10" fmla="*/ 27312 w 121869"/>
                  <a:gd name="connsiteY10" fmla="*/ 22972 h 78609"/>
                  <a:gd name="connsiteX11" fmla="*/ 23683 w 121869"/>
                  <a:gd name="connsiteY11" fmla="*/ 35997 h 78609"/>
                  <a:gd name="connsiteX12" fmla="*/ 23683 w 121869"/>
                  <a:gd name="connsiteY12" fmla="*/ 78610 h 78609"/>
                  <a:gd name="connsiteX13" fmla="*/ 0 w 121869"/>
                  <a:gd name="connsiteY13" fmla="*/ 78610 h 78609"/>
                  <a:gd name="connsiteX14" fmla="*/ 0 w 121869"/>
                  <a:gd name="connsiteY14" fmla="*/ 1929 h 78609"/>
                  <a:gd name="connsiteX15" fmla="*/ 23683 w 121869"/>
                  <a:gd name="connsiteY15" fmla="*/ 1929 h 78609"/>
                  <a:gd name="connsiteX16" fmla="*/ 23683 w 121869"/>
                  <a:gd name="connsiteY16" fmla="*/ 13913 h 78609"/>
                  <a:gd name="connsiteX17" fmla="*/ 23979 w 121869"/>
                  <a:gd name="connsiteY17" fmla="*/ 13913 h 78609"/>
                  <a:gd name="connsiteX18" fmla="*/ 48792 w 121869"/>
                  <a:gd name="connsiteY18" fmla="*/ 55 h 78609"/>
                  <a:gd name="connsiteX19" fmla="*/ 71049 w 121869"/>
                  <a:gd name="connsiteY19" fmla="*/ 14362 h 78609"/>
                  <a:gd name="connsiteX20" fmla="*/ 96838 w 121869"/>
                  <a:gd name="connsiteY20" fmla="*/ 55 h 78609"/>
                  <a:gd name="connsiteX21" fmla="*/ 121869 w 121869"/>
                  <a:gd name="connsiteY21" fmla="*/ 30903 h 7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869" h="78609">
                    <a:moveTo>
                      <a:pt x="121869" y="78610"/>
                    </a:moveTo>
                    <a:lnTo>
                      <a:pt x="98252" y="78610"/>
                    </a:lnTo>
                    <a:lnTo>
                      <a:pt x="98252" y="34880"/>
                    </a:lnTo>
                    <a:cubicBezTo>
                      <a:pt x="98252" y="23750"/>
                      <a:pt x="94151" y="18182"/>
                      <a:pt x="85961" y="18174"/>
                    </a:cubicBezTo>
                    <a:cubicBezTo>
                      <a:pt x="82145" y="18133"/>
                      <a:pt x="78560" y="20021"/>
                      <a:pt x="76444" y="23191"/>
                    </a:cubicBezTo>
                    <a:cubicBezTo>
                      <a:pt x="73900" y="26855"/>
                      <a:pt x="72606" y="31244"/>
                      <a:pt x="72771" y="35701"/>
                    </a:cubicBezTo>
                    <a:lnTo>
                      <a:pt x="72771" y="78610"/>
                    </a:lnTo>
                    <a:lnTo>
                      <a:pt x="49088" y="78610"/>
                    </a:lnTo>
                    <a:lnTo>
                      <a:pt x="49088" y="34430"/>
                    </a:lnTo>
                    <a:cubicBezTo>
                      <a:pt x="49088" y="23593"/>
                      <a:pt x="45064" y="18174"/>
                      <a:pt x="37027" y="18174"/>
                    </a:cubicBezTo>
                    <a:cubicBezTo>
                      <a:pt x="33189" y="18066"/>
                      <a:pt x="29549" y="19862"/>
                      <a:pt x="27312" y="22972"/>
                    </a:cubicBezTo>
                    <a:cubicBezTo>
                      <a:pt x="24703" y="26797"/>
                      <a:pt x="23431" y="31375"/>
                      <a:pt x="23683" y="35997"/>
                    </a:cubicBezTo>
                    <a:lnTo>
                      <a:pt x="23683" y="78610"/>
                    </a:lnTo>
                    <a:lnTo>
                      <a:pt x="0" y="78610"/>
                    </a:lnTo>
                    <a:lnTo>
                      <a:pt x="0" y="1929"/>
                    </a:lnTo>
                    <a:lnTo>
                      <a:pt x="23683" y="1929"/>
                    </a:lnTo>
                    <a:lnTo>
                      <a:pt x="23683" y="13913"/>
                    </a:lnTo>
                    <a:lnTo>
                      <a:pt x="23979" y="13913"/>
                    </a:lnTo>
                    <a:cubicBezTo>
                      <a:pt x="29275" y="5294"/>
                      <a:pt x="38671" y="45"/>
                      <a:pt x="48792" y="55"/>
                    </a:cubicBezTo>
                    <a:cubicBezTo>
                      <a:pt x="58561" y="-635"/>
                      <a:pt x="67628" y="5190"/>
                      <a:pt x="71049" y="14362"/>
                    </a:cubicBezTo>
                    <a:cubicBezTo>
                      <a:pt x="76301" y="5155"/>
                      <a:pt x="86246" y="-362"/>
                      <a:pt x="96838" y="55"/>
                    </a:cubicBezTo>
                    <a:cubicBezTo>
                      <a:pt x="113525" y="55"/>
                      <a:pt x="121869" y="10338"/>
                      <a:pt x="121869" y="3090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44" name="Freeform: Shape 143">
                <a:extLst>
                  <a:ext uri="{FF2B5EF4-FFF2-40B4-BE49-F238E27FC236}">
                    <a16:creationId xmlns:a16="http://schemas.microsoft.com/office/drawing/2014/main" id="{6A31E08C-F7F3-D30A-6216-AAEB9B87ACAA}"/>
                  </a:ext>
                </a:extLst>
              </p:cNvPr>
              <p:cNvSpPr/>
              <p:nvPr/>
            </p:nvSpPr>
            <p:spPr>
              <a:xfrm>
                <a:off x="2822824" y="3025445"/>
                <a:ext cx="73755" cy="80672"/>
              </a:xfrm>
              <a:custGeom>
                <a:avLst/>
                <a:gdLst>
                  <a:gd name="connsiteX0" fmla="*/ 73698 w 73755"/>
                  <a:gd name="connsiteY0" fmla="*/ 47014 h 80672"/>
                  <a:gd name="connsiteX1" fmla="*/ 23635 w 73755"/>
                  <a:gd name="connsiteY1" fmla="*/ 47014 h 80672"/>
                  <a:gd name="connsiteX2" fmla="*/ 44698 w 73755"/>
                  <a:gd name="connsiteY2" fmla="*/ 63719 h 80672"/>
                  <a:gd name="connsiteX3" fmla="*/ 66955 w 73755"/>
                  <a:gd name="connsiteY3" fmla="*/ 57727 h 80672"/>
                  <a:gd name="connsiteX4" fmla="*/ 66955 w 73755"/>
                  <a:gd name="connsiteY4" fmla="*/ 74794 h 80672"/>
                  <a:gd name="connsiteX5" fmla="*/ 39303 w 73755"/>
                  <a:gd name="connsiteY5" fmla="*/ 80490 h 80672"/>
                  <a:gd name="connsiteX6" fmla="*/ 182 w 73755"/>
                  <a:gd name="connsiteY6" fmla="*/ 48536 h 80672"/>
                  <a:gd name="connsiteX7" fmla="*/ 171 w 73755"/>
                  <a:gd name="connsiteY7" fmla="*/ 41471 h 80672"/>
                  <a:gd name="connsiteX8" fmla="*/ 11267 w 73755"/>
                  <a:gd name="connsiteY8" fmla="*/ 11225 h 80672"/>
                  <a:gd name="connsiteX9" fmla="*/ 38547 w 73755"/>
                  <a:gd name="connsiteY9" fmla="*/ 63 h 80672"/>
                  <a:gd name="connsiteX10" fmla="*/ 64521 w 73755"/>
                  <a:gd name="connsiteY10" fmla="*/ 10020 h 80672"/>
                  <a:gd name="connsiteX11" fmla="*/ 73698 w 73755"/>
                  <a:gd name="connsiteY11" fmla="*/ 37056 h 80672"/>
                  <a:gd name="connsiteX12" fmla="*/ 51770 w 73755"/>
                  <a:gd name="connsiteY12" fmla="*/ 32488 h 80672"/>
                  <a:gd name="connsiteX13" fmla="*/ 38437 w 73755"/>
                  <a:gd name="connsiteY13" fmla="*/ 16056 h 80672"/>
                  <a:gd name="connsiteX14" fmla="*/ 28569 w 73755"/>
                  <a:gd name="connsiteY14" fmla="*/ 20778 h 80672"/>
                  <a:gd name="connsiteX15" fmla="*/ 23503 w 73755"/>
                  <a:gd name="connsiteY15" fmla="*/ 32532 h 8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72">
                    <a:moveTo>
                      <a:pt x="73698" y="47014"/>
                    </a:moveTo>
                    <a:lnTo>
                      <a:pt x="23635" y="47014"/>
                    </a:lnTo>
                    <a:cubicBezTo>
                      <a:pt x="24435" y="58143"/>
                      <a:pt x="31453" y="63711"/>
                      <a:pt x="44698" y="63719"/>
                    </a:cubicBezTo>
                    <a:cubicBezTo>
                      <a:pt x="52537" y="63880"/>
                      <a:pt x="60256" y="61802"/>
                      <a:pt x="66955" y="57727"/>
                    </a:cubicBezTo>
                    <a:lnTo>
                      <a:pt x="66955" y="74794"/>
                    </a:lnTo>
                    <a:cubicBezTo>
                      <a:pt x="58337" y="78924"/>
                      <a:pt x="48853" y="80874"/>
                      <a:pt x="39303" y="80490"/>
                    </a:cubicBezTo>
                    <a:cubicBezTo>
                      <a:pt x="19666" y="82462"/>
                      <a:pt x="2145" y="68155"/>
                      <a:pt x="182" y="48536"/>
                    </a:cubicBezTo>
                    <a:cubicBezTo>
                      <a:pt x="-59" y="46187"/>
                      <a:pt x="-59" y="43820"/>
                      <a:pt x="171" y="41471"/>
                    </a:cubicBezTo>
                    <a:cubicBezTo>
                      <a:pt x="-410" y="30299"/>
                      <a:pt x="3603" y="19375"/>
                      <a:pt x="11267" y="11225"/>
                    </a:cubicBezTo>
                    <a:cubicBezTo>
                      <a:pt x="18416" y="3880"/>
                      <a:pt x="28295" y="-164"/>
                      <a:pt x="38547" y="63"/>
                    </a:cubicBezTo>
                    <a:cubicBezTo>
                      <a:pt x="48239" y="-530"/>
                      <a:pt x="57712" y="3102"/>
                      <a:pt x="64521" y="10020"/>
                    </a:cubicBezTo>
                    <a:cubicBezTo>
                      <a:pt x="70946" y="17515"/>
                      <a:pt x="74236" y="27199"/>
                      <a:pt x="73698" y="37056"/>
                    </a:cubicBezTo>
                    <a:close/>
                    <a:moveTo>
                      <a:pt x="51770" y="32488"/>
                    </a:moveTo>
                    <a:cubicBezTo>
                      <a:pt x="51770" y="21533"/>
                      <a:pt x="47329" y="16056"/>
                      <a:pt x="38437" y="16056"/>
                    </a:cubicBezTo>
                    <a:cubicBezTo>
                      <a:pt x="34600" y="16067"/>
                      <a:pt x="30981" y="17801"/>
                      <a:pt x="28569" y="20778"/>
                    </a:cubicBezTo>
                    <a:cubicBezTo>
                      <a:pt x="25718" y="24089"/>
                      <a:pt x="23953" y="28189"/>
                      <a:pt x="23503"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45" name="Freeform: Shape 144">
                <a:extLst>
                  <a:ext uri="{FF2B5EF4-FFF2-40B4-BE49-F238E27FC236}">
                    <a16:creationId xmlns:a16="http://schemas.microsoft.com/office/drawing/2014/main" id="{BB8B912D-0688-C867-E474-6B263CE9C86E}"/>
                  </a:ext>
                </a:extLst>
              </p:cNvPr>
              <p:cNvSpPr/>
              <p:nvPr/>
            </p:nvSpPr>
            <p:spPr>
              <a:xfrm>
                <a:off x="2911456" y="3026030"/>
                <a:ext cx="50096" cy="78032"/>
              </a:xfrm>
              <a:custGeom>
                <a:avLst/>
                <a:gdLst>
                  <a:gd name="connsiteX0" fmla="*/ 50096 w 50096"/>
                  <a:gd name="connsiteY0" fmla="*/ 22690 h 78032"/>
                  <a:gd name="connsiteX1" fmla="*/ 40130 w 50096"/>
                  <a:gd name="connsiteY1" fmla="*/ 20368 h 78032"/>
                  <a:gd name="connsiteX2" fmla="*/ 28069 w 50096"/>
                  <a:gd name="connsiteY2" fmla="*/ 26021 h 78032"/>
                  <a:gd name="connsiteX3" fmla="*/ 23683 w 50096"/>
                  <a:gd name="connsiteY3" fmla="*/ 41412 h 78032"/>
                  <a:gd name="connsiteX4" fmla="*/ 23683 w 50096"/>
                  <a:gd name="connsiteY4" fmla="*/ 78032 h 78032"/>
                  <a:gd name="connsiteX5" fmla="*/ 0 w 50096"/>
                  <a:gd name="connsiteY5" fmla="*/ 78032 h 78032"/>
                  <a:gd name="connsiteX6" fmla="*/ 0 w 50096"/>
                  <a:gd name="connsiteY6" fmla="*/ 1351 h 78032"/>
                  <a:gd name="connsiteX7" fmla="*/ 23683 w 50096"/>
                  <a:gd name="connsiteY7" fmla="*/ 1351 h 78032"/>
                  <a:gd name="connsiteX8" fmla="*/ 23683 w 50096"/>
                  <a:gd name="connsiteY8" fmla="*/ 15592 h 78032"/>
                  <a:gd name="connsiteX9" fmla="*/ 23990 w 50096"/>
                  <a:gd name="connsiteY9" fmla="*/ 15592 h 78032"/>
                  <a:gd name="connsiteX10" fmla="*/ 44219 w 50096"/>
                  <a:gd name="connsiteY10" fmla="*/ 15 h 78032"/>
                  <a:gd name="connsiteX11" fmla="*/ 50064 w 50096"/>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96" h="78032">
                    <a:moveTo>
                      <a:pt x="50096" y="22690"/>
                    </a:moveTo>
                    <a:cubicBezTo>
                      <a:pt x="47026" y="21089"/>
                      <a:pt x="43594" y="20290"/>
                      <a:pt x="40130" y="20368"/>
                    </a:cubicBezTo>
                    <a:cubicBezTo>
                      <a:pt x="35426" y="20161"/>
                      <a:pt x="30920" y="22273"/>
                      <a:pt x="28069" y="26021"/>
                    </a:cubicBezTo>
                    <a:cubicBezTo>
                      <a:pt x="24944" y="30523"/>
                      <a:pt x="23398" y="35938"/>
                      <a:pt x="23683" y="41412"/>
                    </a:cubicBezTo>
                    <a:lnTo>
                      <a:pt x="23683" y="78032"/>
                    </a:lnTo>
                    <a:lnTo>
                      <a:pt x="0" y="78032"/>
                    </a:lnTo>
                    <a:lnTo>
                      <a:pt x="0" y="1351"/>
                    </a:lnTo>
                    <a:lnTo>
                      <a:pt x="23683" y="1351"/>
                    </a:lnTo>
                    <a:lnTo>
                      <a:pt x="23683" y="15592"/>
                    </a:lnTo>
                    <a:lnTo>
                      <a:pt x="23990" y="15592"/>
                    </a:lnTo>
                    <a:cubicBezTo>
                      <a:pt x="26271" y="6320"/>
                      <a:pt x="34669" y="-143"/>
                      <a:pt x="44219" y="15"/>
                    </a:cubicBezTo>
                    <a:cubicBezTo>
                      <a:pt x="46204" y="-73"/>
                      <a:pt x="48189" y="233"/>
                      <a:pt x="50064" y="91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grpSp>
        <p:grpSp>
          <p:nvGrpSpPr>
            <p:cNvPr id="13" name="Graphic 2" descr="Diagram showing responsibility zones.">
              <a:extLst>
                <a:ext uri="{FF2B5EF4-FFF2-40B4-BE49-F238E27FC236}">
                  <a16:creationId xmlns:a16="http://schemas.microsoft.com/office/drawing/2014/main" id="{52246906-9B1C-7B9C-662B-4782452A0400}"/>
                </a:ext>
              </a:extLst>
            </p:cNvPr>
            <p:cNvGrpSpPr/>
            <p:nvPr/>
          </p:nvGrpSpPr>
          <p:grpSpPr>
            <a:xfrm>
              <a:off x="2957336" y="3252044"/>
              <a:ext cx="1011761" cy="333604"/>
              <a:chOff x="1549459" y="3941378"/>
              <a:chExt cx="1011761" cy="333604"/>
            </a:xfrm>
            <a:solidFill>
              <a:srgbClr val="2F2F2F"/>
            </a:solidFill>
          </p:grpSpPr>
          <p:sp>
            <p:nvSpPr>
              <p:cNvPr id="79" name="Freeform: Shape 78">
                <a:extLst>
                  <a:ext uri="{FF2B5EF4-FFF2-40B4-BE49-F238E27FC236}">
                    <a16:creationId xmlns:a16="http://schemas.microsoft.com/office/drawing/2014/main" id="{2D479A78-A15A-A1E6-CAD8-7A7756CF22CC}"/>
                  </a:ext>
                </a:extLst>
              </p:cNvPr>
              <p:cNvSpPr/>
              <p:nvPr/>
            </p:nvSpPr>
            <p:spPr>
              <a:xfrm>
                <a:off x="1557244" y="3947557"/>
                <a:ext cx="90171" cy="107353"/>
              </a:xfrm>
              <a:custGeom>
                <a:avLst/>
                <a:gdLst>
                  <a:gd name="connsiteX0" fmla="*/ 90171 w 90171"/>
                  <a:gd name="connsiteY0" fmla="*/ 107354 h 107353"/>
                  <a:gd name="connsiteX1" fmla="*/ 62365 w 90171"/>
                  <a:gd name="connsiteY1" fmla="*/ 107354 h 107353"/>
                  <a:gd name="connsiteX2" fmla="*/ 45645 w 90171"/>
                  <a:gd name="connsiteY2" fmla="*/ 79716 h 107353"/>
                  <a:gd name="connsiteX3" fmla="*/ 42048 w 90171"/>
                  <a:gd name="connsiteY3" fmla="*/ 74107 h 107353"/>
                  <a:gd name="connsiteX4" fmla="*/ 38562 w 90171"/>
                  <a:gd name="connsiteY4" fmla="*/ 69868 h 107353"/>
                  <a:gd name="connsiteX5" fmla="*/ 34889 w 90171"/>
                  <a:gd name="connsiteY5" fmla="*/ 67173 h 107353"/>
                  <a:gd name="connsiteX6" fmla="*/ 30733 w 90171"/>
                  <a:gd name="connsiteY6" fmla="*/ 66242 h 107353"/>
                  <a:gd name="connsiteX7" fmla="*/ 24209 w 90171"/>
                  <a:gd name="connsiteY7" fmla="*/ 66242 h 107353"/>
                  <a:gd name="connsiteX8" fmla="*/ 24209 w 90171"/>
                  <a:gd name="connsiteY8" fmla="*/ 107354 h 107353"/>
                  <a:gd name="connsiteX9" fmla="*/ 0 w 90171"/>
                  <a:gd name="connsiteY9" fmla="*/ 107354 h 107353"/>
                  <a:gd name="connsiteX10" fmla="*/ 0 w 90171"/>
                  <a:gd name="connsiteY10" fmla="*/ 0 h 107353"/>
                  <a:gd name="connsiteX11" fmla="*/ 38375 w 90171"/>
                  <a:gd name="connsiteY11" fmla="*/ 0 h 107353"/>
                  <a:gd name="connsiteX12" fmla="*/ 77507 w 90171"/>
                  <a:gd name="connsiteY12" fmla="*/ 29205 h 107353"/>
                  <a:gd name="connsiteX13" fmla="*/ 75775 w 90171"/>
                  <a:gd name="connsiteY13" fmla="*/ 39579 h 107353"/>
                  <a:gd name="connsiteX14" fmla="*/ 70907 w 90171"/>
                  <a:gd name="connsiteY14" fmla="*/ 48145 h 107353"/>
                  <a:gd name="connsiteX15" fmla="*/ 63297 w 90171"/>
                  <a:gd name="connsiteY15" fmla="*/ 54718 h 107353"/>
                  <a:gd name="connsiteX16" fmla="*/ 53375 w 90171"/>
                  <a:gd name="connsiteY16" fmla="*/ 59099 h 107353"/>
                  <a:gd name="connsiteX17" fmla="*/ 53375 w 90171"/>
                  <a:gd name="connsiteY17" fmla="*/ 59395 h 107353"/>
                  <a:gd name="connsiteX18" fmla="*/ 58013 w 90171"/>
                  <a:gd name="connsiteY18" fmla="*/ 61827 h 107353"/>
                  <a:gd name="connsiteX19" fmla="*/ 62398 w 90171"/>
                  <a:gd name="connsiteY19" fmla="*/ 65760 h 107353"/>
                  <a:gd name="connsiteX20" fmla="*/ 66411 w 90171"/>
                  <a:gd name="connsiteY20" fmla="*/ 70591 h 107353"/>
                  <a:gd name="connsiteX21" fmla="*/ 69887 w 90171"/>
                  <a:gd name="connsiteY21" fmla="*/ 75641 h 107353"/>
                  <a:gd name="connsiteX22" fmla="*/ 24209 w 90171"/>
                  <a:gd name="connsiteY22" fmla="*/ 18086 h 107353"/>
                  <a:gd name="connsiteX23" fmla="*/ 24209 w 90171"/>
                  <a:gd name="connsiteY23" fmla="*/ 47970 h 107353"/>
                  <a:gd name="connsiteX24" fmla="*/ 34702 w 90171"/>
                  <a:gd name="connsiteY24" fmla="*/ 47970 h 107353"/>
                  <a:gd name="connsiteX25" fmla="*/ 47224 w 90171"/>
                  <a:gd name="connsiteY25" fmla="*/ 43478 h 107353"/>
                  <a:gd name="connsiteX26" fmla="*/ 52015 w 90171"/>
                  <a:gd name="connsiteY26" fmla="*/ 32162 h 107353"/>
                  <a:gd name="connsiteX27" fmla="*/ 35152 w 90171"/>
                  <a:gd name="connsiteY27" fmla="*/ 1808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0171" h="107353">
                    <a:moveTo>
                      <a:pt x="90171" y="107354"/>
                    </a:moveTo>
                    <a:lnTo>
                      <a:pt x="62365" y="107354"/>
                    </a:lnTo>
                    <a:lnTo>
                      <a:pt x="45645" y="79716"/>
                    </a:lnTo>
                    <a:cubicBezTo>
                      <a:pt x="44406" y="77623"/>
                      <a:pt x="43200" y="75750"/>
                      <a:pt x="42048" y="74107"/>
                    </a:cubicBezTo>
                    <a:cubicBezTo>
                      <a:pt x="41013" y="72595"/>
                      <a:pt x="39847" y="71171"/>
                      <a:pt x="38562" y="69868"/>
                    </a:cubicBezTo>
                    <a:cubicBezTo>
                      <a:pt x="37498" y="68772"/>
                      <a:pt x="36256" y="67863"/>
                      <a:pt x="34889" y="67173"/>
                    </a:cubicBezTo>
                    <a:cubicBezTo>
                      <a:pt x="33595" y="66549"/>
                      <a:pt x="32172" y="66231"/>
                      <a:pt x="30733" y="66242"/>
                    </a:cubicBezTo>
                    <a:lnTo>
                      <a:pt x="24209" y="66242"/>
                    </a:lnTo>
                    <a:lnTo>
                      <a:pt x="24209" y="107354"/>
                    </a:lnTo>
                    <a:lnTo>
                      <a:pt x="0" y="107354"/>
                    </a:lnTo>
                    <a:lnTo>
                      <a:pt x="0" y="0"/>
                    </a:lnTo>
                    <a:lnTo>
                      <a:pt x="38375" y="0"/>
                    </a:lnTo>
                    <a:cubicBezTo>
                      <a:pt x="64463" y="0"/>
                      <a:pt x="77507" y="9739"/>
                      <a:pt x="77507" y="29205"/>
                    </a:cubicBezTo>
                    <a:cubicBezTo>
                      <a:pt x="77541" y="32732"/>
                      <a:pt x="76955" y="36248"/>
                      <a:pt x="75775" y="39579"/>
                    </a:cubicBezTo>
                    <a:cubicBezTo>
                      <a:pt x="74662" y="42690"/>
                      <a:pt x="73015" y="45593"/>
                      <a:pt x="70907" y="48145"/>
                    </a:cubicBezTo>
                    <a:cubicBezTo>
                      <a:pt x="68751" y="50741"/>
                      <a:pt x="66180" y="52965"/>
                      <a:pt x="63297" y="54718"/>
                    </a:cubicBezTo>
                    <a:cubicBezTo>
                      <a:pt x="60209" y="56635"/>
                      <a:pt x="56869" y="58103"/>
                      <a:pt x="53375" y="59099"/>
                    </a:cubicBezTo>
                    <a:lnTo>
                      <a:pt x="53375" y="59395"/>
                    </a:lnTo>
                    <a:cubicBezTo>
                      <a:pt x="55050" y="59932"/>
                      <a:pt x="56619" y="60754"/>
                      <a:pt x="58013" y="61827"/>
                    </a:cubicBezTo>
                    <a:cubicBezTo>
                      <a:pt x="59587" y="63010"/>
                      <a:pt x="61055" y="64325"/>
                      <a:pt x="62398" y="65760"/>
                    </a:cubicBezTo>
                    <a:cubicBezTo>
                      <a:pt x="63822" y="67293"/>
                      <a:pt x="65161" y="68915"/>
                      <a:pt x="66411" y="70591"/>
                    </a:cubicBezTo>
                    <a:cubicBezTo>
                      <a:pt x="67683" y="72310"/>
                      <a:pt x="68842" y="73998"/>
                      <a:pt x="69887" y="75641"/>
                    </a:cubicBezTo>
                    <a:close/>
                    <a:moveTo>
                      <a:pt x="24209" y="18086"/>
                    </a:moveTo>
                    <a:lnTo>
                      <a:pt x="24209" y="47970"/>
                    </a:lnTo>
                    <a:lnTo>
                      <a:pt x="34702" y="47970"/>
                    </a:lnTo>
                    <a:cubicBezTo>
                      <a:pt x="39306" y="48189"/>
                      <a:pt x="43809" y="46568"/>
                      <a:pt x="47224" y="43478"/>
                    </a:cubicBezTo>
                    <a:cubicBezTo>
                      <a:pt x="50363" y="40564"/>
                      <a:pt x="52106" y="36446"/>
                      <a:pt x="52015" y="32162"/>
                    </a:cubicBezTo>
                    <a:cubicBezTo>
                      <a:pt x="52015" y="22785"/>
                      <a:pt x="46394" y="18097"/>
                      <a:pt x="35152" y="1808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0" name="Freeform: Shape 79">
                <a:extLst>
                  <a:ext uri="{FF2B5EF4-FFF2-40B4-BE49-F238E27FC236}">
                    <a16:creationId xmlns:a16="http://schemas.microsoft.com/office/drawing/2014/main" id="{C23F6630-14D2-29AE-B6C1-734F798C5FB2}"/>
                  </a:ext>
                </a:extLst>
              </p:cNvPr>
              <p:cNvSpPr/>
              <p:nvPr/>
            </p:nvSpPr>
            <p:spPr>
              <a:xfrm>
                <a:off x="1648471" y="3976293"/>
                <a:ext cx="73756" cy="80671"/>
              </a:xfrm>
              <a:custGeom>
                <a:avLst/>
                <a:gdLst>
                  <a:gd name="connsiteX0" fmla="*/ 73699 w 73756"/>
                  <a:gd name="connsiteY0" fmla="*/ 47013 h 80671"/>
                  <a:gd name="connsiteX1" fmla="*/ 23636 w 73756"/>
                  <a:gd name="connsiteY1" fmla="*/ 47013 h 80671"/>
                  <a:gd name="connsiteX2" fmla="*/ 44698 w 73756"/>
                  <a:gd name="connsiteY2" fmla="*/ 63708 h 80671"/>
                  <a:gd name="connsiteX3" fmla="*/ 66956 w 73756"/>
                  <a:gd name="connsiteY3" fmla="*/ 57716 h 80671"/>
                  <a:gd name="connsiteX4" fmla="*/ 66956 w 73756"/>
                  <a:gd name="connsiteY4" fmla="*/ 74794 h 80671"/>
                  <a:gd name="connsiteX5" fmla="*/ 39304 w 73756"/>
                  <a:gd name="connsiteY5" fmla="*/ 80490 h 80671"/>
                  <a:gd name="connsiteX6" fmla="*/ 178 w 73756"/>
                  <a:gd name="connsiteY6" fmla="*/ 48536 h 80671"/>
                  <a:gd name="connsiteX7" fmla="*/ 172 w 73756"/>
                  <a:gd name="connsiteY7" fmla="*/ 41471 h 80671"/>
                  <a:gd name="connsiteX8" fmla="*/ 11268 w 73756"/>
                  <a:gd name="connsiteY8" fmla="*/ 11214 h 80671"/>
                  <a:gd name="connsiteX9" fmla="*/ 38547 w 73756"/>
                  <a:gd name="connsiteY9" fmla="*/ 63 h 80671"/>
                  <a:gd name="connsiteX10" fmla="*/ 64522 w 73756"/>
                  <a:gd name="connsiteY10" fmla="*/ 10020 h 80671"/>
                  <a:gd name="connsiteX11" fmla="*/ 73699 w 73756"/>
                  <a:gd name="connsiteY11" fmla="*/ 37056 h 80671"/>
                  <a:gd name="connsiteX12" fmla="*/ 51770 w 73756"/>
                  <a:gd name="connsiteY12" fmla="*/ 32488 h 80671"/>
                  <a:gd name="connsiteX13" fmla="*/ 38438 w 73756"/>
                  <a:gd name="connsiteY13" fmla="*/ 16056 h 80671"/>
                  <a:gd name="connsiteX14" fmla="*/ 28570 w 73756"/>
                  <a:gd name="connsiteY14" fmla="*/ 20777 h 80671"/>
                  <a:gd name="connsiteX15" fmla="*/ 23504 w 73756"/>
                  <a:gd name="connsiteY15" fmla="*/ 32532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6" h="80671">
                    <a:moveTo>
                      <a:pt x="73699" y="47013"/>
                    </a:moveTo>
                    <a:lnTo>
                      <a:pt x="23636" y="47013"/>
                    </a:lnTo>
                    <a:cubicBezTo>
                      <a:pt x="24433" y="58143"/>
                      <a:pt x="31453" y="63708"/>
                      <a:pt x="44698" y="63708"/>
                    </a:cubicBezTo>
                    <a:cubicBezTo>
                      <a:pt x="52538" y="63872"/>
                      <a:pt x="60261" y="61791"/>
                      <a:pt x="66956" y="57716"/>
                    </a:cubicBezTo>
                    <a:lnTo>
                      <a:pt x="66956" y="74794"/>
                    </a:lnTo>
                    <a:cubicBezTo>
                      <a:pt x="58342" y="78924"/>
                      <a:pt x="48848" y="80874"/>
                      <a:pt x="39304" y="80490"/>
                    </a:cubicBezTo>
                    <a:cubicBezTo>
                      <a:pt x="19668" y="82462"/>
                      <a:pt x="2151" y="68156"/>
                      <a:pt x="178" y="48536"/>
                    </a:cubicBezTo>
                    <a:cubicBezTo>
                      <a:pt x="-57" y="46192"/>
                      <a:pt x="-60" y="43815"/>
                      <a:pt x="172" y="41471"/>
                    </a:cubicBezTo>
                    <a:cubicBezTo>
                      <a:pt x="-407" y="30297"/>
                      <a:pt x="3600" y="19364"/>
                      <a:pt x="11268" y="11214"/>
                    </a:cubicBezTo>
                    <a:cubicBezTo>
                      <a:pt x="18419" y="3875"/>
                      <a:pt x="28299" y="-167"/>
                      <a:pt x="38547" y="63"/>
                    </a:cubicBezTo>
                    <a:cubicBezTo>
                      <a:pt x="48240" y="-529"/>
                      <a:pt x="57714" y="3097"/>
                      <a:pt x="64522" y="10020"/>
                    </a:cubicBezTo>
                    <a:cubicBezTo>
                      <a:pt x="70950" y="17513"/>
                      <a:pt x="74237" y="27197"/>
                      <a:pt x="73699" y="37056"/>
                    </a:cubicBezTo>
                    <a:close/>
                    <a:moveTo>
                      <a:pt x="51770" y="32488"/>
                    </a:moveTo>
                    <a:cubicBezTo>
                      <a:pt x="51770" y="21533"/>
                      <a:pt x="47326" y="16056"/>
                      <a:pt x="38438" y="16056"/>
                    </a:cubicBezTo>
                    <a:cubicBezTo>
                      <a:pt x="34603" y="16067"/>
                      <a:pt x="30977" y="17798"/>
                      <a:pt x="28570" y="20777"/>
                    </a:cubicBezTo>
                    <a:cubicBezTo>
                      <a:pt x="25722" y="24086"/>
                      <a:pt x="23956" y="28194"/>
                      <a:pt x="23504"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1" name="Freeform: Shape 80">
                <a:extLst>
                  <a:ext uri="{FF2B5EF4-FFF2-40B4-BE49-F238E27FC236}">
                    <a16:creationId xmlns:a16="http://schemas.microsoft.com/office/drawing/2014/main" id="{013627CC-4966-A041-56A9-3A51FEF4BD09}"/>
                  </a:ext>
                </a:extLst>
              </p:cNvPr>
              <p:cNvSpPr/>
              <p:nvPr/>
            </p:nvSpPr>
            <p:spPr>
              <a:xfrm>
                <a:off x="1732974" y="3976323"/>
                <a:ext cx="58941" cy="80400"/>
              </a:xfrm>
              <a:custGeom>
                <a:avLst/>
                <a:gdLst>
                  <a:gd name="connsiteX0" fmla="*/ 29 w 58941"/>
                  <a:gd name="connsiteY0" fmla="*/ 76561 h 80400"/>
                  <a:gd name="connsiteX1" fmla="*/ 29 w 58941"/>
                  <a:gd name="connsiteY1" fmla="*/ 57391 h 80400"/>
                  <a:gd name="connsiteX2" fmla="*/ 11685 w 58941"/>
                  <a:gd name="connsiteY2" fmla="*/ 62638 h 80400"/>
                  <a:gd name="connsiteX3" fmla="*/ 22649 w 58941"/>
                  <a:gd name="connsiteY3" fmla="*/ 64358 h 80400"/>
                  <a:gd name="connsiteX4" fmla="*/ 32572 w 58941"/>
                  <a:gd name="connsiteY4" fmla="*/ 62638 h 80400"/>
                  <a:gd name="connsiteX5" fmla="*/ 36212 w 58941"/>
                  <a:gd name="connsiteY5" fmla="*/ 57391 h 80400"/>
                  <a:gd name="connsiteX6" fmla="*/ 34567 w 58941"/>
                  <a:gd name="connsiteY6" fmla="*/ 53644 h 80400"/>
                  <a:gd name="connsiteX7" fmla="*/ 30324 w 58941"/>
                  <a:gd name="connsiteY7" fmla="*/ 51026 h 80400"/>
                  <a:gd name="connsiteX8" fmla="*/ 24666 w 58941"/>
                  <a:gd name="connsiteY8" fmla="*/ 49010 h 80400"/>
                  <a:gd name="connsiteX9" fmla="*/ 18746 w 58941"/>
                  <a:gd name="connsiteY9" fmla="*/ 46984 h 80400"/>
                  <a:gd name="connsiteX10" fmla="*/ 10687 w 58941"/>
                  <a:gd name="connsiteY10" fmla="*/ 43281 h 80400"/>
                  <a:gd name="connsiteX11" fmla="*/ 4843 w 58941"/>
                  <a:gd name="connsiteY11" fmla="*/ 38669 h 80400"/>
                  <a:gd name="connsiteX12" fmla="*/ 1247 w 58941"/>
                  <a:gd name="connsiteY12" fmla="*/ 32601 h 80400"/>
                  <a:gd name="connsiteX13" fmla="*/ 8 w 58941"/>
                  <a:gd name="connsiteY13" fmla="*/ 24440 h 80400"/>
                  <a:gd name="connsiteX14" fmla="*/ 2814 w 58941"/>
                  <a:gd name="connsiteY14" fmla="*/ 13365 h 80400"/>
                  <a:gd name="connsiteX15" fmla="*/ 10314 w 58941"/>
                  <a:gd name="connsiteY15" fmla="*/ 5762 h 80400"/>
                  <a:gd name="connsiteX16" fmla="*/ 21037 w 58941"/>
                  <a:gd name="connsiteY16" fmla="*/ 1380 h 80400"/>
                  <a:gd name="connsiteX17" fmla="*/ 33591 w 58941"/>
                  <a:gd name="connsiteY17" fmla="*/ 0 h 80400"/>
                  <a:gd name="connsiteX18" fmla="*/ 43931 w 58941"/>
                  <a:gd name="connsiteY18" fmla="*/ 789 h 80400"/>
                  <a:gd name="connsiteX19" fmla="*/ 54270 w 58941"/>
                  <a:gd name="connsiteY19" fmla="*/ 3067 h 80400"/>
                  <a:gd name="connsiteX20" fmla="*/ 54270 w 58941"/>
                  <a:gd name="connsiteY20" fmla="*/ 21339 h 80400"/>
                  <a:gd name="connsiteX21" fmla="*/ 44644 w 58941"/>
                  <a:gd name="connsiteY21" fmla="*/ 17407 h 80400"/>
                  <a:gd name="connsiteX22" fmla="*/ 34567 w 58941"/>
                  <a:gd name="connsiteY22" fmla="*/ 16103 h 80400"/>
                  <a:gd name="connsiteX23" fmla="*/ 30182 w 58941"/>
                  <a:gd name="connsiteY23" fmla="*/ 16509 h 80400"/>
                  <a:gd name="connsiteX24" fmla="*/ 26541 w 58941"/>
                  <a:gd name="connsiteY24" fmla="*/ 17714 h 80400"/>
                  <a:gd name="connsiteX25" fmla="*/ 24063 w 58941"/>
                  <a:gd name="connsiteY25" fmla="*/ 19729 h 80400"/>
                  <a:gd name="connsiteX26" fmla="*/ 23164 w 58941"/>
                  <a:gd name="connsiteY26" fmla="*/ 22533 h 80400"/>
                  <a:gd name="connsiteX27" fmla="*/ 24513 w 58941"/>
                  <a:gd name="connsiteY27" fmla="*/ 26138 h 80400"/>
                  <a:gd name="connsiteX28" fmla="*/ 28044 w 58941"/>
                  <a:gd name="connsiteY28" fmla="*/ 28712 h 80400"/>
                  <a:gd name="connsiteX29" fmla="*/ 32879 w 58941"/>
                  <a:gd name="connsiteY29" fmla="*/ 30662 h 80400"/>
                  <a:gd name="connsiteX30" fmla="*/ 38164 w 58941"/>
                  <a:gd name="connsiteY30" fmla="*/ 32425 h 80400"/>
                  <a:gd name="connsiteX31" fmla="*/ 46705 w 58941"/>
                  <a:gd name="connsiteY31" fmla="*/ 36018 h 80400"/>
                  <a:gd name="connsiteX32" fmla="*/ 53284 w 58941"/>
                  <a:gd name="connsiteY32" fmla="*/ 40587 h 80400"/>
                  <a:gd name="connsiteX33" fmla="*/ 57483 w 58941"/>
                  <a:gd name="connsiteY33" fmla="*/ 46721 h 80400"/>
                  <a:gd name="connsiteX34" fmla="*/ 55981 w 58941"/>
                  <a:gd name="connsiteY34" fmla="*/ 66757 h 80400"/>
                  <a:gd name="connsiteX35" fmla="*/ 48108 w 58941"/>
                  <a:gd name="connsiteY35" fmla="*/ 74622 h 80400"/>
                  <a:gd name="connsiteX36" fmla="*/ 36793 w 58941"/>
                  <a:gd name="connsiteY36" fmla="*/ 79004 h 80400"/>
                  <a:gd name="connsiteX37" fmla="*/ 23493 w 58941"/>
                  <a:gd name="connsiteY37" fmla="*/ 80395 h 80400"/>
                  <a:gd name="connsiteX38" fmla="*/ 29 w 58941"/>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1" h="80400">
                    <a:moveTo>
                      <a:pt x="29" y="76561"/>
                    </a:moveTo>
                    <a:lnTo>
                      <a:pt x="29" y="57391"/>
                    </a:lnTo>
                    <a:cubicBezTo>
                      <a:pt x="3675" y="59625"/>
                      <a:pt x="7592" y="61389"/>
                      <a:pt x="11685" y="62638"/>
                    </a:cubicBezTo>
                    <a:cubicBezTo>
                      <a:pt x="15237" y="63733"/>
                      <a:pt x="18930" y="64314"/>
                      <a:pt x="22649" y="64358"/>
                    </a:cubicBezTo>
                    <a:cubicBezTo>
                      <a:pt x="26042" y="64511"/>
                      <a:pt x="29427" y="63919"/>
                      <a:pt x="32572" y="62638"/>
                    </a:cubicBezTo>
                    <a:cubicBezTo>
                      <a:pt x="34770" y="61827"/>
                      <a:pt x="36226" y="59735"/>
                      <a:pt x="36212" y="57391"/>
                    </a:cubicBezTo>
                    <a:cubicBezTo>
                      <a:pt x="36240" y="55967"/>
                      <a:pt x="35639" y="54586"/>
                      <a:pt x="34567" y="53644"/>
                    </a:cubicBezTo>
                    <a:cubicBezTo>
                      <a:pt x="33305" y="52549"/>
                      <a:pt x="31872" y="51662"/>
                      <a:pt x="30324" y="51026"/>
                    </a:cubicBezTo>
                    <a:cubicBezTo>
                      <a:pt x="28483" y="50237"/>
                      <a:pt x="26593" y="49558"/>
                      <a:pt x="24666" y="49010"/>
                    </a:cubicBezTo>
                    <a:cubicBezTo>
                      <a:pt x="22613" y="48408"/>
                      <a:pt x="20639" y="47740"/>
                      <a:pt x="18746" y="46984"/>
                    </a:cubicBezTo>
                    <a:cubicBezTo>
                      <a:pt x="15968" y="45954"/>
                      <a:pt x="13274" y="44716"/>
                      <a:pt x="10687" y="43281"/>
                    </a:cubicBezTo>
                    <a:cubicBezTo>
                      <a:pt x="8504" y="42065"/>
                      <a:pt x="6530" y="40510"/>
                      <a:pt x="4843" y="38669"/>
                    </a:cubicBezTo>
                    <a:cubicBezTo>
                      <a:pt x="3260" y="36895"/>
                      <a:pt x="2038" y="34835"/>
                      <a:pt x="1247" y="32601"/>
                    </a:cubicBezTo>
                    <a:cubicBezTo>
                      <a:pt x="369" y="29972"/>
                      <a:pt x="-49" y="27211"/>
                      <a:pt x="8" y="24440"/>
                    </a:cubicBezTo>
                    <a:cubicBezTo>
                      <a:pt x="-97" y="20562"/>
                      <a:pt x="875" y="16728"/>
                      <a:pt x="2814" y="13365"/>
                    </a:cubicBezTo>
                    <a:cubicBezTo>
                      <a:pt x="4681" y="10276"/>
                      <a:pt x="7250" y="7668"/>
                      <a:pt x="10314" y="5762"/>
                    </a:cubicBezTo>
                    <a:cubicBezTo>
                      <a:pt x="13615" y="3703"/>
                      <a:pt x="17241" y="2224"/>
                      <a:pt x="21037" y="1380"/>
                    </a:cubicBezTo>
                    <a:cubicBezTo>
                      <a:pt x="25157" y="449"/>
                      <a:pt x="29368" y="-11"/>
                      <a:pt x="33591" y="0"/>
                    </a:cubicBezTo>
                    <a:cubicBezTo>
                      <a:pt x="37053" y="0"/>
                      <a:pt x="40509" y="274"/>
                      <a:pt x="43931" y="789"/>
                    </a:cubicBezTo>
                    <a:cubicBezTo>
                      <a:pt x="47426" y="1304"/>
                      <a:pt x="50881" y="2071"/>
                      <a:pt x="54270" y="3067"/>
                    </a:cubicBezTo>
                    <a:lnTo>
                      <a:pt x="54270" y="21339"/>
                    </a:lnTo>
                    <a:cubicBezTo>
                      <a:pt x="51262" y="19587"/>
                      <a:pt x="48021" y="18261"/>
                      <a:pt x="44644" y="17407"/>
                    </a:cubicBezTo>
                    <a:cubicBezTo>
                      <a:pt x="41352" y="16552"/>
                      <a:pt x="37967" y="16114"/>
                      <a:pt x="34567" y="16103"/>
                    </a:cubicBezTo>
                    <a:cubicBezTo>
                      <a:pt x="33096" y="16092"/>
                      <a:pt x="31627" y="16235"/>
                      <a:pt x="30182" y="16509"/>
                    </a:cubicBezTo>
                    <a:cubicBezTo>
                      <a:pt x="28920" y="16749"/>
                      <a:pt x="27695" y="17155"/>
                      <a:pt x="26541" y="17714"/>
                    </a:cubicBezTo>
                    <a:cubicBezTo>
                      <a:pt x="25562" y="18174"/>
                      <a:pt x="24711" y="18864"/>
                      <a:pt x="24063" y="19729"/>
                    </a:cubicBezTo>
                    <a:cubicBezTo>
                      <a:pt x="23470" y="20540"/>
                      <a:pt x="23156" y="21526"/>
                      <a:pt x="23164" y="22533"/>
                    </a:cubicBezTo>
                    <a:cubicBezTo>
                      <a:pt x="23139" y="23859"/>
                      <a:pt x="23620" y="25152"/>
                      <a:pt x="24513" y="26138"/>
                    </a:cubicBezTo>
                    <a:cubicBezTo>
                      <a:pt x="25518" y="27211"/>
                      <a:pt x="26716" y="28077"/>
                      <a:pt x="28044" y="28712"/>
                    </a:cubicBezTo>
                    <a:cubicBezTo>
                      <a:pt x="29604" y="29479"/>
                      <a:pt x="31220" y="30136"/>
                      <a:pt x="32879" y="30662"/>
                    </a:cubicBezTo>
                    <a:cubicBezTo>
                      <a:pt x="34647" y="31231"/>
                      <a:pt x="36409" y="31823"/>
                      <a:pt x="38164" y="32425"/>
                    </a:cubicBezTo>
                    <a:cubicBezTo>
                      <a:pt x="41090" y="33422"/>
                      <a:pt x="43944" y="34627"/>
                      <a:pt x="46705" y="36018"/>
                    </a:cubicBezTo>
                    <a:cubicBezTo>
                      <a:pt x="49111" y="37213"/>
                      <a:pt x="51327" y="38746"/>
                      <a:pt x="53284" y="40587"/>
                    </a:cubicBezTo>
                    <a:cubicBezTo>
                      <a:pt x="55097" y="42317"/>
                      <a:pt x="56528" y="44410"/>
                      <a:pt x="57483" y="46721"/>
                    </a:cubicBezTo>
                    <a:cubicBezTo>
                      <a:pt x="59859" y="53305"/>
                      <a:pt x="59313" y="60600"/>
                      <a:pt x="55981" y="66757"/>
                    </a:cubicBezTo>
                    <a:cubicBezTo>
                      <a:pt x="54019" y="69966"/>
                      <a:pt x="51320" y="72661"/>
                      <a:pt x="48108" y="74622"/>
                    </a:cubicBezTo>
                    <a:cubicBezTo>
                      <a:pt x="44615" y="76714"/>
                      <a:pt x="40787" y="78204"/>
                      <a:pt x="36793" y="79004"/>
                    </a:cubicBezTo>
                    <a:cubicBezTo>
                      <a:pt x="32423" y="79946"/>
                      <a:pt x="27963" y="80406"/>
                      <a:pt x="23493" y="80395"/>
                    </a:cubicBezTo>
                    <a:cubicBezTo>
                      <a:pt x="15508" y="80494"/>
                      <a:pt x="7568" y="79190"/>
                      <a:pt x="29"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2" name="Freeform: Shape 81">
                <a:extLst>
                  <a:ext uri="{FF2B5EF4-FFF2-40B4-BE49-F238E27FC236}">
                    <a16:creationId xmlns:a16="http://schemas.microsoft.com/office/drawing/2014/main" id="{98F0C4A1-45CB-77E4-15A6-4AFFED086D8C}"/>
                  </a:ext>
                </a:extLst>
              </p:cNvPr>
              <p:cNvSpPr/>
              <p:nvPr/>
            </p:nvSpPr>
            <p:spPr>
              <a:xfrm>
                <a:off x="1806201" y="3976348"/>
                <a:ext cx="79898" cy="113824"/>
              </a:xfrm>
              <a:custGeom>
                <a:avLst/>
                <a:gdLst>
                  <a:gd name="connsiteX0" fmla="*/ 23990 w 79898"/>
                  <a:gd name="connsiteY0" fmla="*/ 69646 h 113824"/>
                  <a:gd name="connsiteX1" fmla="*/ 23694 w 79898"/>
                  <a:gd name="connsiteY1" fmla="*/ 69646 h 113824"/>
                  <a:gd name="connsiteX2" fmla="*/ 23694 w 79898"/>
                  <a:gd name="connsiteY2" fmla="*/ 113825 h 113824"/>
                  <a:gd name="connsiteX3" fmla="*/ 0 w 79898"/>
                  <a:gd name="connsiteY3" fmla="*/ 113825 h 113824"/>
                  <a:gd name="connsiteX4" fmla="*/ 0 w 79898"/>
                  <a:gd name="connsiteY4" fmla="*/ 1881 h 113824"/>
                  <a:gd name="connsiteX5" fmla="*/ 23694 w 79898"/>
                  <a:gd name="connsiteY5" fmla="*/ 1881 h 113824"/>
                  <a:gd name="connsiteX6" fmla="*/ 23694 w 79898"/>
                  <a:gd name="connsiteY6" fmla="*/ 13405 h 113824"/>
                  <a:gd name="connsiteX7" fmla="*/ 23990 w 79898"/>
                  <a:gd name="connsiteY7" fmla="*/ 13405 h 113824"/>
                  <a:gd name="connsiteX8" fmla="*/ 65791 w 79898"/>
                  <a:gd name="connsiteY8" fmla="*/ 5069 h 113824"/>
                  <a:gd name="connsiteX9" fmla="*/ 71696 w 79898"/>
                  <a:gd name="connsiteY9" fmla="*/ 10229 h 113824"/>
                  <a:gd name="connsiteX10" fmla="*/ 79832 w 79898"/>
                  <a:gd name="connsiteY10" fmla="*/ 38042 h 113824"/>
                  <a:gd name="connsiteX11" fmla="*/ 70348 w 79898"/>
                  <a:gd name="connsiteY11" fmla="*/ 68824 h 113824"/>
                  <a:gd name="connsiteX12" fmla="*/ 45129 w 79898"/>
                  <a:gd name="connsiteY12" fmla="*/ 80436 h 113824"/>
                  <a:gd name="connsiteX13" fmla="*/ 23990 w 79898"/>
                  <a:gd name="connsiteY13" fmla="*/ 69646 h 113824"/>
                  <a:gd name="connsiteX14" fmla="*/ 23354 w 79898"/>
                  <a:gd name="connsiteY14" fmla="*/ 38195 h 113824"/>
                  <a:gd name="connsiteX15" fmla="*/ 23354 w 79898"/>
                  <a:gd name="connsiteY15" fmla="*/ 44341 h 113824"/>
                  <a:gd name="connsiteX16" fmla="*/ 27554 w 79898"/>
                  <a:gd name="connsiteY16" fmla="*/ 57289 h 113824"/>
                  <a:gd name="connsiteX17" fmla="*/ 38518 w 79898"/>
                  <a:gd name="connsiteY17" fmla="*/ 62306 h 113824"/>
                  <a:gd name="connsiteX18" fmla="*/ 51072 w 79898"/>
                  <a:gd name="connsiteY18" fmla="*/ 56062 h 113824"/>
                  <a:gd name="connsiteX19" fmla="*/ 55535 w 79898"/>
                  <a:gd name="connsiteY19" fmla="*/ 38349 h 113824"/>
                  <a:gd name="connsiteX20" fmla="*/ 39790 w 79898"/>
                  <a:gd name="connsiteY20" fmla="*/ 18127 h 113824"/>
                  <a:gd name="connsiteX21" fmla="*/ 27915 w 79898"/>
                  <a:gd name="connsiteY21" fmla="*/ 23604 h 113824"/>
                  <a:gd name="connsiteX22" fmla="*/ 23354 w 79898"/>
                  <a:gd name="connsiteY22" fmla="*/ 38195 h 11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98" h="113824">
                    <a:moveTo>
                      <a:pt x="23990" y="69646"/>
                    </a:moveTo>
                    <a:lnTo>
                      <a:pt x="23694" y="69646"/>
                    </a:lnTo>
                    <a:lnTo>
                      <a:pt x="23694" y="113825"/>
                    </a:lnTo>
                    <a:lnTo>
                      <a:pt x="0" y="113825"/>
                    </a:lnTo>
                    <a:lnTo>
                      <a:pt x="0" y="1881"/>
                    </a:lnTo>
                    <a:lnTo>
                      <a:pt x="23694" y="1881"/>
                    </a:lnTo>
                    <a:lnTo>
                      <a:pt x="23694" y="13405"/>
                    </a:lnTo>
                    <a:lnTo>
                      <a:pt x="23990" y="13405"/>
                    </a:lnTo>
                    <a:cubicBezTo>
                      <a:pt x="33228" y="-430"/>
                      <a:pt x="51943" y="-4166"/>
                      <a:pt x="65791" y="5069"/>
                    </a:cubicBezTo>
                    <a:cubicBezTo>
                      <a:pt x="67976" y="6526"/>
                      <a:pt x="69962" y="8257"/>
                      <a:pt x="71696" y="10229"/>
                    </a:cubicBezTo>
                    <a:cubicBezTo>
                      <a:pt x="77511" y="18302"/>
                      <a:pt x="80382" y="28117"/>
                      <a:pt x="79832" y="38042"/>
                    </a:cubicBezTo>
                    <a:cubicBezTo>
                      <a:pt x="80389" y="49095"/>
                      <a:pt x="77030" y="59995"/>
                      <a:pt x="70348" y="68824"/>
                    </a:cubicBezTo>
                    <a:cubicBezTo>
                      <a:pt x="64254" y="76459"/>
                      <a:pt x="54901" y="80764"/>
                      <a:pt x="45129" y="80436"/>
                    </a:cubicBezTo>
                    <a:cubicBezTo>
                      <a:pt x="36667" y="80841"/>
                      <a:pt x="28625" y="76733"/>
                      <a:pt x="23990" y="69646"/>
                    </a:cubicBezTo>
                    <a:close/>
                    <a:moveTo>
                      <a:pt x="23354" y="38195"/>
                    </a:moveTo>
                    <a:lnTo>
                      <a:pt x="23354" y="44341"/>
                    </a:lnTo>
                    <a:cubicBezTo>
                      <a:pt x="23152" y="49018"/>
                      <a:pt x="24644" y="53619"/>
                      <a:pt x="27554" y="57289"/>
                    </a:cubicBezTo>
                    <a:cubicBezTo>
                      <a:pt x="30235" y="60564"/>
                      <a:pt x="34283" y="62416"/>
                      <a:pt x="38518" y="62306"/>
                    </a:cubicBezTo>
                    <a:cubicBezTo>
                      <a:pt x="43498" y="62514"/>
                      <a:pt x="48237" y="60159"/>
                      <a:pt x="51072" y="56062"/>
                    </a:cubicBezTo>
                    <a:cubicBezTo>
                      <a:pt x="54352" y="50760"/>
                      <a:pt x="55911" y="44571"/>
                      <a:pt x="55535" y="38349"/>
                    </a:cubicBezTo>
                    <a:cubicBezTo>
                      <a:pt x="55535" y="24864"/>
                      <a:pt x="50286" y="18116"/>
                      <a:pt x="39790" y="18127"/>
                    </a:cubicBezTo>
                    <a:cubicBezTo>
                      <a:pt x="35195" y="18006"/>
                      <a:pt x="30804" y="20033"/>
                      <a:pt x="27915" y="23604"/>
                    </a:cubicBezTo>
                    <a:cubicBezTo>
                      <a:pt x="24691" y="27767"/>
                      <a:pt x="23072" y="32937"/>
                      <a:pt x="23354" y="3819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3" name="Freeform: Shape 82">
                <a:extLst>
                  <a:ext uri="{FF2B5EF4-FFF2-40B4-BE49-F238E27FC236}">
                    <a16:creationId xmlns:a16="http://schemas.microsoft.com/office/drawing/2014/main" id="{3678CF25-5D86-7EFA-9A63-1699723473CC}"/>
                  </a:ext>
                </a:extLst>
              </p:cNvPr>
              <p:cNvSpPr/>
              <p:nvPr/>
            </p:nvSpPr>
            <p:spPr>
              <a:xfrm>
                <a:off x="1897324" y="3976291"/>
                <a:ext cx="83103" cy="80556"/>
              </a:xfrm>
              <a:custGeom>
                <a:avLst/>
                <a:gdLst>
                  <a:gd name="connsiteX0" fmla="*/ 41151 w 83103"/>
                  <a:gd name="connsiteY0" fmla="*/ 80493 h 80556"/>
                  <a:gd name="connsiteX1" fmla="*/ 10977 w 83103"/>
                  <a:gd name="connsiteY1" fmla="*/ 69747 h 80556"/>
                  <a:gd name="connsiteX2" fmla="*/ 11394 w 83103"/>
                  <a:gd name="connsiteY2" fmla="*/ 10812 h 80556"/>
                  <a:gd name="connsiteX3" fmla="*/ 42204 w 83103"/>
                  <a:gd name="connsiteY3" fmla="*/ 65 h 80556"/>
                  <a:gd name="connsiteX4" fmla="*/ 72181 w 83103"/>
                  <a:gd name="connsiteY4" fmla="*/ 10812 h 80556"/>
                  <a:gd name="connsiteX5" fmla="*/ 83046 w 83103"/>
                  <a:gd name="connsiteY5" fmla="*/ 39228 h 80556"/>
                  <a:gd name="connsiteX6" fmla="*/ 71841 w 83103"/>
                  <a:gd name="connsiteY6" fmla="*/ 69407 h 80556"/>
                  <a:gd name="connsiteX7" fmla="*/ 41151 w 83103"/>
                  <a:gd name="connsiteY7" fmla="*/ 80493 h 80556"/>
                  <a:gd name="connsiteX8" fmla="*/ 41754 w 83103"/>
                  <a:gd name="connsiteY8" fmla="*/ 18184 h 80556"/>
                  <a:gd name="connsiteX9" fmla="*/ 28707 w 83103"/>
                  <a:gd name="connsiteY9" fmla="*/ 23946 h 80556"/>
                  <a:gd name="connsiteX10" fmla="*/ 24058 w 83103"/>
                  <a:gd name="connsiteY10" fmla="*/ 40279 h 80556"/>
                  <a:gd name="connsiteX11" fmla="*/ 41897 w 83103"/>
                  <a:gd name="connsiteY11" fmla="*/ 62363 h 80556"/>
                  <a:gd name="connsiteX12" fmla="*/ 58914 w 83103"/>
                  <a:gd name="connsiteY12" fmla="*/ 39677 h 80556"/>
                  <a:gd name="connsiteX13" fmla="*/ 41754 w 83103"/>
                  <a:gd name="connsiteY13" fmla="*/ 18217 h 8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3" h="80556">
                    <a:moveTo>
                      <a:pt x="41151" y="80493"/>
                    </a:moveTo>
                    <a:cubicBezTo>
                      <a:pt x="30056" y="81107"/>
                      <a:pt x="19180" y="77240"/>
                      <a:pt x="10977" y="69747"/>
                    </a:cubicBezTo>
                    <a:cubicBezTo>
                      <a:pt x="-3817" y="52822"/>
                      <a:pt x="-3637" y="27528"/>
                      <a:pt x="11394" y="10812"/>
                    </a:cubicBezTo>
                    <a:cubicBezTo>
                      <a:pt x="19854" y="3330"/>
                      <a:pt x="30920" y="-526"/>
                      <a:pt x="42204" y="65"/>
                    </a:cubicBezTo>
                    <a:cubicBezTo>
                      <a:pt x="53242" y="-559"/>
                      <a:pt x="64060" y="3319"/>
                      <a:pt x="72181" y="10812"/>
                    </a:cubicBezTo>
                    <a:cubicBezTo>
                      <a:pt x="79582" y="18370"/>
                      <a:pt x="83518" y="28656"/>
                      <a:pt x="83046" y="39228"/>
                    </a:cubicBezTo>
                    <a:cubicBezTo>
                      <a:pt x="83638" y="50401"/>
                      <a:pt x="79582" y="61323"/>
                      <a:pt x="71841" y="69407"/>
                    </a:cubicBezTo>
                    <a:cubicBezTo>
                      <a:pt x="63542" y="77108"/>
                      <a:pt x="52463" y="81117"/>
                      <a:pt x="41151" y="80493"/>
                    </a:cubicBezTo>
                    <a:close/>
                    <a:moveTo>
                      <a:pt x="41754" y="18184"/>
                    </a:moveTo>
                    <a:cubicBezTo>
                      <a:pt x="36735" y="17921"/>
                      <a:pt x="31891" y="20057"/>
                      <a:pt x="28707" y="23946"/>
                    </a:cubicBezTo>
                    <a:cubicBezTo>
                      <a:pt x="25330" y="28700"/>
                      <a:pt x="23689" y="34462"/>
                      <a:pt x="24058" y="40279"/>
                    </a:cubicBezTo>
                    <a:cubicBezTo>
                      <a:pt x="24058" y="55002"/>
                      <a:pt x="30004" y="62363"/>
                      <a:pt x="41897" y="62363"/>
                    </a:cubicBezTo>
                    <a:cubicBezTo>
                      <a:pt x="53248" y="62363"/>
                      <a:pt x="58921" y="54805"/>
                      <a:pt x="58914" y="39677"/>
                    </a:cubicBezTo>
                    <a:cubicBezTo>
                      <a:pt x="58914" y="25370"/>
                      <a:pt x="53194" y="18217"/>
                      <a:pt x="41754" y="18217"/>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4" name="Freeform: Shape 83">
                <a:extLst>
                  <a:ext uri="{FF2B5EF4-FFF2-40B4-BE49-F238E27FC236}">
                    <a16:creationId xmlns:a16="http://schemas.microsoft.com/office/drawing/2014/main" id="{69C76942-240E-6D62-5065-B82F0BE08DA1}"/>
                  </a:ext>
                </a:extLst>
              </p:cNvPr>
              <p:cNvSpPr/>
              <p:nvPr/>
            </p:nvSpPr>
            <p:spPr>
              <a:xfrm>
                <a:off x="1995556" y="3976341"/>
                <a:ext cx="74119" cy="78569"/>
              </a:xfrm>
              <a:custGeom>
                <a:avLst/>
                <a:gdLst>
                  <a:gd name="connsiteX0" fmla="*/ 74119 w 74119"/>
                  <a:gd name="connsiteY0" fmla="*/ 78570 h 78569"/>
                  <a:gd name="connsiteX1" fmla="*/ 50513 w 74119"/>
                  <a:gd name="connsiteY1" fmla="*/ 78570 h 78569"/>
                  <a:gd name="connsiteX2" fmla="*/ 50513 w 74119"/>
                  <a:gd name="connsiteY2" fmla="*/ 35957 h 78569"/>
                  <a:gd name="connsiteX3" fmla="*/ 37772 w 74119"/>
                  <a:gd name="connsiteY3" fmla="*/ 18134 h 78569"/>
                  <a:gd name="connsiteX4" fmla="*/ 27652 w 74119"/>
                  <a:gd name="connsiteY4" fmla="*/ 22855 h 78569"/>
                  <a:gd name="connsiteX5" fmla="*/ 23683 w 74119"/>
                  <a:gd name="connsiteY5" fmla="*/ 34839 h 78569"/>
                  <a:gd name="connsiteX6" fmla="*/ 23683 w 74119"/>
                  <a:gd name="connsiteY6" fmla="*/ 78570 h 78569"/>
                  <a:gd name="connsiteX7" fmla="*/ 0 w 74119"/>
                  <a:gd name="connsiteY7" fmla="*/ 78570 h 78569"/>
                  <a:gd name="connsiteX8" fmla="*/ 0 w 74119"/>
                  <a:gd name="connsiteY8" fmla="*/ 1888 h 78569"/>
                  <a:gd name="connsiteX9" fmla="*/ 23683 w 74119"/>
                  <a:gd name="connsiteY9" fmla="*/ 1888 h 78569"/>
                  <a:gd name="connsiteX10" fmla="*/ 23683 w 74119"/>
                  <a:gd name="connsiteY10" fmla="*/ 14015 h 78569"/>
                  <a:gd name="connsiteX11" fmla="*/ 23979 w 74119"/>
                  <a:gd name="connsiteY11" fmla="*/ 14015 h 78569"/>
                  <a:gd name="connsiteX12" fmla="*/ 48638 w 74119"/>
                  <a:gd name="connsiteY12" fmla="*/ 15 h 78569"/>
                  <a:gd name="connsiteX13" fmla="*/ 74119 w 74119"/>
                  <a:gd name="connsiteY13" fmla="*/ 31619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70"/>
                    </a:moveTo>
                    <a:lnTo>
                      <a:pt x="50513" y="78570"/>
                    </a:lnTo>
                    <a:lnTo>
                      <a:pt x="50513" y="35957"/>
                    </a:lnTo>
                    <a:cubicBezTo>
                      <a:pt x="50513" y="24082"/>
                      <a:pt x="46270" y="18145"/>
                      <a:pt x="37772" y="18134"/>
                    </a:cubicBezTo>
                    <a:cubicBezTo>
                      <a:pt x="33847" y="18057"/>
                      <a:pt x="30108" y="19799"/>
                      <a:pt x="27652" y="22855"/>
                    </a:cubicBezTo>
                    <a:cubicBezTo>
                      <a:pt x="24922" y="26240"/>
                      <a:pt x="23508" y="30501"/>
                      <a:pt x="23683" y="34839"/>
                    </a:cubicBezTo>
                    <a:lnTo>
                      <a:pt x="23683" y="78570"/>
                    </a:lnTo>
                    <a:lnTo>
                      <a:pt x="0" y="78570"/>
                    </a:lnTo>
                    <a:lnTo>
                      <a:pt x="0" y="1888"/>
                    </a:lnTo>
                    <a:lnTo>
                      <a:pt x="23683" y="1888"/>
                    </a:lnTo>
                    <a:lnTo>
                      <a:pt x="23683" y="14015"/>
                    </a:lnTo>
                    <a:lnTo>
                      <a:pt x="23979" y="14015"/>
                    </a:lnTo>
                    <a:cubicBezTo>
                      <a:pt x="28913" y="5087"/>
                      <a:pt x="38441" y="-324"/>
                      <a:pt x="48638" y="15"/>
                    </a:cubicBezTo>
                    <a:cubicBezTo>
                      <a:pt x="65622" y="15"/>
                      <a:pt x="74108" y="10553"/>
                      <a:pt x="74119" y="3161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5" name="Freeform: Shape 84">
                <a:extLst>
                  <a:ext uri="{FF2B5EF4-FFF2-40B4-BE49-F238E27FC236}">
                    <a16:creationId xmlns:a16="http://schemas.microsoft.com/office/drawing/2014/main" id="{3E9CE9D8-C2BF-37FC-2782-3C12313074AD}"/>
                  </a:ext>
                </a:extLst>
              </p:cNvPr>
              <p:cNvSpPr/>
              <p:nvPr/>
            </p:nvSpPr>
            <p:spPr>
              <a:xfrm>
                <a:off x="2084688" y="3976323"/>
                <a:ext cx="58943" cy="80400"/>
              </a:xfrm>
              <a:custGeom>
                <a:avLst/>
                <a:gdLst>
                  <a:gd name="connsiteX0" fmla="*/ 19 w 58943"/>
                  <a:gd name="connsiteY0" fmla="*/ 76561 h 80400"/>
                  <a:gd name="connsiteX1" fmla="*/ 19 w 58943"/>
                  <a:gd name="connsiteY1" fmla="*/ 57391 h 80400"/>
                  <a:gd name="connsiteX2" fmla="*/ 11674 w 58943"/>
                  <a:gd name="connsiteY2" fmla="*/ 62638 h 80400"/>
                  <a:gd name="connsiteX3" fmla="*/ 22639 w 58943"/>
                  <a:gd name="connsiteY3" fmla="*/ 64358 h 80400"/>
                  <a:gd name="connsiteX4" fmla="*/ 32573 w 58943"/>
                  <a:gd name="connsiteY4" fmla="*/ 62638 h 80400"/>
                  <a:gd name="connsiteX5" fmla="*/ 36213 w 58943"/>
                  <a:gd name="connsiteY5" fmla="*/ 57391 h 80400"/>
                  <a:gd name="connsiteX6" fmla="*/ 34557 w 58943"/>
                  <a:gd name="connsiteY6" fmla="*/ 53644 h 80400"/>
                  <a:gd name="connsiteX7" fmla="*/ 30325 w 58943"/>
                  <a:gd name="connsiteY7" fmla="*/ 51026 h 80400"/>
                  <a:gd name="connsiteX8" fmla="*/ 24667 w 58943"/>
                  <a:gd name="connsiteY8" fmla="*/ 49010 h 80400"/>
                  <a:gd name="connsiteX9" fmla="*/ 18746 w 58943"/>
                  <a:gd name="connsiteY9" fmla="*/ 46984 h 80400"/>
                  <a:gd name="connsiteX10" fmla="*/ 10688 w 58943"/>
                  <a:gd name="connsiteY10" fmla="*/ 43281 h 80400"/>
                  <a:gd name="connsiteX11" fmla="*/ 4844 w 58943"/>
                  <a:gd name="connsiteY11" fmla="*/ 38669 h 80400"/>
                  <a:gd name="connsiteX12" fmla="*/ 1247 w 58943"/>
                  <a:gd name="connsiteY12" fmla="*/ 32601 h 80400"/>
                  <a:gd name="connsiteX13" fmla="*/ 8 w 58943"/>
                  <a:gd name="connsiteY13" fmla="*/ 24440 h 80400"/>
                  <a:gd name="connsiteX14" fmla="*/ 2815 w 58943"/>
                  <a:gd name="connsiteY14" fmla="*/ 13365 h 80400"/>
                  <a:gd name="connsiteX15" fmla="*/ 10315 w 58943"/>
                  <a:gd name="connsiteY15" fmla="*/ 5762 h 80400"/>
                  <a:gd name="connsiteX16" fmla="*/ 21027 w 58943"/>
                  <a:gd name="connsiteY16" fmla="*/ 1380 h 80400"/>
                  <a:gd name="connsiteX17" fmla="*/ 33581 w 58943"/>
                  <a:gd name="connsiteY17" fmla="*/ 0 h 80400"/>
                  <a:gd name="connsiteX18" fmla="*/ 43932 w 58943"/>
                  <a:gd name="connsiteY18" fmla="*/ 789 h 80400"/>
                  <a:gd name="connsiteX19" fmla="*/ 54271 w 58943"/>
                  <a:gd name="connsiteY19" fmla="*/ 3067 h 80400"/>
                  <a:gd name="connsiteX20" fmla="*/ 54271 w 58943"/>
                  <a:gd name="connsiteY20" fmla="*/ 21339 h 80400"/>
                  <a:gd name="connsiteX21" fmla="*/ 44644 w 58943"/>
                  <a:gd name="connsiteY21" fmla="*/ 17407 h 80400"/>
                  <a:gd name="connsiteX22" fmla="*/ 34557 w 58943"/>
                  <a:gd name="connsiteY22" fmla="*/ 16103 h 80400"/>
                  <a:gd name="connsiteX23" fmla="*/ 30171 w 58943"/>
                  <a:gd name="connsiteY23" fmla="*/ 16509 h 80400"/>
                  <a:gd name="connsiteX24" fmla="*/ 26542 w 58943"/>
                  <a:gd name="connsiteY24" fmla="*/ 17714 h 80400"/>
                  <a:gd name="connsiteX25" fmla="*/ 24064 w 58943"/>
                  <a:gd name="connsiteY25" fmla="*/ 19729 h 80400"/>
                  <a:gd name="connsiteX26" fmla="*/ 23165 w 58943"/>
                  <a:gd name="connsiteY26" fmla="*/ 22533 h 80400"/>
                  <a:gd name="connsiteX27" fmla="*/ 24514 w 58943"/>
                  <a:gd name="connsiteY27" fmla="*/ 26138 h 80400"/>
                  <a:gd name="connsiteX28" fmla="*/ 28033 w 58943"/>
                  <a:gd name="connsiteY28" fmla="*/ 28712 h 80400"/>
                  <a:gd name="connsiteX29" fmla="*/ 32869 w 58943"/>
                  <a:gd name="connsiteY29" fmla="*/ 30662 h 80400"/>
                  <a:gd name="connsiteX30" fmla="*/ 38153 w 58943"/>
                  <a:gd name="connsiteY30" fmla="*/ 32425 h 80400"/>
                  <a:gd name="connsiteX31" fmla="*/ 46706 w 58943"/>
                  <a:gd name="connsiteY31" fmla="*/ 36018 h 80400"/>
                  <a:gd name="connsiteX32" fmla="*/ 53284 w 58943"/>
                  <a:gd name="connsiteY32" fmla="*/ 40587 h 80400"/>
                  <a:gd name="connsiteX33" fmla="*/ 57484 w 58943"/>
                  <a:gd name="connsiteY33" fmla="*/ 46721 h 80400"/>
                  <a:gd name="connsiteX34" fmla="*/ 55982 w 58943"/>
                  <a:gd name="connsiteY34" fmla="*/ 66757 h 80400"/>
                  <a:gd name="connsiteX35" fmla="*/ 48109 w 58943"/>
                  <a:gd name="connsiteY35" fmla="*/ 74622 h 80400"/>
                  <a:gd name="connsiteX36" fmla="*/ 36794 w 58943"/>
                  <a:gd name="connsiteY36" fmla="*/ 79004 h 80400"/>
                  <a:gd name="connsiteX37" fmla="*/ 23483 w 58943"/>
                  <a:gd name="connsiteY37" fmla="*/ 80395 h 80400"/>
                  <a:gd name="connsiteX38" fmla="*/ 19 w 58943"/>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3" h="80400">
                    <a:moveTo>
                      <a:pt x="19" y="76561"/>
                    </a:moveTo>
                    <a:lnTo>
                      <a:pt x="19" y="57391"/>
                    </a:lnTo>
                    <a:cubicBezTo>
                      <a:pt x="3659" y="59625"/>
                      <a:pt x="7585" y="61389"/>
                      <a:pt x="11674" y="62638"/>
                    </a:cubicBezTo>
                    <a:cubicBezTo>
                      <a:pt x="15227" y="63733"/>
                      <a:pt x="18922" y="64314"/>
                      <a:pt x="22639" y="64358"/>
                    </a:cubicBezTo>
                    <a:cubicBezTo>
                      <a:pt x="26038" y="64511"/>
                      <a:pt x="29426" y="63919"/>
                      <a:pt x="32573" y="62638"/>
                    </a:cubicBezTo>
                    <a:cubicBezTo>
                      <a:pt x="34765" y="61827"/>
                      <a:pt x="36224" y="59735"/>
                      <a:pt x="36213" y="57391"/>
                    </a:cubicBezTo>
                    <a:cubicBezTo>
                      <a:pt x="36235" y="55956"/>
                      <a:pt x="35632" y="54586"/>
                      <a:pt x="34557" y="53644"/>
                    </a:cubicBezTo>
                    <a:cubicBezTo>
                      <a:pt x="33296" y="52549"/>
                      <a:pt x="31871" y="51662"/>
                      <a:pt x="30325" y="51026"/>
                    </a:cubicBezTo>
                    <a:cubicBezTo>
                      <a:pt x="28483" y="50237"/>
                      <a:pt x="26597" y="49558"/>
                      <a:pt x="24667" y="49010"/>
                    </a:cubicBezTo>
                    <a:cubicBezTo>
                      <a:pt x="22617" y="48408"/>
                      <a:pt x="20643" y="47740"/>
                      <a:pt x="18746" y="46984"/>
                    </a:cubicBezTo>
                    <a:cubicBezTo>
                      <a:pt x="15972" y="45954"/>
                      <a:pt x="13275" y="44716"/>
                      <a:pt x="10688" y="43281"/>
                    </a:cubicBezTo>
                    <a:cubicBezTo>
                      <a:pt x="8506" y="42065"/>
                      <a:pt x="6532" y="40510"/>
                      <a:pt x="4844" y="38669"/>
                    </a:cubicBezTo>
                    <a:cubicBezTo>
                      <a:pt x="3254" y="36906"/>
                      <a:pt x="2037" y="34835"/>
                      <a:pt x="1247" y="32601"/>
                    </a:cubicBezTo>
                    <a:cubicBezTo>
                      <a:pt x="370" y="29972"/>
                      <a:pt x="-57" y="27211"/>
                      <a:pt x="8" y="24440"/>
                    </a:cubicBezTo>
                    <a:cubicBezTo>
                      <a:pt x="-101" y="20562"/>
                      <a:pt x="875" y="16728"/>
                      <a:pt x="2815" y="13365"/>
                    </a:cubicBezTo>
                    <a:cubicBezTo>
                      <a:pt x="4679" y="10276"/>
                      <a:pt x="7256" y="7668"/>
                      <a:pt x="10315" y="5762"/>
                    </a:cubicBezTo>
                    <a:cubicBezTo>
                      <a:pt x="13615" y="3703"/>
                      <a:pt x="17233" y="2224"/>
                      <a:pt x="21027" y="1380"/>
                    </a:cubicBezTo>
                    <a:cubicBezTo>
                      <a:pt x="25150" y="449"/>
                      <a:pt x="29360" y="-11"/>
                      <a:pt x="33581" y="0"/>
                    </a:cubicBezTo>
                    <a:cubicBezTo>
                      <a:pt x="37046" y="0"/>
                      <a:pt x="40511" y="274"/>
                      <a:pt x="43932" y="789"/>
                    </a:cubicBezTo>
                    <a:cubicBezTo>
                      <a:pt x="47429" y="1304"/>
                      <a:pt x="50883" y="2071"/>
                      <a:pt x="54271" y="3067"/>
                    </a:cubicBezTo>
                    <a:lnTo>
                      <a:pt x="54271" y="21339"/>
                    </a:lnTo>
                    <a:cubicBezTo>
                      <a:pt x="51267" y="19587"/>
                      <a:pt x="48021" y="18261"/>
                      <a:pt x="44644" y="17407"/>
                    </a:cubicBezTo>
                    <a:cubicBezTo>
                      <a:pt x="41344" y="16552"/>
                      <a:pt x="37956" y="16114"/>
                      <a:pt x="34557" y="16103"/>
                    </a:cubicBezTo>
                    <a:cubicBezTo>
                      <a:pt x="33088" y="16092"/>
                      <a:pt x="31619" y="16235"/>
                      <a:pt x="30171" y="16509"/>
                    </a:cubicBezTo>
                    <a:cubicBezTo>
                      <a:pt x="28910" y="16749"/>
                      <a:pt x="27693" y="17155"/>
                      <a:pt x="26542" y="17714"/>
                    </a:cubicBezTo>
                    <a:cubicBezTo>
                      <a:pt x="25566" y="18174"/>
                      <a:pt x="24711" y="18864"/>
                      <a:pt x="24064" y="19729"/>
                    </a:cubicBezTo>
                    <a:cubicBezTo>
                      <a:pt x="23472" y="20540"/>
                      <a:pt x="23154" y="21526"/>
                      <a:pt x="23165" y="22533"/>
                    </a:cubicBezTo>
                    <a:cubicBezTo>
                      <a:pt x="23143" y="23859"/>
                      <a:pt x="23626" y="25152"/>
                      <a:pt x="24514" y="26138"/>
                    </a:cubicBezTo>
                    <a:cubicBezTo>
                      <a:pt x="25512" y="27211"/>
                      <a:pt x="26707" y="28077"/>
                      <a:pt x="28033" y="28712"/>
                    </a:cubicBezTo>
                    <a:cubicBezTo>
                      <a:pt x="29590" y="29479"/>
                      <a:pt x="31213" y="30136"/>
                      <a:pt x="32869" y="30662"/>
                    </a:cubicBezTo>
                    <a:cubicBezTo>
                      <a:pt x="34645" y="31231"/>
                      <a:pt x="36410" y="31823"/>
                      <a:pt x="38153" y="32425"/>
                    </a:cubicBezTo>
                    <a:cubicBezTo>
                      <a:pt x="41081" y="33422"/>
                      <a:pt x="43943" y="34627"/>
                      <a:pt x="46706" y="36018"/>
                    </a:cubicBezTo>
                    <a:cubicBezTo>
                      <a:pt x="49107" y="37213"/>
                      <a:pt x="51322" y="38757"/>
                      <a:pt x="53284" y="40587"/>
                    </a:cubicBezTo>
                    <a:cubicBezTo>
                      <a:pt x="55093" y="42317"/>
                      <a:pt x="56530" y="44410"/>
                      <a:pt x="57484" y="46721"/>
                    </a:cubicBezTo>
                    <a:cubicBezTo>
                      <a:pt x="59863" y="53305"/>
                      <a:pt x="59315" y="60600"/>
                      <a:pt x="55982" y="66757"/>
                    </a:cubicBezTo>
                    <a:cubicBezTo>
                      <a:pt x="54019" y="69966"/>
                      <a:pt x="51322" y="72661"/>
                      <a:pt x="48109" y="74622"/>
                    </a:cubicBezTo>
                    <a:cubicBezTo>
                      <a:pt x="44611" y="76714"/>
                      <a:pt x="40785" y="78193"/>
                      <a:pt x="36794" y="79004"/>
                    </a:cubicBezTo>
                    <a:cubicBezTo>
                      <a:pt x="32419" y="79946"/>
                      <a:pt x="27957" y="80406"/>
                      <a:pt x="23483" y="80395"/>
                    </a:cubicBezTo>
                    <a:cubicBezTo>
                      <a:pt x="15501" y="80494"/>
                      <a:pt x="7552" y="79190"/>
                      <a:pt x="19"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6" name="Freeform: Shape 85">
                <a:extLst>
                  <a:ext uri="{FF2B5EF4-FFF2-40B4-BE49-F238E27FC236}">
                    <a16:creationId xmlns:a16="http://schemas.microsoft.com/office/drawing/2014/main" id="{9B607DD5-7CD1-CF21-8C0A-0F5E89C62504}"/>
                  </a:ext>
                </a:extLst>
              </p:cNvPr>
              <p:cNvSpPr/>
              <p:nvPr/>
            </p:nvSpPr>
            <p:spPr>
              <a:xfrm>
                <a:off x="2155862" y="3941732"/>
                <a:ext cx="27300" cy="113178"/>
              </a:xfrm>
              <a:custGeom>
                <a:avLst/>
                <a:gdLst>
                  <a:gd name="connsiteX0" fmla="*/ 13699 w 27300"/>
                  <a:gd name="connsiteY0" fmla="*/ 24360 h 113178"/>
                  <a:gd name="connsiteX1" fmla="*/ 3831 w 27300"/>
                  <a:gd name="connsiteY1" fmla="*/ 20811 h 113178"/>
                  <a:gd name="connsiteX2" fmla="*/ 5 w 27300"/>
                  <a:gd name="connsiteY2" fmla="*/ 12047 h 113178"/>
                  <a:gd name="connsiteX3" fmla="*/ 3831 w 27300"/>
                  <a:gd name="connsiteY3" fmla="*/ 3360 h 113178"/>
                  <a:gd name="connsiteX4" fmla="*/ 23502 w 27300"/>
                  <a:gd name="connsiteY4" fmla="*/ 3360 h 113178"/>
                  <a:gd name="connsiteX5" fmla="*/ 27295 w 27300"/>
                  <a:gd name="connsiteY5" fmla="*/ 12047 h 113178"/>
                  <a:gd name="connsiteX6" fmla="*/ 23502 w 27300"/>
                  <a:gd name="connsiteY6" fmla="*/ 20887 h 113178"/>
                  <a:gd name="connsiteX7" fmla="*/ 13699 w 27300"/>
                  <a:gd name="connsiteY7" fmla="*/ 24360 h 113178"/>
                  <a:gd name="connsiteX8" fmla="*/ 25387 w 27300"/>
                  <a:gd name="connsiteY8" fmla="*/ 113179 h 113178"/>
                  <a:gd name="connsiteX9" fmla="*/ 1704 w 27300"/>
                  <a:gd name="connsiteY9" fmla="*/ 113179 h 113178"/>
                  <a:gd name="connsiteX10" fmla="*/ 1704 w 27300"/>
                  <a:gd name="connsiteY10" fmla="*/ 36498 h 113178"/>
                  <a:gd name="connsiteX11" fmla="*/ 25387 w 27300"/>
                  <a:gd name="connsiteY11" fmla="*/ 36498 h 11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0" h="113178">
                    <a:moveTo>
                      <a:pt x="13699" y="24360"/>
                    </a:moveTo>
                    <a:cubicBezTo>
                      <a:pt x="10070" y="24513"/>
                      <a:pt x="6529" y="23243"/>
                      <a:pt x="3831" y="20811"/>
                    </a:cubicBezTo>
                    <a:cubicBezTo>
                      <a:pt x="1343" y="18587"/>
                      <a:pt x="-50" y="15388"/>
                      <a:pt x="5" y="12047"/>
                    </a:cubicBezTo>
                    <a:cubicBezTo>
                      <a:pt x="-94" y="8728"/>
                      <a:pt x="1310" y="5529"/>
                      <a:pt x="3831" y="3360"/>
                    </a:cubicBezTo>
                    <a:cubicBezTo>
                      <a:pt x="9621" y="-1120"/>
                      <a:pt x="17712" y="-1120"/>
                      <a:pt x="23502" y="3360"/>
                    </a:cubicBezTo>
                    <a:cubicBezTo>
                      <a:pt x="26001" y="5540"/>
                      <a:pt x="27394" y="8728"/>
                      <a:pt x="27295" y="12047"/>
                    </a:cubicBezTo>
                    <a:cubicBezTo>
                      <a:pt x="27394" y="15410"/>
                      <a:pt x="26001" y="18642"/>
                      <a:pt x="23502" y="20887"/>
                    </a:cubicBezTo>
                    <a:cubicBezTo>
                      <a:pt x="20793" y="23254"/>
                      <a:pt x="17296" y="24502"/>
                      <a:pt x="13699" y="24360"/>
                    </a:cubicBezTo>
                    <a:close/>
                    <a:moveTo>
                      <a:pt x="25387" y="113179"/>
                    </a:moveTo>
                    <a:lnTo>
                      <a:pt x="1704" y="113179"/>
                    </a:lnTo>
                    <a:lnTo>
                      <a:pt x="1704" y="36498"/>
                    </a:lnTo>
                    <a:lnTo>
                      <a:pt x="25387" y="36498"/>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7" name="Freeform: Shape 86">
                <a:extLst>
                  <a:ext uri="{FF2B5EF4-FFF2-40B4-BE49-F238E27FC236}">
                    <a16:creationId xmlns:a16="http://schemas.microsoft.com/office/drawing/2014/main" id="{ED2673DA-0D3C-C6DB-DB93-A90111E5EF49}"/>
                  </a:ext>
                </a:extLst>
              </p:cNvPr>
              <p:cNvSpPr/>
              <p:nvPr/>
            </p:nvSpPr>
            <p:spPr>
              <a:xfrm>
                <a:off x="2200788" y="3941378"/>
                <a:ext cx="79890" cy="115438"/>
              </a:xfrm>
              <a:custGeom>
                <a:avLst/>
                <a:gdLst>
                  <a:gd name="connsiteX0" fmla="*/ 23979 w 79890"/>
                  <a:gd name="connsiteY0" fmla="*/ 104615 h 115438"/>
                  <a:gd name="connsiteX1" fmla="*/ 23683 w 79890"/>
                  <a:gd name="connsiteY1" fmla="*/ 104615 h 115438"/>
                  <a:gd name="connsiteX2" fmla="*/ 23683 w 79890"/>
                  <a:gd name="connsiteY2" fmla="*/ 113532 h 115438"/>
                  <a:gd name="connsiteX3" fmla="*/ 0 w 79890"/>
                  <a:gd name="connsiteY3" fmla="*/ 113532 h 115438"/>
                  <a:gd name="connsiteX4" fmla="*/ 0 w 79890"/>
                  <a:gd name="connsiteY4" fmla="*/ 0 h 115438"/>
                  <a:gd name="connsiteX5" fmla="*/ 23683 w 79890"/>
                  <a:gd name="connsiteY5" fmla="*/ 0 h 115438"/>
                  <a:gd name="connsiteX6" fmla="*/ 23683 w 79890"/>
                  <a:gd name="connsiteY6" fmla="*/ 48375 h 115438"/>
                  <a:gd name="connsiteX7" fmla="*/ 23979 w 79890"/>
                  <a:gd name="connsiteY7" fmla="*/ 48375 h 115438"/>
                  <a:gd name="connsiteX8" fmla="*/ 48945 w 79890"/>
                  <a:gd name="connsiteY8" fmla="*/ 34978 h 115438"/>
                  <a:gd name="connsiteX9" fmla="*/ 71806 w 79890"/>
                  <a:gd name="connsiteY9" fmla="*/ 45165 h 115438"/>
                  <a:gd name="connsiteX10" fmla="*/ 79821 w 79890"/>
                  <a:gd name="connsiteY10" fmla="*/ 73011 h 115438"/>
                  <a:gd name="connsiteX11" fmla="*/ 70446 w 79890"/>
                  <a:gd name="connsiteY11" fmla="*/ 103794 h 115438"/>
                  <a:gd name="connsiteX12" fmla="*/ 45414 w 79890"/>
                  <a:gd name="connsiteY12" fmla="*/ 115405 h 115438"/>
                  <a:gd name="connsiteX13" fmla="*/ 23979 w 79890"/>
                  <a:gd name="connsiteY13" fmla="*/ 104615 h 115438"/>
                  <a:gd name="connsiteX14" fmla="*/ 23310 w 79890"/>
                  <a:gd name="connsiteY14" fmla="*/ 72267 h 115438"/>
                  <a:gd name="connsiteX15" fmla="*/ 23310 w 79890"/>
                  <a:gd name="connsiteY15" fmla="*/ 80132 h 115438"/>
                  <a:gd name="connsiteX16" fmla="*/ 27575 w 79890"/>
                  <a:gd name="connsiteY16" fmla="*/ 92412 h 115438"/>
                  <a:gd name="connsiteX17" fmla="*/ 38540 w 79890"/>
                  <a:gd name="connsiteY17" fmla="*/ 97276 h 115438"/>
                  <a:gd name="connsiteX18" fmla="*/ 51094 w 79890"/>
                  <a:gd name="connsiteY18" fmla="*/ 91032 h 115438"/>
                  <a:gd name="connsiteX19" fmla="*/ 55557 w 79890"/>
                  <a:gd name="connsiteY19" fmla="*/ 73318 h 115438"/>
                  <a:gd name="connsiteX20" fmla="*/ 51478 w 79890"/>
                  <a:gd name="connsiteY20" fmla="*/ 58453 h 115438"/>
                  <a:gd name="connsiteX21" fmla="*/ 39823 w 79890"/>
                  <a:gd name="connsiteY21" fmla="*/ 53096 h 115438"/>
                  <a:gd name="connsiteX22" fmla="*/ 28014 w 79890"/>
                  <a:gd name="connsiteY22" fmla="*/ 58409 h 115438"/>
                  <a:gd name="connsiteX23" fmla="*/ 23310 w 79890"/>
                  <a:gd name="connsiteY23" fmla="*/ 72267 h 11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890" h="115438">
                    <a:moveTo>
                      <a:pt x="23979" y="104615"/>
                    </a:moveTo>
                    <a:lnTo>
                      <a:pt x="23683" y="104615"/>
                    </a:lnTo>
                    <a:lnTo>
                      <a:pt x="23683" y="113532"/>
                    </a:lnTo>
                    <a:lnTo>
                      <a:pt x="0" y="113532"/>
                    </a:lnTo>
                    <a:lnTo>
                      <a:pt x="0" y="0"/>
                    </a:lnTo>
                    <a:lnTo>
                      <a:pt x="23683" y="0"/>
                    </a:lnTo>
                    <a:lnTo>
                      <a:pt x="23683" y="48375"/>
                    </a:lnTo>
                    <a:lnTo>
                      <a:pt x="23979" y="48375"/>
                    </a:lnTo>
                    <a:cubicBezTo>
                      <a:pt x="29275" y="39743"/>
                      <a:pt x="38814" y="34616"/>
                      <a:pt x="48945" y="34978"/>
                    </a:cubicBezTo>
                    <a:cubicBezTo>
                      <a:pt x="57760" y="34496"/>
                      <a:pt x="66269" y="38286"/>
                      <a:pt x="71806" y="45165"/>
                    </a:cubicBezTo>
                    <a:cubicBezTo>
                      <a:pt x="77551" y="53272"/>
                      <a:pt x="80380" y="63087"/>
                      <a:pt x="79821" y="73011"/>
                    </a:cubicBezTo>
                    <a:cubicBezTo>
                      <a:pt x="80369" y="84054"/>
                      <a:pt x="77058" y="94931"/>
                      <a:pt x="70446" y="103794"/>
                    </a:cubicBezTo>
                    <a:cubicBezTo>
                      <a:pt x="64438" y="111429"/>
                      <a:pt x="55140" y="115745"/>
                      <a:pt x="45414" y="115405"/>
                    </a:cubicBezTo>
                    <a:cubicBezTo>
                      <a:pt x="36862" y="115855"/>
                      <a:pt x="28705" y="111747"/>
                      <a:pt x="23979" y="104615"/>
                    </a:cubicBezTo>
                    <a:close/>
                    <a:moveTo>
                      <a:pt x="23310" y="72267"/>
                    </a:moveTo>
                    <a:lnTo>
                      <a:pt x="23310" y="80132"/>
                    </a:lnTo>
                    <a:cubicBezTo>
                      <a:pt x="23146" y="84612"/>
                      <a:pt x="24670" y="88994"/>
                      <a:pt x="27575" y="92412"/>
                    </a:cubicBezTo>
                    <a:cubicBezTo>
                      <a:pt x="30306" y="95600"/>
                      <a:pt x="34340" y="97396"/>
                      <a:pt x="38540" y="97276"/>
                    </a:cubicBezTo>
                    <a:cubicBezTo>
                      <a:pt x="43518" y="97484"/>
                      <a:pt x="48265" y="95129"/>
                      <a:pt x="51094" y="91032"/>
                    </a:cubicBezTo>
                    <a:cubicBezTo>
                      <a:pt x="54372" y="85730"/>
                      <a:pt x="55929" y="79540"/>
                      <a:pt x="55557" y="73318"/>
                    </a:cubicBezTo>
                    <a:cubicBezTo>
                      <a:pt x="55864" y="68049"/>
                      <a:pt x="54427" y="62824"/>
                      <a:pt x="51478" y="58453"/>
                    </a:cubicBezTo>
                    <a:cubicBezTo>
                      <a:pt x="48715" y="54860"/>
                      <a:pt x="44351" y="52855"/>
                      <a:pt x="39823" y="53096"/>
                    </a:cubicBezTo>
                    <a:cubicBezTo>
                      <a:pt x="35283" y="52998"/>
                      <a:pt x="30952" y="54948"/>
                      <a:pt x="28014" y="58409"/>
                    </a:cubicBezTo>
                    <a:cubicBezTo>
                      <a:pt x="24769" y="62276"/>
                      <a:pt x="23091" y="67228"/>
                      <a:pt x="23310" y="72267"/>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8" name="Freeform: Shape 87">
                <a:extLst>
                  <a:ext uri="{FF2B5EF4-FFF2-40B4-BE49-F238E27FC236}">
                    <a16:creationId xmlns:a16="http://schemas.microsoft.com/office/drawing/2014/main" id="{9723FF56-FA50-526F-8848-6FB203F7AEDE}"/>
                  </a:ext>
                </a:extLst>
              </p:cNvPr>
              <p:cNvSpPr/>
              <p:nvPr/>
            </p:nvSpPr>
            <p:spPr>
              <a:xfrm>
                <a:off x="2294265" y="3941732"/>
                <a:ext cx="27289" cy="113178"/>
              </a:xfrm>
              <a:custGeom>
                <a:avLst/>
                <a:gdLst>
                  <a:gd name="connsiteX0" fmla="*/ 13699 w 27289"/>
                  <a:gd name="connsiteY0" fmla="*/ 24360 h 113178"/>
                  <a:gd name="connsiteX1" fmla="*/ 3831 w 27289"/>
                  <a:gd name="connsiteY1" fmla="*/ 20811 h 113178"/>
                  <a:gd name="connsiteX2" fmla="*/ 5 w 27289"/>
                  <a:gd name="connsiteY2" fmla="*/ 12047 h 113178"/>
                  <a:gd name="connsiteX3" fmla="*/ 3831 w 27289"/>
                  <a:gd name="connsiteY3" fmla="*/ 3360 h 113178"/>
                  <a:gd name="connsiteX4" fmla="*/ 23501 w 27289"/>
                  <a:gd name="connsiteY4" fmla="*/ 3360 h 113178"/>
                  <a:gd name="connsiteX5" fmla="*/ 27284 w 27289"/>
                  <a:gd name="connsiteY5" fmla="*/ 12047 h 113178"/>
                  <a:gd name="connsiteX6" fmla="*/ 23501 w 27289"/>
                  <a:gd name="connsiteY6" fmla="*/ 20887 h 113178"/>
                  <a:gd name="connsiteX7" fmla="*/ 13699 w 27289"/>
                  <a:gd name="connsiteY7" fmla="*/ 24360 h 113178"/>
                  <a:gd name="connsiteX8" fmla="*/ 25398 w 27289"/>
                  <a:gd name="connsiteY8" fmla="*/ 113179 h 113178"/>
                  <a:gd name="connsiteX9" fmla="*/ 1704 w 27289"/>
                  <a:gd name="connsiteY9" fmla="*/ 113179 h 113178"/>
                  <a:gd name="connsiteX10" fmla="*/ 1704 w 27289"/>
                  <a:gd name="connsiteY10" fmla="*/ 36498 h 113178"/>
                  <a:gd name="connsiteX11" fmla="*/ 25398 w 27289"/>
                  <a:gd name="connsiteY11" fmla="*/ 36498 h 11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78">
                    <a:moveTo>
                      <a:pt x="13699" y="24360"/>
                    </a:moveTo>
                    <a:cubicBezTo>
                      <a:pt x="10070" y="24513"/>
                      <a:pt x="6529" y="23243"/>
                      <a:pt x="3831" y="20811"/>
                    </a:cubicBezTo>
                    <a:cubicBezTo>
                      <a:pt x="1342" y="18587"/>
                      <a:pt x="-61" y="15388"/>
                      <a:pt x="5" y="12047"/>
                    </a:cubicBezTo>
                    <a:cubicBezTo>
                      <a:pt x="-94" y="8728"/>
                      <a:pt x="1310" y="5529"/>
                      <a:pt x="3831" y="3360"/>
                    </a:cubicBezTo>
                    <a:cubicBezTo>
                      <a:pt x="9621" y="-1120"/>
                      <a:pt x="17712" y="-1120"/>
                      <a:pt x="23501" y="3360"/>
                    </a:cubicBezTo>
                    <a:cubicBezTo>
                      <a:pt x="26001" y="5540"/>
                      <a:pt x="27383" y="8728"/>
                      <a:pt x="27284" y="12047"/>
                    </a:cubicBezTo>
                    <a:cubicBezTo>
                      <a:pt x="27383" y="15410"/>
                      <a:pt x="26001" y="18642"/>
                      <a:pt x="23501" y="20887"/>
                    </a:cubicBezTo>
                    <a:cubicBezTo>
                      <a:pt x="20793" y="23254"/>
                      <a:pt x="17296" y="24492"/>
                      <a:pt x="13699" y="24360"/>
                    </a:cubicBezTo>
                    <a:close/>
                    <a:moveTo>
                      <a:pt x="25398" y="113179"/>
                    </a:moveTo>
                    <a:lnTo>
                      <a:pt x="1704" y="113179"/>
                    </a:lnTo>
                    <a:lnTo>
                      <a:pt x="1704" y="36498"/>
                    </a:lnTo>
                    <a:lnTo>
                      <a:pt x="25398" y="36498"/>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89" name="Freeform: Shape 88">
                <a:extLst>
                  <a:ext uri="{FF2B5EF4-FFF2-40B4-BE49-F238E27FC236}">
                    <a16:creationId xmlns:a16="http://schemas.microsoft.com/office/drawing/2014/main" id="{2F53D80F-9030-D649-6058-63F3BB6B0014}"/>
                  </a:ext>
                </a:extLst>
              </p:cNvPr>
              <p:cNvSpPr/>
              <p:nvPr/>
            </p:nvSpPr>
            <p:spPr>
              <a:xfrm>
                <a:off x="2339126" y="3941378"/>
                <a:ext cx="23682" cy="113532"/>
              </a:xfrm>
              <a:custGeom>
                <a:avLst/>
                <a:gdLst>
                  <a:gd name="connsiteX0" fmla="*/ 23683 w 23682"/>
                  <a:gd name="connsiteY0" fmla="*/ 113532 h 113532"/>
                  <a:gd name="connsiteX1" fmla="*/ 0 w 23682"/>
                  <a:gd name="connsiteY1" fmla="*/ 113532 h 113532"/>
                  <a:gd name="connsiteX2" fmla="*/ 0 w 23682"/>
                  <a:gd name="connsiteY2" fmla="*/ 0 h 113532"/>
                  <a:gd name="connsiteX3" fmla="*/ 23683 w 23682"/>
                  <a:gd name="connsiteY3" fmla="*/ 0 h 113532"/>
                </a:gdLst>
                <a:ahLst/>
                <a:cxnLst>
                  <a:cxn ang="0">
                    <a:pos x="connsiteX0" y="connsiteY0"/>
                  </a:cxn>
                  <a:cxn ang="0">
                    <a:pos x="connsiteX1" y="connsiteY1"/>
                  </a:cxn>
                  <a:cxn ang="0">
                    <a:pos x="connsiteX2" y="connsiteY2"/>
                  </a:cxn>
                  <a:cxn ang="0">
                    <a:pos x="connsiteX3" y="connsiteY3"/>
                  </a:cxn>
                </a:cxnLst>
                <a:rect l="l" t="t" r="r" b="b"/>
                <a:pathLst>
                  <a:path w="23682" h="113532">
                    <a:moveTo>
                      <a:pt x="23683" y="113532"/>
                    </a:moveTo>
                    <a:lnTo>
                      <a:pt x="0" y="113532"/>
                    </a:lnTo>
                    <a:lnTo>
                      <a:pt x="0" y="0"/>
                    </a:lnTo>
                    <a:lnTo>
                      <a:pt x="23683"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0" name="Freeform: Shape 89">
                <a:extLst>
                  <a:ext uri="{FF2B5EF4-FFF2-40B4-BE49-F238E27FC236}">
                    <a16:creationId xmlns:a16="http://schemas.microsoft.com/office/drawing/2014/main" id="{4BBEF4D3-8A75-849C-492D-190B535D9BCD}"/>
                  </a:ext>
                </a:extLst>
              </p:cNvPr>
              <p:cNvSpPr/>
              <p:nvPr/>
            </p:nvSpPr>
            <p:spPr>
              <a:xfrm>
                <a:off x="2380533" y="3941732"/>
                <a:ext cx="27289" cy="113178"/>
              </a:xfrm>
              <a:custGeom>
                <a:avLst/>
                <a:gdLst>
                  <a:gd name="connsiteX0" fmla="*/ 13688 w 27289"/>
                  <a:gd name="connsiteY0" fmla="*/ 24360 h 113178"/>
                  <a:gd name="connsiteX1" fmla="*/ 3821 w 27289"/>
                  <a:gd name="connsiteY1" fmla="*/ 20811 h 113178"/>
                  <a:gd name="connsiteX2" fmla="*/ 5 w 27289"/>
                  <a:gd name="connsiteY2" fmla="*/ 12047 h 113178"/>
                  <a:gd name="connsiteX3" fmla="*/ 3821 w 27289"/>
                  <a:gd name="connsiteY3" fmla="*/ 3360 h 113178"/>
                  <a:gd name="connsiteX4" fmla="*/ 23502 w 27289"/>
                  <a:gd name="connsiteY4" fmla="*/ 3360 h 113178"/>
                  <a:gd name="connsiteX5" fmla="*/ 27284 w 27289"/>
                  <a:gd name="connsiteY5" fmla="*/ 12047 h 113178"/>
                  <a:gd name="connsiteX6" fmla="*/ 23502 w 27289"/>
                  <a:gd name="connsiteY6" fmla="*/ 20887 h 113178"/>
                  <a:gd name="connsiteX7" fmla="*/ 13688 w 27289"/>
                  <a:gd name="connsiteY7" fmla="*/ 24360 h 113178"/>
                  <a:gd name="connsiteX8" fmla="*/ 25376 w 27289"/>
                  <a:gd name="connsiteY8" fmla="*/ 113179 h 113178"/>
                  <a:gd name="connsiteX9" fmla="*/ 1693 w 27289"/>
                  <a:gd name="connsiteY9" fmla="*/ 113179 h 113178"/>
                  <a:gd name="connsiteX10" fmla="*/ 1693 w 27289"/>
                  <a:gd name="connsiteY10" fmla="*/ 36498 h 113178"/>
                  <a:gd name="connsiteX11" fmla="*/ 25376 w 27289"/>
                  <a:gd name="connsiteY11" fmla="*/ 36498 h 11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78">
                    <a:moveTo>
                      <a:pt x="13688" y="24360"/>
                    </a:moveTo>
                    <a:cubicBezTo>
                      <a:pt x="10059" y="24513"/>
                      <a:pt x="6518" y="23243"/>
                      <a:pt x="3821" y="20811"/>
                    </a:cubicBezTo>
                    <a:cubicBezTo>
                      <a:pt x="1332" y="18587"/>
                      <a:pt x="-61" y="15388"/>
                      <a:pt x="5" y="12047"/>
                    </a:cubicBezTo>
                    <a:cubicBezTo>
                      <a:pt x="-94" y="8728"/>
                      <a:pt x="1310" y="5540"/>
                      <a:pt x="3821" y="3360"/>
                    </a:cubicBezTo>
                    <a:cubicBezTo>
                      <a:pt x="9610" y="-1120"/>
                      <a:pt x="17712" y="-1120"/>
                      <a:pt x="23502" y="3360"/>
                    </a:cubicBezTo>
                    <a:cubicBezTo>
                      <a:pt x="26001" y="5540"/>
                      <a:pt x="27383" y="8728"/>
                      <a:pt x="27284" y="12047"/>
                    </a:cubicBezTo>
                    <a:cubicBezTo>
                      <a:pt x="27383" y="15410"/>
                      <a:pt x="26001" y="18642"/>
                      <a:pt x="23502" y="20887"/>
                    </a:cubicBezTo>
                    <a:cubicBezTo>
                      <a:pt x="20793" y="23254"/>
                      <a:pt x="17285" y="24492"/>
                      <a:pt x="13688" y="24360"/>
                    </a:cubicBezTo>
                    <a:close/>
                    <a:moveTo>
                      <a:pt x="25376" y="113179"/>
                    </a:moveTo>
                    <a:lnTo>
                      <a:pt x="1693" y="113179"/>
                    </a:lnTo>
                    <a:lnTo>
                      <a:pt x="1693" y="36498"/>
                    </a:lnTo>
                    <a:lnTo>
                      <a:pt x="25376" y="36498"/>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1" name="Freeform: Shape 90">
                <a:extLst>
                  <a:ext uri="{FF2B5EF4-FFF2-40B4-BE49-F238E27FC236}">
                    <a16:creationId xmlns:a16="http://schemas.microsoft.com/office/drawing/2014/main" id="{2D3ACCDC-E522-E407-C0E1-A6228F21A815}"/>
                  </a:ext>
                </a:extLst>
              </p:cNvPr>
              <p:cNvSpPr/>
              <p:nvPr/>
            </p:nvSpPr>
            <p:spPr>
              <a:xfrm>
                <a:off x="2417751" y="3954907"/>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62 h 101933"/>
                  <a:gd name="connsiteX4" fmla="*/ 0 w 53286"/>
                  <a:gd name="connsiteY4" fmla="*/ 40762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29 h 101933"/>
                  <a:gd name="connsiteX12" fmla="*/ 36051 w 53286"/>
                  <a:gd name="connsiteY12" fmla="*/ 40729 h 101933"/>
                  <a:gd name="connsiteX13" fmla="*/ 36051 w 53286"/>
                  <a:gd name="connsiteY13" fmla="*/ 71741 h 101933"/>
                  <a:gd name="connsiteX14" fmla="*/ 45568 w 53286"/>
                  <a:gd name="connsiteY14" fmla="*/ 83714 h 101933"/>
                  <a:gd name="connsiteX15" fmla="*/ 53243 w 53286"/>
                  <a:gd name="connsiteY15" fmla="*/ 81523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298" y="101241"/>
                      <a:pt x="42893" y="102183"/>
                      <a:pt x="37476" y="101877"/>
                    </a:cubicBezTo>
                    <a:cubicBezTo>
                      <a:pt x="20789" y="101877"/>
                      <a:pt x="12445" y="93212"/>
                      <a:pt x="12445" y="75893"/>
                    </a:cubicBezTo>
                    <a:lnTo>
                      <a:pt x="12445" y="40762"/>
                    </a:lnTo>
                    <a:lnTo>
                      <a:pt x="0" y="40762"/>
                    </a:lnTo>
                    <a:lnTo>
                      <a:pt x="0" y="23322"/>
                    </a:lnTo>
                    <a:lnTo>
                      <a:pt x="12445" y="23322"/>
                    </a:lnTo>
                    <a:lnTo>
                      <a:pt x="12445" y="6737"/>
                    </a:lnTo>
                    <a:lnTo>
                      <a:pt x="36051" y="0"/>
                    </a:lnTo>
                    <a:lnTo>
                      <a:pt x="36051" y="23289"/>
                    </a:lnTo>
                    <a:lnTo>
                      <a:pt x="53287" y="23289"/>
                    </a:lnTo>
                    <a:lnTo>
                      <a:pt x="53287" y="40729"/>
                    </a:lnTo>
                    <a:lnTo>
                      <a:pt x="36051" y="40729"/>
                    </a:lnTo>
                    <a:lnTo>
                      <a:pt x="36051" y="71741"/>
                    </a:lnTo>
                    <a:cubicBezTo>
                      <a:pt x="36051" y="79727"/>
                      <a:pt x="39220" y="83714"/>
                      <a:pt x="45568" y="83714"/>
                    </a:cubicBezTo>
                    <a:cubicBezTo>
                      <a:pt x="48265" y="83637"/>
                      <a:pt x="50908" y="82881"/>
                      <a:pt x="53243" y="815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2" name="Freeform: Shape 91">
                <a:extLst>
                  <a:ext uri="{FF2B5EF4-FFF2-40B4-BE49-F238E27FC236}">
                    <a16:creationId xmlns:a16="http://schemas.microsoft.com/office/drawing/2014/main" id="{9AC80F37-4F75-AFF9-729F-B11AC3E6BA1A}"/>
                  </a:ext>
                </a:extLst>
              </p:cNvPr>
              <p:cNvSpPr/>
              <p:nvPr/>
            </p:nvSpPr>
            <p:spPr>
              <a:xfrm>
                <a:off x="2477880" y="3978218"/>
                <a:ext cx="83340" cy="112729"/>
              </a:xfrm>
              <a:custGeom>
                <a:avLst/>
                <a:gdLst>
                  <a:gd name="connsiteX0" fmla="*/ 83340 w 83340"/>
                  <a:gd name="connsiteY0" fmla="*/ 11 h 112729"/>
                  <a:gd name="connsiteX1" fmla="*/ 52157 w 83340"/>
                  <a:gd name="connsiteY1" fmla="*/ 82827 h 112729"/>
                  <a:gd name="connsiteX2" fmla="*/ 18289 w 83340"/>
                  <a:gd name="connsiteY2" fmla="*/ 112710 h 112729"/>
                  <a:gd name="connsiteX3" fmla="*/ 4123 w 83340"/>
                  <a:gd name="connsiteY3" fmla="*/ 110761 h 112729"/>
                  <a:gd name="connsiteX4" fmla="*/ 4123 w 83340"/>
                  <a:gd name="connsiteY4" fmla="*/ 91875 h 112729"/>
                  <a:gd name="connsiteX5" fmla="*/ 14385 w 83340"/>
                  <a:gd name="connsiteY5" fmla="*/ 94647 h 112729"/>
                  <a:gd name="connsiteX6" fmla="*/ 27126 w 83340"/>
                  <a:gd name="connsiteY6" fmla="*/ 86036 h 112729"/>
                  <a:gd name="connsiteX7" fmla="*/ 31172 w 83340"/>
                  <a:gd name="connsiteY7" fmla="*/ 76528 h 112729"/>
                  <a:gd name="connsiteX8" fmla="*/ 0 w 83340"/>
                  <a:gd name="connsiteY8" fmla="*/ 0 h 112729"/>
                  <a:gd name="connsiteX9" fmla="*/ 26227 w 83340"/>
                  <a:gd name="connsiteY9" fmla="*/ 0 h 112729"/>
                  <a:gd name="connsiteX10" fmla="*/ 40546 w 83340"/>
                  <a:gd name="connsiteY10" fmla="*/ 46655 h 112729"/>
                  <a:gd name="connsiteX11" fmla="*/ 42640 w 83340"/>
                  <a:gd name="connsiteY11" fmla="*/ 56908 h 112729"/>
                  <a:gd name="connsiteX12" fmla="*/ 42947 w 83340"/>
                  <a:gd name="connsiteY12" fmla="*/ 56908 h 112729"/>
                  <a:gd name="connsiteX13" fmla="*/ 45414 w 83340"/>
                  <a:gd name="connsiteY13" fmla="*/ 46797 h 112729"/>
                  <a:gd name="connsiteX14" fmla="*/ 59887 w 83340"/>
                  <a:gd name="connsiteY14" fmla="*/ 0 h 1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40" h="112729">
                    <a:moveTo>
                      <a:pt x="83340" y="11"/>
                    </a:moveTo>
                    <a:lnTo>
                      <a:pt x="52157" y="82827"/>
                    </a:lnTo>
                    <a:cubicBezTo>
                      <a:pt x="44669" y="102753"/>
                      <a:pt x="33387" y="112710"/>
                      <a:pt x="18289" y="112710"/>
                    </a:cubicBezTo>
                    <a:cubicBezTo>
                      <a:pt x="13486" y="112853"/>
                      <a:pt x="8706" y="112196"/>
                      <a:pt x="4123" y="110761"/>
                    </a:cubicBezTo>
                    <a:lnTo>
                      <a:pt x="4123" y="91875"/>
                    </a:lnTo>
                    <a:cubicBezTo>
                      <a:pt x="7225" y="93715"/>
                      <a:pt x="10778" y="94669"/>
                      <a:pt x="14385" y="94647"/>
                    </a:cubicBezTo>
                    <a:cubicBezTo>
                      <a:pt x="20076" y="94920"/>
                      <a:pt x="25262" y="91415"/>
                      <a:pt x="27126" y="86036"/>
                    </a:cubicBezTo>
                    <a:lnTo>
                      <a:pt x="31172" y="76528"/>
                    </a:lnTo>
                    <a:lnTo>
                      <a:pt x="0" y="0"/>
                    </a:lnTo>
                    <a:lnTo>
                      <a:pt x="26227" y="0"/>
                    </a:lnTo>
                    <a:lnTo>
                      <a:pt x="40546" y="46655"/>
                    </a:lnTo>
                    <a:cubicBezTo>
                      <a:pt x="41544" y="50007"/>
                      <a:pt x="42246" y="53436"/>
                      <a:pt x="42640" y="56908"/>
                    </a:cubicBezTo>
                    <a:lnTo>
                      <a:pt x="42947" y="56908"/>
                    </a:lnTo>
                    <a:cubicBezTo>
                      <a:pt x="43529" y="53480"/>
                      <a:pt x="44351" y="50106"/>
                      <a:pt x="45414" y="46797"/>
                    </a:cubicBezTo>
                    <a:lnTo>
                      <a:pt x="59887"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3" name="Freeform: Shape 92">
                <a:extLst>
                  <a:ext uri="{FF2B5EF4-FFF2-40B4-BE49-F238E27FC236}">
                    <a16:creationId xmlns:a16="http://schemas.microsoft.com/office/drawing/2014/main" id="{6A05DD49-3D97-11D9-036C-F7CD9F986C52}"/>
                  </a:ext>
                </a:extLst>
              </p:cNvPr>
              <p:cNvSpPr/>
              <p:nvPr/>
            </p:nvSpPr>
            <p:spPr>
              <a:xfrm>
                <a:off x="1549459" y="4162264"/>
                <a:ext cx="82737" cy="76681"/>
              </a:xfrm>
              <a:custGeom>
                <a:avLst/>
                <a:gdLst>
                  <a:gd name="connsiteX0" fmla="*/ 82737 w 82737"/>
                  <a:gd name="connsiteY0" fmla="*/ 0 h 76681"/>
                  <a:gd name="connsiteX1" fmla="*/ 54230 w 82737"/>
                  <a:gd name="connsiteY1" fmla="*/ 76681 h 76681"/>
                  <a:gd name="connsiteX2" fmla="*/ 27214 w 82737"/>
                  <a:gd name="connsiteY2" fmla="*/ 76681 h 76681"/>
                  <a:gd name="connsiteX3" fmla="*/ 0 w 82737"/>
                  <a:gd name="connsiteY3" fmla="*/ 0 h 76681"/>
                  <a:gd name="connsiteX4" fmla="*/ 25339 w 82737"/>
                  <a:gd name="connsiteY4" fmla="*/ 0 h 76681"/>
                  <a:gd name="connsiteX5" fmla="*/ 38682 w 82737"/>
                  <a:gd name="connsiteY5" fmla="*/ 47247 h 76681"/>
                  <a:gd name="connsiteX6" fmla="*/ 41303 w 82737"/>
                  <a:gd name="connsiteY6" fmla="*/ 60874 h 76681"/>
                  <a:gd name="connsiteX7" fmla="*/ 41599 w 82737"/>
                  <a:gd name="connsiteY7" fmla="*/ 60874 h 76681"/>
                  <a:gd name="connsiteX8" fmla="*/ 44373 w 82737"/>
                  <a:gd name="connsiteY8" fmla="*/ 47729 h 76681"/>
                  <a:gd name="connsiteX9" fmla="*/ 58013 w 82737"/>
                  <a:gd name="connsiteY9" fmla="*/ 33 h 7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737" h="76681">
                    <a:moveTo>
                      <a:pt x="82737" y="0"/>
                    </a:moveTo>
                    <a:lnTo>
                      <a:pt x="54230" y="76681"/>
                    </a:lnTo>
                    <a:lnTo>
                      <a:pt x="27214" y="76681"/>
                    </a:lnTo>
                    <a:lnTo>
                      <a:pt x="0" y="0"/>
                    </a:lnTo>
                    <a:lnTo>
                      <a:pt x="25339" y="0"/>
                    </a:lnTo>
                    <a:lnTo>
                      <a:pt x="38682" y="47247"/>
                    </a:lnTo>
                    <a:cubicBezTo>
                      <a:pt x="40007" y="51694"/>
                      <a:pt x="40885" y="56251"/>
                      <a:pt x="41303" y="60874"/>
                    </a:cubicBezTo>
                    <a:lnTo>
                      <a:pt x="41599" y="60874"/>
                    </a:lnTo>
                    <a:cubicBezTo>
                      <a:pt x="42145" y="56415"/>
                      <a:pt x="43073" y="52023"/>
                      <a:pt x="44373" y="47729"/>
                    </a:cubicBezTo>
                    <a:lnTo>
                      <a:pt x="58013" y="33"/>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4" name="Freeform: Shape 93">
                <a:extLst>
                  <a:ext uri="{FF2B5EF4-FFF2-40B4-BE49-F238E27FC236}">
                    <a16:creationId xmlns:a16="http://schemas.microsoft.com/office/drawing/2014/main" id="{CD462094-3D8C-3072-562B-68812DAFE4E6}"/>
                  </a:ext>
                </a:extLst>
              </p:cNvPr>
              <p:cNvSpPr/>
              <p:nvPr/>
            </p:nvSpPr>
            <p:spPr>
              <a:xfrm>
                <a:off x="1635647" y="4160446"/>
                <a:ext cx="69638" cy="80452"/>
              </a:xfrm>
              <a:custGeom>
                <a:avLst/>
                <a:gdLst>
                  <a:gd name="connsiteX0" fmla="*/ 69550 w 69638"/>
                  <a:gd name="connsiteY0" fmla="*/ 78500 h 80452"/>
                  <a:gd name="connsiteX1" fmla="*/ 47139 w 69638"/>
                  <a:gd name="connsiteY1" fmla="*/ 78500 h 80452"/>
                  <a:gd name="connsiteX2" fmla="*/ 47139 w 69638"/>
                  <a:gd name="connsiteY2" fmla="*/ 67545 h 80452"/>
                  <a:gd name="connsiteX3" fmla="*/ 46832 w 69638"/>
                  <a:gd name="connsiteY3" fmla="*/ 67545 h 80452"/>
                  <a:gd name="connsiteX4" fmla="*/ 23971 w 69638"/>
                  <a:gd name="connsiteY4" fmla="*/ 80417 h 80452"/>
                  <a:gd name="connsiteX5" fmla="*/ 6428 w 69638"/>
                  <a:gd name="connsiteY5" fmla="*/ 74096 h 80452"/>
                  <a:gd name="connsiteX6" fmla="*/ 25 w 69638"/>
                  <a:gd name="connsiteY6" fmla="*/ 57204 h 80452"/>
                  <a:gd name="connsiteX7" fmla="*/ 26482 w 69638"/>
                  <a:gd name="connsiteY7" fmla="*/ 31450 h 80452"/>
                  <a:gd name="connsiteX8" fmla="*/ 47315 w 69638"/>
                  <a:gd name="connsiteY8" fmla="*/ 28679 h 80452"/>
                  <a:gd name="connsiteX9" fmla="*/ 33675 w 69638"/>
                  <a:gd name="connsiteY9" fmla="*/ 16092 h 80452"/>
                  <a:gd name="connsiteX10" fmla="*/ 7591 w 69638"/>
                  <a:gd name="connsiteY10" fmla="*/ 24253 h 80452"/>
                  <a:gd name="connsiteX11" fmla="*/ 7591 w 69638"/>
                  <a:gd name="connsiteY11" fmla="*/ 6441 h 80452"/>
                  <a:gd name="connsiteX12" fmla="*/ 21121 w 69638"/>
                  <a:gd name="connsiteY12" fmla="*/ 1939 h 80452"/>
                  <a:gd name="connsiteX13" fmla="*/ 36745 w 69638"/>
                  <a:gd name="connsiteY13" fmla="*/ 0 h 80452"/>
                  <a:gd name="connsiteX14" fmla="*/ 69638 w 69638"/>
                  <a:gd name="connsiteY14" fmla="*/ 32721 h 80452"/>
                  <a:gd name="connsiteX15" fmla="*/ 47282 w 69638"/>
                  <a:gd name="connsiteY15" fmla="*/ 47345 h 80452"/>
                  <a:gd name="connsiteX16" fmla="*/ 47282 w 69638"/>
                  <a:gd name="connsiteY16" fmla="*/ 42197 h 80452"/>
                  <a:gd name="connsiteX17" fmla="*/ 33346 w 69638"/>
                  <a:gd name="connsiteY17" fmla="*/ 43993 h 80452"/>
                  <a:gd name="connsiteX18" fmla="*/ 21801 w 69638"/>
                  <a:gd name="connsiteY18" fmla="*/ 54400 h 80452"/>
                  <a:gd name="connsiteX19" fmla="*/ 24607 w 69638"/>
                  <a:gd name="connsiteY19" fmla="*/ 61027 h 80452"/>
                  <a:gd name="connsiteX20" fmla="*/ 32217 w 69638"/>
                  <a:gd name="connsiteY20" fmla="*/ 63613 h 80452"/>
                  <a:gd name="connsiteX21" fmla="*/ 43082 w 69638"/>
                  <a:gd name="connsiteY21" fmla="*/ 59012 h 80452"/>
                  <a:gd name="connsiteX22" fmla="*/ 47282 w 69638"/>
                  <a:gd name="connsiteY22" fmla="*/ 47345 h 8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9638" h="80452">
                    <a:moveTo>
                      <a:pt x="69550" y="78500"/>
                    </a:moveTo>
                    <a:lnTo>
                      <a:pt x="47139" y="78500"/>
                    </a:lnTo>
                    <a:lnTo>
                      <a:pt x="47139" y="67545"/>
                    </a:lnTo>
                    <a:lnTo>
                      <a:pt x="46832" y="67545"/>
                    </a:lnTo>
                    <a:cubicBezTo>
                      <a:pt x="42258" y="75805"/>
                      <a:pt x="33414" y="80789"/>
                      <a:pt x="23971" y="80417"/>
                    </a:cubicBezTo>
                    <a:cubicBezTo>
                      <a:pt x="17509" y="80767"/>
                      <a:pt x="11179" y="78489"/>
                      <a:pt x="6428" y="74096"/>
                    </a:cubicBezTo>
                    <a:cubicBezTo>
                      <a:pt x="2047" y="69594"/>
                      <a:pt x="-271" y="63481"/>
                      <a:pt x="25" y="57204"/>
                    </a:cubicBezTo>
                    <a:cubicBezTo>
                      <a:pt x="25" y="42328"/>
                      <a:pt x="8844" y="33740"/>
                      <a:pt x="26482" y="31450"/>
                    </a:cubicBezTo>
                    <a:lnTo>
                      <a:pt x="47315" y="28679"/>
                    </a:lnTo>
                    <a:cubicBezTo>
                      <a:pt x="47315" y="20288"/>
                      <a:pt x="42768" y="16092"/>
                      <a:pt x="33675" y="16092"/>
                    </a:cubicBezTo>
                    <a:cubicBezTo>
                      <a:pt x="24360" y="16147"/>
                      <a:pt x="15275" y="18995"/>
                      <a:pt x="7591" y="24253"/>
                    </a:cubicBezTo>
                    <a:lnTo>
                      <a:pt x="7591" y="6441"/>
                    </a:lnTo>
                    <a:cubicBezTo>
                      <a:pt x="11902" y="4404"/>
                      <a:pt x="16444" y="2892"/>
                      <a:pt x="21121" y="1939"/>
                    </a:cubicBezTo>
                    <a:cubicBezTo>
                      <a:pt x="26241" y="723"/>
                      <a:pt x="31481" y="66"/>
                      <a:pt x="36745" y="0"/>
                    </a:cubicBezTo>
                    <a:cubicBezTo>
                      <a:pt x="58630" y="0"/>
                      <a:pt x="69594" y="10911"/>
                      <a:pt x="69638" y="32721"/>
                    </a:cubicBezTo>
                    <a:close/>
                    <a:moveTo>
                      <a:pt x="47282" y="47345"/>
                    </a:moveTo>
                    <a:lnTo>
                      <a:pt x="47282" y="42197"/>
                    </a:lnTo>
                    <a:lnTo>
                      <a:pt x="33346" y="43993"/>
                    </a:lnTo>
                    <a:cubicBezTo>
                      <a:pt x="25649" y="44990"/>
                      <a:pt x="21801" y="48463"/>
                      <a:pt x="21801" y="54400"/>
                    </a:cubicBezTo>
                    <a:cubicBezTo>
                      <a:pt x="21720" y="56908"/>
                      <a:pt x="22746" y="59340"/>
                      <a:pt x="24607" y="61027"/>
                    </a:cubicBezTo>
                    <a:cubicBezTo>
                      <a:pt x="26716" y="62835"/>
                      <a:pt x="29442" y="63766"/>
                      <a:pt x="32217" y="63613"/>
                    </a:cubicBezTo>
                    <a:cubicBezTo>
                      <a:pt x="36340" y="63755"/>
                      <a:pt x="40315" y="62068"/>
                      <a:pt x="43082" y="59012"/>
                    </a:cubicBezTo>
                    <a:cubicBezTo>
                      <a:pt x="45936" y="55813"/>
                      <a:pt x="47441" y="51628"/>
                      <a:pt x="47282" y="4734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5" name="Freeform: Shape 94">
                <a:extLst>
                  <a:ext uri="{FF2B5EF4-FFF2-40B4-BE49-F238E27FC236}">
                    <a16:creationId xmlns:a16="http://schemas.microsoft.com/office/drawing/2014/main" id="{9AA09C48-ABB1-F612-F370-0505BB015E55}"/>
                  </a:ext>
                </a:extLst>
              </p:cNvPr>
              <p:cNvSpPr/>
              <p:nvPr/>
            </p:nvSpPr>
            <p:spPr>
              <a:xfrm>
                <a:off x="1723760" y="4160914"/>
                <a:ext cx="50096" cy="78031"/>
              </a:xfrm>
              <a:custGeom>
                <a:avLst/>
                <a:gdLst>
                  <a:gd name="connsiteX0" fmla="*/ 50096 w 50096"/>
                  <a:gd name="connsiteY0" fmla="*/ 22690 h 78031"/>
                  <a:gd name="connsiteX1" fmla="*/ 40130 w 50096"/>
                  <a:gd name="connsiteY1" fmla="*/ 20368 h 78031"/>
                  <a:gd name="connsiteX2" fmla="*/ 28069 w 50096"/>
                  <a:gd name="connsiteY2" fmla="*/ 26020 h 78031"/>
                  <a:gd name="connsiteX3" fmla="*/ 23683 w 50096"/>
                  <a:gd name="connsiteY3" fmla="*/ 41411 h 78031"/>
                  <a:gd name="connsiteX4" fmla="*/ 23683 w 50096"/>
                  <a:gd name="connsiteY4" fmla="*/ 78032 h 78031"/>
                  <a:gd name="connsiteX5" fmla="*/ 0 w 50096"/>
                  <a:gd name="connsiteY5" fmla="*/ 78032 h 78031"/>
                  <a:gd name="connsiteX6" fmla="*/ 0 w 50096"/>
                  <a:gd name="connsiteY6" fmla="*/ 1351 h 78031"/>
                  <a:gd name="connsiteX7" fmla="*/ 23683 w 50096"/>
                  <a:gd name="connsiteY7" fmla="*/ 1351 h 78031"/>
                  <a:gd name="connsiteX8" fmla="*/ 23683 w 50096"/>
                  <a:gd name="connsiteY8" fmla="*/ 15592 h 78031"/>
                  <a:gd name="connsiteX9" fmla="*/ 23979 w 50096"/>
                  <a:gd name="connsiteY9" fmla="*/ 15592 h 78031"/>
                  <a:gd name="connsiteX10" fmla="*/ 44219 w 50096"/>
                  <a:gd name="connsiteY10" fmla="*/ 14 h 78031"/>
                  <a:gd name="connsiteX11" fmla="*/ 50063 w 50096"/>
                  <a:gd name="connsiteY11" fmla="*/ 923 h 7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96" h="78031">
                    <a:moveTo>
                      <a:pt x="50096" y="22690"/>
                    </a:moveTo>
                    <a:cubicBezTo>
                      <a:pt x="47023" y="21091"/>
                      <a:pt x="43594" y="20291"/>
                      <a:pt x="40130" y="20368"/>
                    </a:cubicBezTo>
                    <a:cubicBezTo>
                      <a:pt x="35426" y="20170"/>
                      <a:pt x="30921" y="22274"/>
                      <a:pt x="28069" y="26020"/>
                    </a:cubicBezTo>
                    <a:cubicBezTo>
                      <a:pt x="24936" y="30522"/>
                      <a:pt x="23394" y="35934"/>
                      <a:pt x="23683" y="41411"/>
                    </a:cubicBezTo>
                    <a:lnTo>
                      <a:pt x="23683" y="78032"/>
                    </a:lnTo>
                    <a:lnTo>
                      <a:pt x="0" y="78032"/>
                    </a:lnTo>
                    <a:lnTo>
                      <a:pt x="0" y="1351"/>
                    </a:lnTo>
                    <a:lnTo>
                      <a:pt x="23683" y="1351"/>
                    </a:lnTo>
                    <a:lnTo>
                      <a:pt x="23683" y="15592"/>
                    </a:lnTo>
                    <a:lnTo>
                      <a:pt x="23979" y="15592"/>
                    </a:lnTo>
                    <a:cubicBezTo>
                      <a:pt x="26267" y="6324"/>
                      <a:pt x="34664" y="-139"/>
                      <a:pt x="44219" y="14"/>
                    </a:cubicBezTo>
                    <a:cubicBezTo>
                      <a:pt x="46208" y="-73"/>
                      <a:pt x="48194" y="244"/>
                      <a:pt x="50063" y="9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6" name="Freeform: Shape 95">
                <a:extLst>
                  <a:ext uri="{FF2B5EF4-FFF2-40B4-BE49-F238E27FC236}">
                    <a16:creationId xmlns:a16="http://schemas.microsoft.com/office/drawing/2014/main" id="{BB107BB3-2A39-480C-A657-AF7B99591479}"/>
                  </a:ext>
                </a:extLst>
              </p:cNvPr>
              <p:cNvSpPr/>
              <p:nvPr/>
            </p:nvSpPr>
            <p:spPr>
              <a:xfrm>
                <a:off x="1783083" y="4125739"/>
                <a:ext cx="27289" cy="113206"/>
              </a:xfrm>
              <a:custGeom>
                <a:avLst/>
                <a:gdLst>
                  <a:gd name="connsiteX0" fmla="*/ 13645 w 27289"/>
                  <a:gd name="connsiteY0" fmla="*/ 24387 h 113206"/>
                  <a:gd name="connsiteX1" fmla="*/ 3832 w 27289"/>
                  <a:gd name="connsiteY1" fmla="*/ 20827 h 113206"/>
                  <a:gd name="connsiteX2" fmla="*/ 5 w 27289"/>
                  <a:gd name="connsiteY2" fmla="*/ 12064 h 113206"/>
                  <a:gd name="connsiteX3" fmla="*/ 3832 w 27289"/>
                  <a:gd name="connsiteY3" fmla="*/ 3377 h 113206"/>
                  <a:gd name="connsiteX4" fmla="*/ 23502 w 27289"/>
                  <a:gd name="connsiteY4" fmla="*/ 3377 h 113206"/>
                  <a:gd name="connsiteX5" fmla="*/ 27284 w 27289"/>
                  <a:gd name="connsiteY5" fmla="*/ 12064 h 113206"/>
                  <a:gd name="connsiteX6" fmla="*/ 23502 w 27289"/>
                  <a:gd name="connsiteY6" fmla="*/ 20904 h 113206"/>
                  <a:gd name="connsiteX7" fmla="*/ 13645 w 27289"/>
                  <a:gd name="connsiteY7" fmla="*/ 24387 h 113206"/>
                  <a:gd name="connsiteX8" fmla="*/ 25344 w 27289"/>
                  <a:gd name="connsiteY8" fmla="*/ 113206 h 113206"/>
                  <a:gd name="connsiteX9" fmla="*/ 1650 w 27289"/>
                  <a:gd name="connsiteY9" fmla="*/ 113206 h 113206"/>
                  <a:gd name="connsiteX10" fmla="*/ 1650 w 27289"/>
                  <a:gd name="connsiteY10" fmla="*/ 36525 h 113206"/>
                  <a:gd name="connsiteX11" fmla="*/ 25344 w 27289"/>
                  <a:gd name="connsiteY11" fmla="*/ 36525 h 11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206">
                    <a:moveTo>
                      <a:pt x="13645" y="24387"/>
                    </a:moveTo>
                    <a:cubicBezTo>
                      <a:pt x="10033" y="24530"/>
                      <a:pt x="6509" y="23259"/>
                      <a:pt x="3832" y="20827"/>
                    </a:cubicBezTo>
                    <a:cubicBezTo>
                      <a:pt x="1336" y="18603"/>
                      <a:pt x="-62" y="15405"/>
                      <a:pt x="5" y="12064"/>
                    </a:cubicBezTo>
                    <a:cubicBezTo>
                      <a:pt x="-95" y="8744"/>
                      <a:pt x="1311" y="5546"/>
                      <a:pt x="3832" y="3377"/>
                    </a:cubicBezTo>
                    <a:cubicBezTo>
                      <a:pt x="9615" y="-1126"/>
                      <a:pt x="17718" y="-1126"/>
                      <a:pt x="23502" y="3377"/>
                    </a:cubicBezTo>
                    <a:cubicBezTo>
                      <a:pt x="25998" y="5557"/>
                      <a:pt x="27386" y="8744"/>
                      <a:pt x="27284" y="12064"/>
                    </a:cubicBezTo>
                    <a:cubicBezTo>
                      <a:pt x="27384" y="15427"/>
                      <a:pt x="26002" y="18658"/>
                      <a:pt x="23502" y="20904"/>
                    </a:cubicBezTo>
                    <a:cubicBezTo>
                      <a:pt x="20785" y="23281"/>
                      <a:pt x="17255" y="24530"/>
                      <a:pt x="13645" y="24387"/>
                    </a:cubicBezTo>
                    <a:close/>
                    <a:moveTo>
                      <a:pt x="25344" y="113206"/>
                    </a:moveTo>
                    <a:lnTo>
                      <a:pt x="1650" y="113206"/>
                    </a:lnTo>
                    <a:lnTo>
                      <a:pt x="1650" y="36525"/>
                    </a:lnTo>
                    <a:lnTo>
                      <a:pt x="25344" y="36525"/>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7" name="Freeform: Shape 96">
                <a:extLst>
                  <a:ext uri="{FF2B5EF4-FFF2-40B4-BE49-F238E27FC236}">
                    <a16:creationId xmlns:a16="http://schemas.microsoft.com/office/drawing/2014/main" id="{D9A05253-5621-A7F0-5971-4E80366B5ACE}"/>
                  </a:ext>
                </a:extLst>
              </p:cNvPr>
              <p:cNvSpPr/>
              <p:nvPr/>
            </p:nvSpPr>
            <p:spPr>
              <a:xfrm>
                <a:off x="1823135" y="4160329"/>
                <a:ext cx="73765" cy="80661"/>
              </a:xfrm>
              <a:custGeom>
                <a:avLst/>
                <a:gdLst>
                  <a:gd name="connsiteX0" fmla="*/ 73709 w 73765"/>
                  <a:gd name="connsiteY0" fmla="*/ 47014 h 80661"/>
                  <a:gd name="connsiteX1" fmla="*/ 23635 w 73765"/>
                  <a:gd name="connsiteY1" fmla="*/ 47014 h 80661"/>
                  <a:gd name="connsiteX2" fmla="*/ 44697 w 73765"/>
                  <a:gd name="connsiteY2" fmla="*/ 63708 h 80661"/>
                  <a:gd name="connsiteX3" fmla="*/ 66955 w 73765"/>
                  <a:gd name="connsiteY3" fmla="*/ 57716 h 80661"/>
                  <a:gd name="connsiteX4" fmla="*/ 66955 w 73765"/>
                  <a:gd name="connsiteY4" fmla="*/ 74794 h 80661"/>
                  <a:gd name="connsiteX5" fmla="*/ 39303 w 73765"/>
                  <a:gd name="connsiteY5" fmla="*/ 80479 h 80661"/>
                  <a:gd name="connsiteX6" fmla="*/ 179 w 73765"/>
                  <a:gd name="connsiteY6" fmla="*/ 48525 h 80661"/>
                  <a:gd name="connsiteX7" fmla="*/ 171 w 73765"/>
                  <a:gd name="connsiteY7" fmla="*/ 41470 h 80661"/>
                  <a:gd name="connsiteX8" fmla="*/ 11267 w 73765"/>
                  <a:gd name="connsiteY8" fmla="*/ 11214 h 80661"/>
                  <a:gd name="connsiteX9" fmla="*/ 38546 w 73765"/>
                  <a:gd name="connsiteY9" fmla="*/ 63 h 80661"/>
                  <a:gd name="connsiteX10" fmla="*/ 64521 w 73765"/>
                  <a:gd name="connsiteY10" fmla="*/ 10020 h 80661"/>
                  <a:gd name="connsiteX11" fmla="*/ 73709 w 73765"/>
                  <a:gd name="connsiteY11" fmla="*/ 37056 h 80661"/>
                  <a:gd name="connsiteX12" fmla="*/ 51780 w 73765"/>
                  <a:gd name="connsiteY12" fmla="*/ 32488 h 80661"/>
                  <a:gd name="connsiteX13" fmla="*/ 38437 w 73765"/>
                  <a:gd name="connsiteY13" fmla="*/ 16056 h 80661"/>
                  <a:gd name="connsiteX14" fmla="*/ 28569 w 73765"/>
                  <a:gd name="connsiteY14" fmla="*/ 20766 h 80661"/>
                  <a:gd name="connsiteX15" fmla="*/ 23503 w 73765"/>
                  <a:gd name="connsiteY15" fmla="*/ 32532 h 80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65" h="80661">
                    <a:moveTo>
                      <a:pt x="73709" y="47014"/>
                    </a:moveTo>
                    <a:lnTo>
                      <a:pt x="23635" y="47014"/>
                    </a:lnTo>
                    <a:cubicBezTo>
                      <a:pt x="24438" y="58143"/>
                      <a:pt x="31460" y="63708"/>
                      <a:pt x="44697" y="63708"/>
                    </a:cubicBezTo>
                    <a:cubicBezTo>
                      <a:pt x="52537" y="63872"/>
                      <a:pt x="60260" y="61791"/>
                      <a:pt x="66955" y="57716"/>
                    </a:cubicBezTo>
                    <a:lnTo>
                      <a:pt x="66955" y="74794"/>
                    </a:lnTo>
                    <a:cubicBezTo>
                      <a:pt x="58340" y="78913"/>
                      <a:pt x="48846" y="80863"/>
                      <a:pt x="39303" y="80479"/>
                    </a:cubicBezTo>
                    <a:cubicBezTo>
                      <a:pt x="19667" y="82451"/>
                      <a:pt x="2150" y="68145"/>
                      <a:pt x="179" y="48525"/>
                    </a:cubicBezTo>
                    <a:cubicBezTo>
                      <a:pt x="-57" y="46181"/>
                      <a:pt x="-59" y="43815"/>
                      <a:pt x="171" y="41470"/>
                    </a:cubicBezTo>
                    <a:cubicBezTo>
                      <a:pt x="-410" y="30297"/>
                      <a:pt x="3597" y="19364"/>
                      <a:pt x="11267" y="11214"/>
                    </a:cubicBezTo>
                    <a:cubicBezTo>
                      <a:pt x="18419" y="3875"/>
                      <a:pt x="28299" y="-156"/>
                      <a:pt x="38546" y="63"/>
                    </a:cubicBezTo>
                    <a:cubicBezTo>
                      <a:pt x="48239" y="-529"/>
                      <a:pt x="57713" y="3097"/>
                      <a:pt x="64521" y="10020"/>
                    </a:cubicBezTo>
                    <a:cubicBezTo>
                      <a:pt x="70954" y="17513"/>
                      <a:pt x="74244" y="27197"/>
                      <a:pt x="73709" y="37056"/>
                    </a:cubicBezTo>
                    <a:close/>
                    <a:moveTo>
                      <a:pt x="51780" y="32488"/>
                    </a:moveTo>
                    <a:cubicBezTo>
                      <a:pt x="51780" y="21533"/>
                      <a:pt x="47332" y="16056"/>
                      <a:pt x="38437" y="16056"/>
                    </a:cubicBezTo>
                    <a:cubicBezTo>
                      <a:pt x="34606" y="16067"/>
                      <a:pt x="30982" y="17798"/>
                      <a:pt x="28569" y="20766"/>
                    </a:cubicBezTo>
                    <a:cubicBezTo>
                      <a:pt x="25720" y="24086"/>
                      <a:pt x="23953" y="28183"/>
                      <a:pt x="23503"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8" name="Freeform: Shape 97">
                <a:extLst>
                  <a:ext uri="{FF2B5EF4-FFF2-40B4-BE49-F238E27FC236}">
                    <a16:creationId xmlns:a16="http://schemas.microsoft.com/office/drawing/2014/main" id="{041503B2-609E-D463-53C2-5BD5D4ECC70B}"/>
                  </a:ext>
                </a:extLst>
              </p:cNvPr>
              <p:cNvSpPr/>
              <p:nvPr/>
            </p:nvSpPr>
            <p:spPr>
              <a:xfrm>
                <a:off x="1907658" y="4160358"/>
                <a:ext cx="58941" cy="80389"/>
              </a:xfrm>
              <a:custGeom>
                <a:avLst/>
                <a:gdLst>
                  <a:gd name="connsiteX0" fmla="*/ 19 w 58941"/>
                  <a:gd name="connsiteY0" fmla="*/ 76561 h 80389"/>
                  <a:gd name="connsiteX1" fmla="*/ 19 w 58941"/>
                  <a:gd name="connsiteY1" fmla="*/ 57391 h 80389"/>
                  <a:gd name="connsiteX2" fmla="*/ 11674 w 58941"/>
                  <a:gd name="connsiteY2" fmla="*/ 62627 h 80389"/>
                  <a:gd name="connsiteX3" fmla="*/ 22639 w 58941"/>
                  <a:gd name="connsiteY3" fmla="*/ 64358 h 80389"/>
                  <a:gd name="connsiteX4" fmla="*/ 32572 w 58941"/>
                  <a:gd name="connsiteY4" fmla="*/ 62627 h 80389"/>
                  <a:gd name="connsiteX5" fmla="*/ 36212 w 58941"/>
                  <a:gd name="connsiteY5" fmla="*/ 57391 h 80389"/>
                  <a:gd name="connsiteX6" fmla="*/ 34557 w 58941"/>
                  <a:gd name="connsiteY6" fmla="*/ 53644 h 80389"/>
                  <a:gd name="connsiteX7" fmla="*/ 30325 w 58941"/>
                  <a:gd name="connsiteY7" fmla="*/ 51026 h 80389"/>
                  <a:gd name="connsiteX8" fmla="*/ 24667 w 58941"/>
                  <a:gd name="connsiteY8" fmla="*/ 48999 h 80389"/>
                  <a:gd name="connsiteX9" fmla="*/ 18746 w 58941"/>
                  <a:gd name="connsiteY9" fmla="*/ 46984 h 80389"/>
                  <a:gd name="connsiteX10" fmla="*/ 10687 w 58941"/>
                  <a:gd name="connsiteY10" fmla="*/ 43270 h 80389"/>
                  <a:gd name="connsiteX11" fmla="*/ 4843 w 58941"/>
                  <a:gd name="connsiteY11" fmla="*/ 38669 h 80389"/>
                  <a:gd name="connsiteX12" fmla="*/ 1247 w 58941"/>
                  <a:gd name="connsiteY12" fmla="*/ 32601 h 80389"/>
                  <a:gd name="connsiteX13" fmla="*/ 8 w 58941"/>
                  <a:gd name="connsiteY13" fmla="*/ 24439 h 80389"/>
                  <a:gd name="connsiteX14" fmla="*/ 2815 w 58941"/>
                  <a:gd name="connsiteY14" fmla="*/ 13354 h 80389"/>
                  <a:gd name="connsiteX15" fmla="*/ 10315 w 58941"/>
                  <a:gd name="connsiteY15" fmla="*/ 5762 h 80389"/>
                  <a:gd name="connsiteX16" fmla="*/ 21027 w 58941"/>
                  <a:gd name="connsiteY16" fmla="*/ 1380 h 80389"/>
                  <a:gd name="connsiteX17" fmla="*/ 33581 w 58941"/>
                  <a:gd name="connsiteY17" fmla="*/ 0 h 80389"/>
                  <a:gd name="connsiteX18" fmla="*/ 43931 w 58941"/>
                  <a:gd name="connsiteY18" fmla="*/ 778 h 80389"/>
                  <a:gd name="connsiteX19" fmla="*/ 54271 w 58941"/>
                  <a:gd name="connsiteY19" fmla="*/ 3067 h 80389"/>
                  <a:gd name="connsiteX20" fmla="*/ 54271 w 58941"/>
                  <a:gd name="connsiteY20" fmla="*/ 21339 h 80389"/>
                  <a:gd name="connsiteX21" fmla="*/ 44644 w 58941"/>
                  <a:gd name="connsiteY21" fmla="*/ 17407 h 80389"/>
                  <a:gd name="connsiteX22" fmla="*/ 34557 w 58941"/>
                  <a:gd name="connsiteY22" fmla="*/ 16092 h 80389"/>
                  <a:gd name="connsiteX23" fmla="*/ 30171 w 58941"/>
                  <a:gd name="connsiteY23" fmla="*/ 16508 h 80389"/>
                  <a:gd name="connsiteX24" fmla="*/ 26542 w 58941"/>
                  <a:gd name="connsiteY24" fmla="*/ 17703 h 80389"/>
                  <a:gd name="connsiteX25" fmla="*/ 24064 w 58941"/>
                  <a:gd name="connsiteY25" fmla="*/ 19729 h 80389"/>
                  <a:gd name="connsiteX26" fmla="*/ 23165 w 58941"/>
                  <a:gd name="connsiteY26" fmla="*/ 22533 h 80389"/>
                  <a:gd name="connsiteX27" fmla="*/ 24513 w 58941"/>
                  <a:gd name="connsiteY27" fmla="*/ 26127 h 80389"/>
                  <a:gd name="connsiteX28" fmla="*/ 28033 w 58941"/>
                  <a:gd name="connsiteY28" fmla="*/ 28712 h 80389"/>
                  <a:gd name="connsiteX29" fmla="*/ 32868 w 58941"/>
                  <a:gd name="connsiteY29" fmla="*/ 30662 h 80389"/>
                  <a:gd name="connsiteX30" fmla="*/ 38153 w 58941"/>
                  <a:gd name="connsiteY30" fmla="*/ 32425 h 80389"/>
                  <a:gd name="connsiteX31" fmla="*/ 46705 w 58941"/>
                  <a:gd name="connsiteY31" fmla="*/ 36018 h 80389"/>
                  <a:gd name="connsiteX32" fmla="*/ 53284 w 58941"/>
                  <a:gd name="connsiteY32" fmla="*/ 40587 h 80389"/>
                  <a:gd name="connsiteX33" fmla="*/ 57483 w 58941"/>
                  <a:gd name="connsiteY33" fmla="*/ 46721 h 80389"/>
                  <a:gd name="connsiteX34" fmla="*/ 55981 w 58941"/>
                  <a:gd name="connsiteY34" fmla="*/ 66757 h 80389"/>
                  <a:gd name="connsiteX35" fmla="*/ 48109 w 58941"/>
                  <a:gd name="connsiteY35" fmla="*/ 74622 h 80389"/>
                  <a:gd name="connsiteX36" fmla="*/ 36794 w 58941"/>
                  <a:gd name="connsiteY36" fmla="*/ 79004 h 80389"/>
                  <a:gd name="connsiteX37" fmla="*/ 23483 w 58941"/>
                  <a:gd name="connsiteY37" fmla="*/ 80384 h 80389"/>
                  <a:gd name="connsiteX38" fmla="*/ 19 w 58941"/>
                  <a:gd name="connsiteY38" fmla="*/ 76561 h 8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1" h="80389">
                    <a:moveTo>
                      <a:pt x="19" y="76561"/>
                    </a:moveTo>
                    <a:lnTo>
                      <a:pt x="19" y="57391"/>
                    </a:lnTo>
                    <a:cubicBezTo>
                      <a:pt x="3667" y="59625"/>
                      <a:pt x="7583" y="61378"/>
                      <a:pt x="11674" y="62627"/>
                    </a:cubicBezTo>
                    <a:cubicBezTo>
                      <a:pt x="15227" y="63733"/>
                      <a:pt x="18919" y="64314"/>
                      <a:pt x="22639" y="64358"/>
                    </a:cubicBezTo>
                    <a:cubicBezTo>
                      <a:pt x="26036" y="64500"/>
                      <a:pt x="29425" y="63919"/>
                      <a:pt x="32572" y="62627"/>
                    </a:cubicBezTo>
                    <a:cubicBezTo>
                      <a:pt x="34765" y="61816"/>
                      <a:pt x="36219" y="59724"/>
                      <a:pt x="36212" y="57391"/>
                    </a:cubicBezTo>
                    <a:cubicBezTo>
                      <a:pt x="36240" y="55956"/>
                      <a:pt x="35634" y="54586"/>
                      <a:pt x="34557" y="53644"/>
                    </a:cubicBezTo>
                    <a:cubicBezTo>
                      <a:pt x="33299" y="52549"/>
                      <a:pt x="31869" y="51661"/>
                      <a:pt x="30325" y="51026"/>
                    </a:cubicBezTo>
                    <a:cubicBezTo>
                      <a:pt x="28481" y="50237"/>
                      <a:pt x="26592" y="49558"/>
                      <a:pt x="24667" y="48999"/>
                    </a:cubicBezTo>
                    <a:cubicBezTo>
                      <a:pt x="22617" y="48408"/>
                      <a:pt x="20643" y="47729"/>
                      <a:pt x="18746" y="46984"/>
                    </a:cubicBezTo>
                    <a:cubicBezTo>
                      <a:pt x="15967" y="45954"/>
                      <a:pt x="13273" y="44716"/>
                      <a:pt x="10687" y="43270"/>
                    </a:cubicBezTo>
                    <a:cubicBezTo>
                      <a:pt x="8501" y="42065"/>
                      <a:pt x="6526" y="40510"/>
                      <a:pt x="4843" y="38669"/>
                    </a:cubicBezTo>
                    <a:cubicBezTo>
                      <a:pt x="3256" y="36906"/>
                      <a:pt x="2034" y="34835"/>
                      <a:pt x="1247" y="32601"/>
                    </a:cubicBezTo>
                    <a:cubicBezTo>
                      <a:pt x="364" y="29972"/>
                      <a:pt x="-54" y="27211"/>
                      <a:pt x="8" y="24439"/>
                    </a:cubicBezTo>
                    <a:cubicBezTo>
                      <a:pt x="-99" y="20562"/>
                      <a:pt x="872" y="16717"/>
                      <a:pt x="2815" y="13354"/>
                    </a:cubicBezTo>
                    <a:cubicBezTo>
                      <a:pt x="4685" y="10275"/>
                      <a:pt x="7254" y="7668"/>
                      <a:pt x="10315" y="5762"/>
                    </a:cubicBezTo>
                    <a:cubicBezTo>
                      <a:pt x="13609" y="3703"/>
                      <a:pt x="17232" y="2224"/>
                      <a:pt x="21027" y="1380"/>
                    </a:cubicBezTo>
                    <a:cubicBezTo>
                      <a:pt x="25146" y="449"/>
                      <a:pt x="29357" y="-11"/>
                      <a:pt x="33581" y="0"/>
                    </a:cubicBezTo>
                    <a:cubicBezTo>
                      <a:pt x="37046" y="11"/>
                      <a:pt x="40505" y="263"/>
                      <a:pt x="43931" y="778"/>
                    </a:cubicBezTo>
                    <a:cubicBezTo>
                      <a:pt x="47426" y="1304"/>
                      <a:pt x="50881" y="2071"/>
                      <a:pt x="54271" y="3067"/>
                    </a:cubicBezTo>
                    <a:lnTo>
                      <a:pt x="54271" y="21339"/>
                    </a:lnTo>
                    <a:cubicBezTo>
                      <a:pt x="51262" y="19587"/>
                      <a:pt x="48021" y="18261"/>
                      <a:pt x="44644" y="17407"/>
                    </a:cubicBezTo>
                    <a:cubicBezTo>
                      <a:pt x="41350" y="16552"/>
                      <a:pt x="37961" y="16103"/>
                      <a:pt x="34557" y="16092"/>
                    </a:cubicBezTo>
                    <a:cubicBezTo>
                      <a:pt x="33084" y="16092"/>
                      <a:pt x="31616" y="16224"/>
                      <a:pt x="30171" y="16508"/>
                    </a:cubicBezTo>
                    <a:cubicBezTo>
                      <a:pt x="28913" y="16739"/>
                      <a:pt x="27692" y="17144"/>
                      <a:pt x="26542" y="17703"/>
                    </a:cubicBezTo>
                    <a:cubicBezTo>
                      <a:pt x="25565" y="18174"/>
                      <a:pt x="24715" y="18864"/>
                      <a:pt x="24064" y="19729"/>
                    </a:cubicBezTo>
                    <a:cubicBezTo>
                      <a:pt x="23467" y="20540"/>
                      <a:pt x="23152" y="21526"/>
                      <a:pt x="23165" y="22533"/>
                    </a:cubicBezTo>
                    <a:cubicBezTo>
                      <a:pt x="23136" y="23859"/>
                      <a:pt x="23619" y="25141"/>
                      <a:pt x="24513" y="26127"/>
                    </a:cubicBezTo>
                    <a:cubicBezTo>
                      <a:pt x="25511" y="27200"/>
                      <a:pt x="26706" y="28076"/>
                      <a:pt x="28033" y="28712"/>
                    </a:cubicBezTo>
                    <a:cubicBezTo>
                      <a:pt x="29594" y="29479"/>
                      <a:pt x="31211" y="30136"/>
                      <a:pt x="32868" y="30662"/>
                    </a:cubicBezTo>
                    <a:cubicBezTo>
                      <a:pt x="34645" y="31231"/>
                      <a:pt x="36407" y="31823"/>
                      <a:pt x="38153" y="32425"/>
                    </a:cubicBezTo>
                    <a:cubicBezTo>
                      <a:pt x="41083" y="33422"/>
                      <a:pt x="43940" y="34627"/>
                      <a:pt x="46705" y="36018"/>
                    </a:cubicBezTo>
                    <a:cubicBezTo>
                      <a:pt x="49111" y="37212"/>
                      <a:pt x="51328" y="38746"/>
                      <a:pt x="53284" y="40587"/>
                    </a:cubicBezTo>
                    <a:cubicBezTo>
                      <a:pt x="55096" y="42317"/>
                      <a:pt x="56527" y="44410"/>
                      <a:pt x="57483" y="46721"/>
                    </a:cubicBezTo>
                    <a:cubicBezTo>
                      <a:pt x="59859" y="53305"/>
                      <a:pt x="59313" y="60600"/>
                      <a:pt x="55981" y="66757"/>
                    </a:cubicBezTo>
                    <a:cubicBezTo>
                      <a:pt x="54016" y="69966"/>
                      <a:pt x="51318" y="72661"/>
                      <a:pt x="48109" y="74622"/>
                    </a:cubicBezTo>
                    <a:cubicBezTo>
                      <a:pt x="44612" y="76714"/>
                      <a:pt x="40786" y="78193"/>
                      <a:pt x="36794" y="79004"/>
                    </a:cubicBezTo>
                    <a:cubicBezTo>
                      <a:pt x="32418" y="79935"/>
                      <a:pt x="27956" y="80395"/>
                      <a:pt x="23483" y="80384"/>
                    </a:cubicBezTo>
                    <a:cubicBezTo>
                      <a:pt x="15498" y="80483"/>
                      <a:pt x="7558" y="79190"/>
                      <a:pt x="19"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99" name="Freeform: Shape 98">
                <a:extLst>
                  <a:ext uri="{FF2B5EF4-FFF2-40B4-BE49-F238E27FC236}">
                    <a16:creationId xmlns:a16="http://schemas.microsoft.com/office/drawing/2014/main" id="{1053EAB9-4073-4448-9EBC-3DDC1B5271D9}"/>
                  </a:ext>
                </a:extLst>
              </p:cNvPr>
              <p:cNvSpPr/>
              <p:nvPr/>
            </p:nvSpPr>
            <p:spPr>
              <a:xfrm>
                <a:off x="2022529" y="4125414"/>
                <a:ext cx="79901" cy="115426"/>
              </a:xfrm>
              <a:custGeom>
                <a:avLst/>
                <a:gdLst>
                  <a:gd name="connsiteX0" fmla="*/ 24034 w 79901"/>
                  <a:gd name="connsiteY0" fmla="*/ 104615 h 115426"/>
                  <a:gd name="connsiteX1" fmla="*/ 23727 w 79901"/>
                  <a:gd name="connsiteY1" fmla="*/ 104615 h 115426"/>
                  <a:gd name="connsiteX2" fmla="*/ 23727 w 79901"/>
                  <a:gd name="connsiteY2" fmla="*/ 113532 h 115426"/>
                  <a:gd name="connsiteX3" fmla="*/ 0 w 79901"/>
                  <a:gd name="connsiteY3" fmla="*/ 113532 h 115426"/>
                  <a:gd name="connsiteX4" fmla="*/ 0 w 79901"/>
                  <a:gd name="connsiteY4" fmla="*/ 0 h 115426"/>
                  <a:gd name="connsiteX5" fmla="*/ 23683 w 79901"/>
                  <a:gd name="connsiteY5" fmla="*/ 0 h 115426"/>
                  <a:gd name="connsiteX6" fmla="*/ 23683 w 79901"/>
                  <a:gd name="connsiteY6" fmla="*/ 48375 h 115426"/>
                  <a:gd name="connsiteX7" fmla="*/ 23990 w 79901"/>
                  <a:gd name="connsiteY7" fmla="*/ 48375 h 115426"/>
                  <a:gd name="connsiteX8" fmla="*/ 48945 w 79901"/>
                  <a:gd name="connsiteY8" fmla="*/ 34978 h 115426"/>
                  <a:gd name="connsiteX9" fmla="*/ 71806 w 79901"/>
                  <a:gd name="connsiteY9" fmla="*/ 45154 h 115426"/>
                  <a:gd name="connsiteX10" fmla="*/ 79832 w 79901"/>
                  <a:gd name="connsiteY10" fmla="*/ 73011 h 115426"/>
                  <a:gd name="connsiteX11" fmla="*/ 70457 w 79901"/>
                  <a:gd name="connsiteY11" fmla="*/ 103794 h 115426"/>
                  <a:gd name="connsiteX12" fmla="*/ 45425 w 79901"/>
                  <a:gd name="connsiteY12" fmla="*/ 115394 h 115426"/>
                  <a:gd name="connsiteX13" fmla="*/ 24034 w 79901"/>
                  <a:gd name="connsiteY13" fmla="*/ 104615 h 115426"/>
                  <a:gd name="connsiteX14" fmla="*/ 23354 w 79901"/>
                  <a:gd name="connsiteY14" fmla="*/ 72267 h 115426"/>
                  <a:gd name="connsiteX15" fmla="*/ 23354 w 79901"/>
                  <a:gd name="connsiteY15" fmla="*/ 80132 h 115426"/>
                  <a:gd name="connsiteX16" fmla="*/ 27630 w 79901"/>
                  <a:gd name="connsiteY16" fmla="*/ 92412 h 115426"/>
                  <a:gd name="connsiteX17" fmla="*/ 38595 w 79901"/>
                  <a:gd name="connsiteY17" fmla="*/ 97276 h 115426"/>
                  <a:gd name="connsiteX18" fmla="*/ 51149 w 79901"/>
                  <a:gd name="connsiteY18" fmla="*/ 91021 h 115426"/>
                  <a:gd name="connsiteX19" fmla="*/ 55611 w 79901"/>
                  <a:gd name="connsiteY19" fmla="*/ 73318 h 115426"/>
                  <a:gd name="connsiteX20" fmla="*/ 51522 w 79901"/>
                  <a:gd name="connsiteY20" fmla="*/ 58453 h 115426"/>
                  <a:gd name="connsiteX21" fmla="*/ 39867 w 79901"/>
                  <a:gd name="connsiteY21" fmla="*/ 53096 h 115426"/>
                  <a:gd name="connsiteX22" fmla="*/ 28069 w 79901"/>
                  <a:gd name="connsiteY22" fmla="*/ 58409 h 115426"/>
                  <a:gd name="connsiteX23" fmla="*/ 23354 w 79901"/>
                  <a:gd name="connsiteY23" fmla="*/ 72267 h 115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901" h="115426">
                    <a:moveTo>
                      <a:pt x="24034" y="104615"/>
                    </a:moveTo>
                    <a:lnTo>
                      <a:pt x="23727" y="104615"/>
                    </a:lnTo>
                    <a:lnTo>
                      <a:pt x="23727" y="113532"/>
                    </a:lnTo>
                    <a:lnTo>
                      <a:pt x="0" y="113532"/>
                    </a:lnTo>
                    <a:lnTo>
                      <a:pt x="0" y="0"/>
                    </a:lnTo>
                    <a:lnTo>
                      <a:pt x="23683" y="0"/>
                    </a:lnTo>
                    <a:lnTo>
                      <a:pt x="23683" y="48375"/>
                    </a:lnTo>
                    <a:lnTo>
                      <a:pt x="23990" y="48375"/>
                    </a:lnTo>
                    <a:cubicBezTo>
                      <a:pt x="29286" y="39743"/>
                      <a:pt x="38814" y="34616"/>
                      <a:pt x="48945" y="34978"/>
                    </a:cubicBezTo>
                    <a:cubicBezTo>
                      <a:pt x="57760" y="34496"/>
                      <a:pt x="66269" y="38286"/>
                      <a:pt x="71806" y="45154"/>
                    </a:cubicBezTo>
                    <a:cubicBezTo>
                      <a:pt x="77562" y="53261"/>
                      <a:pt x="80391" y="63087"/>
                      <a:pt x="79832" y="73011"/>
                    </a:cubicBezTo>
                    <a:cubicBezTo>
                      <a:pt x="80380" y="84054"/>
                      <a:pt x="77069" y="94931"/>
                      <a:pt x="70457" y="103794"/>
                    </a:cubicBezTo>
                    <a:cubicBezTo>
                      <a:pt x="64438" y="111429"/>
                      <a:pt x="55140" y="115734"/>
                      <a:pt x="45425" y="115394"/>
                    </a:cubicBezTo>
                    <a:cubicBezTo>
                      <a:pt x="36884" y="115832"/>
                      <a:pt x="28760" y="111736"/>
                      <a:pt x="24034" y="104615"/>
                    </a:cubicBezTo>
                    <a:close/>
                    <a:moveTo>
                      <a:pt x="23354" y="72267"/>
                    </a:moveTo>
                    <a:lnTo>
                      <a:pt x="23354" y="80132"/>
                    </a:lnTo>
                    <a:cubicBezTo>
                      <a:pt x="23190" y="84612"/>
                      <a:pt x="24725" y="88994"/>
                      <a:pt x="27630" y="92412"/>
                    </a:cubicBezTo>
                    <a:cubicBezTo>
                      <a:pt x="30360" y="95611"/>
                      <a:pt x="34395" y="97396"/>
                      <a:pt x="38595" y="97276"/>
                    </a:cubicBezTo>
                    <a:cubicBezTo>
                      <a:pt x="43572" y="97484"/>
                      <a:pt x="48320" y="95118"/>
                      <a:pt x="51149" y="91021"/>
                    </a:cubicBezTo>
                    <a:cubicBezTo>
                      <a:pt x="54427" y="85719"/>
                      <a:pt x="55984" y="79540"/>
                      <a:pt x="55611" y="73318"/>
                    </a:cubicBezTo>
                    <a:cubicBezTo>
                      <a:pt x="55929" y="68049"/>
                      <a:pt x="54482" y="62824"/>
                      <a:pt x="51522" y="58453"/>
                    </a:cubicBezTo>
                    <a:cubicBezTo>
                      <a:pt x="48759" y="54860"/>
                      <a:pt x="44395" y="52855"/>
                      <a:pt x="39867" y="53096"/>
                    </a:cubicBezTo>
                    <a:cubicBezTo>
                      <a:pt x="35338" y="52998"/>
                      <a:pt x="30996" y="54948"/>
                      <a:pt x="28069" y="58409"/>
                    </a:cubicBezTo>
                    <a:cubicBezTo>
                      <a:pt x="24823" y="62276"/>
                      <a:pt x="23135" y="67217"/>
                      <a:pt x="23354" y="72267"/>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00" name="Freeform: Shape 99">
                <a:extLst>
                  <a:ext uri="{FF2B5EF4-FFF2-40B4-BE49-F238E27FC236}">
                    <a16:creationId xmlns:a16="http://schemas.microsoft.com/office/drawing/2014/main" id="{4E8F3DFE-C01C-243C-2816-7392A077C702}"/>
                  </a:ext>
                </a:extLst>
              </p:cNvPr>
              <p:cNvSpPr/>
              <p:nvPr/>
            </p:nvSpPr>
            <p:spPr>
              <a:xfrm>
                <a:off x="2105836" y="4162253"/>
                <a:ext cx="83351" cy="112729"/>
              </a:xfrm>
              <a:custGeom>
                <a:avLst/>
                <a:gdLst>
                  <a:gd name="connsiteX0" fmla="*/ 83351 w 83351"/>
                  <a:gd name="connsiteY0" fmla="*/ 11 h 112729"/>
                  <a:gd name="connsiteX1" fmla="*/ 52169 w 83351"/>
                  <a:gd name="connsiteY1" fmla="*/ 82827 h 112729"/>
                  <a:gd name="connsiteX2" fmla="*/ 18289 w 83351"/>
                  <a:gd name="connsiteY2" fmla="*/ 112711 h 112729"/>
                  <a:gd name="connsiteX3" fmla="*/ 4123 w 83351"/>
                  <a:gd name="connsiteY3" fmla="*/ 110761 h 112729"/>
                  <a:gd name="connsiteX4" fmla="*/ 4123 w 83351"/>
                  <a:gd name="connsiteY4" fmla="*/ 91875 h 112729"/>
                  <a:gd name="connsiteX5" fmla="*/ 14385 w 83351"/>
                  <a:gd name="connsiteY5" fmla="*/ 94647 h 112729"/>
                  <a:gd name="connsiteX6" fmla="*/ 27137 w 83351"/>
                  <a:gd name="connsiteY6" fmla="*/ 86036 h 112729"/>
                  <a:gd name="connsiteX7" fmla="*/ 31183 w 83351"/>
                  <a:gd name="connsiteY7" fmla="*/ 76528 h 112729"/>
                  <a:gd name="connsiteX8" fmla="*/ 0 w 83351"/>
                  <a:gd name="connsiteY8" fmla="*/ 0 h 112729"/>
                  <a:gd name="connsiteX9" fmla="*/ 26238 w 83351"/>
                  <a:gd name="connsiteY9" fmla="*/ 0 h 112729"/>
                  <a:gd name="connsiteX10" fmla="*/ 40546 w 83351"/>
                  <a:gd name="connsiteY10" fmla="*/ 46644 h 112729"/>
                  <a:gd name="connsiteX11" fmla="*/ 42651 w 83351"/>
                  <a:gd name="connsiteY11" fmla="*/ 56909 h 112729"/>
                  <a:gd name="connsiteX12" fmla="*/ 42948 w 83351"/>
                  <a:gd name="connsiteY12" fmla="*/ 56909 h 112729"/>
                  <a:gd name="connsiteX13" fmla="*/ 45426 w 83351"/>
                  <a:gd name="connsiteY13" fmla="*/ 46798 h 112729"/>
                  <a:gd name="connsiteX14" fmla="*/ 59888 w 83351"/>
                  <a:gd name="connsiteY14" fmla="*/ 0 h 1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51" h="112729">
                    <a:moveTo>
                      <a:pt x="83351" y="11"/>
                    </a:moveTo>
                    <a:lnTo>
                      <a:pt x="52169" y="82827"/>
                    </a:lnTo>
                    <a:cubicBezTo>
                      <a:pt x="44669" y="102742"/>
                      <a:pt x="33376" y="112700"/>
                      <a:pt x="18289" y="112711"/>
                    </a:cubicBezTo>
                    <a:cubicBezTo>
                      <a:pt x="13486" y="112853"/>
                      <a:pt x="8706" y="112196"/>
                      <a:pt x="4123" y="110761"/>
                    </a:cubicBezTo>
                    <a:lnTo>
                      <a:pt x="4123" y="91875"/>
                    </a:lnTo>
                    <a:cubicBezTo>
                      <a:pt x="7226" y="93716"/>
                      <a:pt x="10778" y="94669"/>
                      <a:pt x="14385" y="94647"/>
                    </a:cubicBezTo>
                    <a:cubicBezTo>
                      <a:pt x="20076" y="94921"/>
                      <a:pt x="25273" y="91415"/>
                      <a:pt x="27137" y="86036"/>
                    </a:cubicBezTo>
                    <a:lnTo>
                      <a:pt x="31183" y="76528"/>
                    </a:lnTo>
                    <a:lnTo>
                      <a:pt x="0" y="0"/>
                    </a:lnTo>
                    <a:lnTo>
                      <a:pt x="26238" y="0"/>
                    </a:lnTo>
                    <a:lnTo>
                      <a:pt x="40546" y="46644"/>
                    </a:lnTo>
                    <a:cubicBezTo>
                      <a:pt x="41544" y="49996"/>
                      <a:pt x="42246" y="53436"/>
                      <a:pt x="42651" y="56909"/>
                    </a:cubicBezTo>
                    <a:lnTo>
                      <a:pt x="42948" y="56909"/>
                    </a:lnTo>
                    <a:cubicBezTo>
                      <a:pt x="43529" y="53480"/>
                      <a:pt x="44351" y="50106"/>
                      <a:pt x="45426" y="46798"/>
                    </a:cubicBezTo>
                    <a:lnTo>
                      <a:pt x="59888"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01" name="Freeform: Shape 100">
                <a:extLst>
                  <a:ext uri="{FF2B5EF4-FFF2-40B4-BE49-F238E27FC236}">
                    <a16:creationId xmlns:a16="http://schemas.microsoft.com/office/drawing/2014/main" id="{6412BBD0-F277-7E59-11E5-260D12729CF4}"/>
                  </a:ext>
                </a:extLst>
              </p:cNvPr>
              <p:cNvSpPr/>
              <p:nvPr/>
            </p:nvSpPr>
            <p:spPr>
              <a:xfrm>
                <a:off x="2234141" y="4138942"/>
                <a:ext cx="53330" cy="101925"/>
              </a:xfrm>
              <a:custGeom>
                <a:avLst/>
                <a:gdLst>
                  <a:gd name="connsiteX0" fmla="*/ 53331 w 53330"/>
                  <a:gd name="connsiteY0" fmla="*/ 99094 h 101925"/>
                  <a:gd name="connsiteX1" fmla="*/ 37520 w 53330"/>
                  <a:gd name="connsiteY1" fmla="*/ 101866 h 101925"/>
                  <a:gd name="connsiteX2" fmla="*/ 12488 w 53330"/>
                  <a:gd name="connsiteY2" fmla="*/ 75882 h 101925"/>
                  <a:gd name="connsiteX3" fmla="*/ 12488 w 53330"/>
                  <a:gd name="connsiteY3" fmla="*/ 40762 h 101925"/>
                  <a:gd name="connsiteX4" fmla="*/ 0 w 53330"/>
                  <a:gd name="connsiteY4" fmla="*/ 40762 h 101925"/>
                  <a:gd name="connsiteX5" fmla="*/ 0 w 53330"/>
                  <a:gd name="connsiteY5" fmla="*/ 23322 h 101925"/>
                  <a:gd name="connsiteX6" fmla="*/ 12445 w 53330"/>
                  <a:gd name="connsiteY6" fmla="*/ 23322 h 101925"/>
                  <a:gd name="connsiteX7" fmla="*/ 12445 w 53330"/>
                  <a:gd name="connsiteY7" fmla="*/ 6737 h 101925"/>
                  <a:gd name="connsiteX8" fmla="*/ 36051 w 53330"/>
                  <a:gd name="connsiteY8" fmla="*/ 0 h 101925"/>
                  <a:gd name="connsiteX9" fmla="*/ 36051 w 53330"/>
                  <a:gd name="connsiteY9" fmla="*/ 23289 h 101925"/>
                  <a:gd name="connsiteX10" fmla="*/ 53287 w 53330"/>
                  <a:gd name="connsiteY10" fmla="*/ 23289 h 101925"/>
                  <a:gd name="connsiteX11" fmla="*/ 53287 w 53330"/>
                  <a:gd name="connsiteY11" fmla="*/ 40729 h 101925"/>
                  <a:gd name="connsiteX12" fmla="*/ 36051 w 53330"/>
                  <a:gd name="connsiteY12" fmla="*/ 40729 h 101925"/>
                  <a:gd name="connsiteX13" fmla="*/ 36051 w 53330"/>
                  <a:gd name="connsiteY13" fmla="*/ 71730 h 101925"/>
                  <a:gd name="connsiteX14" fmla="*/ 45568 w 53330"/>
                  <a:gd name="connsiteY14" fmla="*/ 83714 h 101925"/>
                  <a:gd name="connsiteX15" fmla="*/ 53243 w 53330"/>
                  <a:gd name="connsiteY15" fmla="*/ 81523 h 10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330" h="101925">
                    <a:moveTo>
                      <a:pt x="53331" y="99094"/>
                    </a:moveTo>
                    <a:cubicBezTo>
                      <a:pt x="48353" y="101230"/>
                      <a:pt x="42937" y="102183"/>
                      <a:pt x="37520" y="101866"/>
                    </a:cubicBezTo>
                    <a:cubicBezTo>
                      <a:pt x="20832" y="101866"/>
                      <a:pt x="12488" y="93201"/>
                      <a:pt x="12488" y="75882"/>
                    </a:cubicBezTo>
                    <a:lnTo>
                      <a:pt x="12488" y="40762"/>
                    </a:lnTo>
                    <a:lnTo>
                      <a:pt x="0" y="40762"/>
                    </a:lnTo>
                    <a:lnTo>
                      <a:pt x="0" y="23322"/>
                    </a:lnTo>
                    <a:lnTo>
                      <a:pt x="12445" y="23322"/>
                    </a:lnTo>
                    <a:lnTo>
                      <a:pt x="12445" y="6737"/>
                    </a:lnTo>
                    <a:lnTo>
                      <a:pt x="36051" y="0"/>
                    </a:lnTo>
                    <a:lnTo>
                      <a:pt x="36051" y="23289"/>
                    </a:lnTo>
                    <a:lnTo>
                      <a:pt x="53287" y="23289"/>
                    </a:lnTo>
                    <a:lnTo>
                      <a:pt x="53287" y="40729"/>
                    </a:lnTo>
                    <a:lnTo>
                      <a:pt x="36051" y="40729"/>
                    </a:lnTo>
                    <a:lnTo>
                      <a:pt x="36051" y="71730"/>
                    </a:lnTo>
                    <a:cubicBezTo>
                      <a:pt x="36051" y="79716"/>
                      <a:pt x="39220" y="83703"/>
                      <a:pt x="45568" y="83714"/>
                    </a:cubicBezTo>
                    <a:cubicBezTo>
                      <a:pt x="48265" y="83637"/>
                      <a:pt x="50908" y="82892"/>
                      <a:pt x="53243" y="815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02" name="Freeform: Shape 101">
                <a:extLst>
                  <a:ext uri="{FF2B5EF4-FFF2-40B4-BE49-F238E27FC236}">
                    <a16:creationId xmlns:a16="http://schemas.microsoft.com/office/drawing/2014/main" id="{089001CF-AE5E-E779-CBBF-EE6EA9B229CD}"/>
                  </a:ext>
                </a:extLst>
              </p:cNvPr>
              <p:cNvSpPr/>
              <p:nvPr/>
            </p:nvSpPr>
            <p:spPr>
              <a:xfrm>
                <a:off x="2294303" y="4162253"/>
                <a:ext cx="83351" cy="112729"/>
              </a:xfrm>
              <a:custGeom>
                <a:avLst/>
                <a:gdLst>
                  <a:gd name="connsiteX0" fmla="*/ 83351 w 83351"/>
                  <a:gd name="connsiteY0" fmla="*/ 11 h 112729"/>
                  <a:gd name="connsiteX1" fmla="*/ 52169 w 83351"/>
                  <a:gd name="connsiteY1" fmla="*/ 82827 h 112729"/>
                  <a:gd name="connsiteX2" fmla="*/ 18289 w 83351"/>
                  <a:gd name="connsiteY2" fmla="*/ 112711 h 112729"/>
                  <a:gd name="connsiteX3" fmla="*/ 4123 w 83351"/>
                  <a:gd name="connsiteY3" fmla="*/ 110761 h 112729"/>
                  <a:gd name="connsiteX4" fmla="*/ 4123 w 83351"/>
                  <a:gd name="connsiteY4" fmla="*/ 91875 h 112729"/>
                  <a:gd name="connsiteX5" fmla="*/ 14396 w 83351"/>
                  <a:gd name="connsiteY5" fmla="*/ 94647 h 112729"/>
                  <a:gd name="connsiteX6" fmla="*/ 27137 w 83351"/>
                  <a:gd name="connsiteY6" fmla="*/ 86036 h 112729"/>
                  <a:gd name="connsiteX7" fmla="*/ 31183 w 83351"/>
                  <a:gd name="connsiteY7" fmla="*/ 76528 h 112729"/>
                  <a:gd name="connsiteX8" fmla="*/ 0 w 83351"/>
                  <a:gd name="connsiteY8" fmla="*/ 0 h 112729"/>
                  <a:gd name="connsiteX9" fmla="*/ 26238 w 83351"/>
                  <a:gd name="connsiteY9" fmla="*/ 0 h 112729"/>
                  <a:gd name="connsiteX10" fmla="*/ 40557 w 83351"/>
                  <a:gd name="connsiteY10" fmla="*/ 46644 h 112729"/>
                  <a:gd name="connsiteX11" fmla="*/ 42651 w 83351"/>
                  <a:gd name="connsiteY11" fmla="*/ 56909 h 112729"/>
                  <a:gd name="connsiteX12" fmla="*/ 42948 w 83351"/>
                  <a:gd name="connsiteY12" fmla="*/ 56909 h 112729"/>
                  <a:gd name="connsiteX13" fmla="*/ 45426 w 83351"/>
                  <a:gd name="connsiteY13" fmla="*/ 46798 h 112729"/>
                  <a:gd name="connsiteX14" fmla="*/ 59888 w 83351"/>
                  <a:gd name="connsiteY14" fmla="*/ 0 h 1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51" h="112729">
                    <a:moveTo>
                      <a:pt x="83351" y="11"/>
                    </a:moveTo>
                    <a:lnTo>
                      <a:pt x="52169" y="82827"/>
                    </a:lnTo>
                    <a:cubicBezTo>
                      <a:pt x="44680" y="102742"/>
                      <a:pt x="33387" y="112700"/>
                      <a:pt x="18289" y="112711"/>
                    </a:cubicBezTo>
                    <a:cubicBezTo>
                      <a:pt x="13486" y="112853"/>
                      <a:pt x="8706" y="112185"/>
                      <a:pt x="4123" y="110761"/>
                    </a:cubicBezTo>
                    <a:lnTo>
                      <a:pt x="4123" y="91875"/>
                    </a:lnTo>
                    <a:cubicBezTo>
                      <a:pt x="7237" y="93716"/>
                      <a:pt x="10789" y="94669"/>
                      <a:pt x="14396" y="94647"/>
                    </a:cubicBezTo>
                    <a:cubicBezTo>
                      <a:pt x="20087" y="94921"/>
                      <a:pt x="25273" y="91415"/>
                      <a:pt x="27137" y="86036"/>
                    </a:cubicBezTo>
                    <a:lnTo>
                      <a:pt x="31183" y="76528"/>
                    </a:lnTo>
                    <a:lnTo>
                      <a:pt x="0" y="0"/>
                    </a:lnTo>
                    <a:lnTo>
                      <a:pt x="26238" y="0"/>
                    </a:lnTo>
                    <a:lnTo>
                      <a:pt x="40557" y="46644"/>
                    </a:lnTo>
                    <a:cubicBezTo>
                      <a:pt x="41555" y="49996"/>
                      <a:pt x="42257" y="53436"/>
                      <a:pt x="42651" y="56909"/>
                    </a:cubicBezTo>
                    <a:lnTo>
                      <a:pt x="42948" y="56909"/>
                    </a:lnTo>
                    <a:cubicBezTo>
                      <a:pt x="43540" y="53480"/>
                      <a:pt x="44362" y="50106"/>
                      <a:pt x="45426" y="46798"/>
                    </a:cubicBezTo>
                    <a:lnTo>
                      <a:pt x="59888"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03" name="Freeform: Shape 102">
                <a:extLst>
                  <a:ext uri="{FF2B5EF4-FFF2-40B4-BE49-F238E27FC236}">
                    <a16:creationId xmlns:a16="http://schemas.microsoft.com/office/drawing/2014/main" id="{4AA6A002-FD6C-D3D8-E35F-B7015FF0C681}"/>
                  </a:ext>
                </a:extLst>
              </p:cNvPr>
              <p:cNvSpPr/>
              <p:nvPr/>
            </p:nvSpPr>
            <p:spPr>
              <a:xfrm>
                <a:off x="2387775" y="4160383"/>
                <a:ext cx="79897" cy="113824"/>
              </a:xfrm>
              <a:custGeom>
                <a:avLst/>
                <a:gdLst>
                  <a:gd name="connsiteX0" fmla="*/ 23990 w 79897"/>
                  <a:gd name="connsiteY0" fmla="*/ 69646 h 113824"/>
                  <a:gd name="connsiteX1" fmla="*/ 23694 w 79897"/>
                  <a:gd name="connsiteY1" fmla="*/ 69646 h 113824"/>
                  <a:gd name="connsiteX2" fmla="*/ 23694 w 79897"/>
                  <a:gd name="connsiteY2" fmla="*/ 113825 h 113824"/>
                  <a:gd name="connsiteX3" fmla="*/ 0 w 79897"/>
                  <a:gd name="connsiteY3" fmla="*/ 113825 h 113824"/>
                  <a:gd name="connsiteX4" fmla="*/ 0 w 79897"/>
                  <a:gd name="connsiteY4" fmla="*/ 1881 h 113824"/>
                  <a:gd name="connsiteX5" fmla="*/ 23694 w 79897"/>
                  <a:gd name="connsiteY5" fmla="*/ 1881 h 113824"/>
                  <a:gd name="connsiteX6" fmla="*/ 23694 w 79897"/>
                  <a:gd name="connsiteY6" fmla="*/ 13405 h 113824"/>
                  <a:gd name="connsiteX7" fmla="*/ 23990 w 79897"/>
                  <a:gd name="connsiteY7" fmla="*/ 13405 h 113824"/>
                  <a:gd name="connsiteX8" fmla="*/ 65786 w 79897"/>
                  <a:gd name="connsiteY8" fmla="*/ 5069 h 113824"/>
                  <a:gd name="connsiteX9" fmla="*/ 71696 w 79897"/>
                  <a:gd name="connsiteY9" fmla="*/ 10229 h 113824"/>
                  <a:gd name="connsiteX10" fmla="*/ 79832 w 79897"/>
                  <a:gd name="connsiteY10" fmla="*/ 38042 h 113824"/>
                  <a:gd name="connsiteX11" fmla="*/ 70348 w 79897"/>
                  <a:gd name="connsiteY11" fmla="*/ 68824 h 113824"/>
                  <a:gd name="connsiteX12" fmla="*/ 45129 w 79897"/>
                  <a:gd name="connsiteY12" fmla="*/ 80425 h 113824"/>
                  <a:gd name="connsiteX13" fmla="*/ 23990 w 79897"/>
                  <a:gd name="connsiteY13" fmla="*/ 69646 h 113824"/>
                  <a:gd name="connsiteX14" fmla="*/ 23310 w 79897"/>
                  <a:gd name="connsiteY14" fmla="*/ 38195 h 113824"/>
                  <a:gd name="connsiteX15" fmla="*/ 23310 w 79897"/>
                  <a:gd name="connsiteY15" fmla="*/ 44341 h 113824"/>
                  <a:gd name="connsiteX16" fmla="*/ 27510 w 79897"/>
                  <a:gd name="connsiteY16" fmla="*/ 57289 h 113824"/>
                  <a:gd name="connsiteX17" fmla="*/ 38474 w 79897"/>
                  <a:gd name="connsiteY17" fmla="*/ 62306 h 113824"/>
                  <a:gd name="connsiteX18" fmla="*/ 51028 w 79897"/>
                  <a:gd name="connsiteY18" fmla="*/ 56051 h 113824"/>
                  <a:gd name="connsiteX19" fmla="*/ 55491 w 79897"/>
                  <a:gd name="connsiteY19" fmla="*/ 38349 h 113824"/>
                  <a:gd name="connsiteX20" fmla="*/ 39746 w 79897"/>
                  <a:gd name="connsiteY20" fmla="*/ 18127 h 113824"/>
                  <a:gd name="connsiteX21" fmla="*/ 27871 w 79897"/>
                  <a:gd name="connsiteY21" fmla="*/ 23604 h 113824"/>
                  <a:gd name="connsiteX22" fmla="*/ 23321 w 79897"/>
                  <a:gd name="connsiteY22" fmla="*/ 38195 h 11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97" h="113824">
                    <a:moveTo>
                      <a:pt x="23990" y="69646"/>
                    </a:moveTo>
                    <a:lnTo>
                      <a:pt x="23694" y="69646"/>
                    </a:lnTo>
                    <a:lnTo>
                      <a:pt x="23694" y="113825"/>
                    </a:lnTo>
                    <a:lnTo>
                      <a:pt x="0" y="113825"/>
                    </a:lnTo>
                    <a:lnTo>
                      <a:pt x="0" y="1881"/>
                    </a:lnTo>
                    <a:lnTo>
                      <a:pt x="23694" y="1881"/>
                    </a:lnTo>
                    <a:lnTo>
                      <a:pt x="23694" y="13405"/>
                    </a:lnTo>
                    <a:lnTo>
                      <a:pt x="23990" y="13405"/>
                    </a:lnTo>
                    <a:cubicBezTo>
                      <a:pt x="33233" y="-430"/>
                      <a:pt x="51938" y="-4166"/>
                      <a:pt x="65786" y="5069"/>
                    </a:cubicBezTo>
                    <a:cubicBezTo>
                      <a:pt x="67979" y="6526"/>
                      <a:pt x="69964" y="8257"/>
                      <a:pt x="71696" y="10229"/>
                    </a:cubicBezTo>
                    <a:cubicBezTo>
                      <a:pt x="77507" y="18302"/>
                      <a:pt x="80380" y="28117"/>
                      <a:pt x="79832" y="38042"/>
                    </a:cubicBezTo>
                    <a:cubicBezTo>
                      <a:pt x="80380" y="49095"/>
                      <a:pt x="77025" y="59995"/>
                      <a:pt x="70348" y="68824"/>
                    </a:cubicBezTo>
                    <a:cubicBezTo>
                      <a:pt x="64251" y="76459"/>
                      <a:pt x="54899" y="80753"/>
                      <a:pt x="45129" y="80425"/>
                    </a:cubicBezTo>
                    <a:cubicBezTo>
                      <a:pt x="36665" y="80830"/>
                      <a:pt x="28628" y="76733"/>
                      <a:pt x="23990" y="69646"/>
                    </a:cubicBezTo>
                    <a:close/>
                    <a:moveTo>
                      <a:pt x="23310" y="38195"/>
                    </a:moveTo>
                    <a:lnTo>
                      <a:pt x="23310" y="44341"/>
                    </a:lnTo>
                    <a:cubicBezTo>
                      <a:pt x="23113" y="49018"/>
                      <a:pt x="24604" y="53619"/>
                      <a:pt x="27510" y="57289"/>
                    </a:cubicBezTo>
                    <a:cubicBezTo>
                      <a:pt x="30185" y="60564"/>
                      <a:pt x="34242" y="62416"/>
                      <a:pt x="38474" y="62306"/>
                    </a:cubicBezTo>
                    <a:cubicBezTo>
                      <a:pt x="43452" y="62514"/>
                      <a:pt x="48199" y="60148"/>
                      <a:pt x="51028" y="56051"/>
                    </a:cubicBezTo>
                    <a:cubicBezTo>
                      <a:pt x="54307" y="50749"/>
                      <a:pt x="55864" y="44571"/>
                      <a:pt x="55491" y="38349"/>
                    </a:cubicBezTo>
                    <a:cubicBezTo>
                      <a:pt x="55491" y="24864"/>
                      <a:pt x="50239" y="18127"/>
                      <a:pt x="39746" y="18127"/>
                    </a:cubicBezTo>
                    <a:cubicBezTo>
                      <a:pt x="35152" y="18006"/>
                      <a:pt x="30755" y="20033"/>
                      <a:pt x="27871" y="23604"/>
                    </a:cubicBezTo>
                    <a:cubicBezTo>
                      <a:pt x="24648" y="27767"/>
                      <a:pt x="23036" y="32948"/>
                      <a:pt x="23321" y="3819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04" name="Freeform: Shape 103">
                <a:extLst>
                  <a:ext uri="{FF2B5EF4-FFF2-40B4-BE49-F238E27FC236}">
                    <a16:creationId xmlns:a16="http://schemas.microsoft.com/office/drawing/2014/main" id="{DAB90B1A-AC9C-2249-3784-8EDBC9224366}"/>
                  </a:ext>
                </a:extLst>
              </p:cNvPr>
              <p:cNvSpPr/>
              <p:nvPr/>
            </p:nvSpPr>
            <p:spPr>
              <a:xfrm>
                <a:off x="2478739" y="4160329"/>
                <a:ext cx="73755" cy="80661"/>
              </a:xfrm>
              <a:custGeom>
                <a:avLst/>
                <a:gdLst>
                  <a:gd name="connsiteX0" fmla="*/ 73698 w 73755"/>
                  <a:gd name="connsiteY0" fmla="*/ 47014 h 80661"/>
                  <a:gd name="connsiteX1" fmla="*/ 23635 w 73755"/>
                  <a:gd name="connsiteY1" fmla="*/ 47014 h 80661"/>
                  <a:gd name="connsiteX2" fmla="*/ 44698 w 73755"/>
                  <a:gd name="connsiteY2" fmla="*/ 63708 h 80661"/>
                  <a:gd name="connsiteX3" fmla="*/ 66955 w 73755"/>
                  <a:gd name="connsiteY3" fmla="*/ 57716 h 80661"/>
                  <a:gd name="connsiteX4" fmla="*/ 66955 w 73755"/>
                  <a:gd name="connsiteY4" fmla="*/ 74794 h 80661"/>
                  <a:gd name="connsiteX5" fmla="*/ 39303 w 73755"/>
                  <a:gd name="connsiteY5" fmla="*/ 80479 h 80661"/>
                  <a:gd name="connsiteX6" fmla="*/ 182 w 73755"/>
                  <a:gd name="connsiteY6" fmla="*/ 48525 h 80661"/>
                  <a:gd name="connsiteX7" fmla="*/ 171 w 73755"/>
                  <a:gd name="connsiteY7" fmla="*/ 41470 h 80661"/>
                  <a:gd name="connsiteX8" fmla="*/ 11267 w 73755"/>
                  <a:gd name="connsiteY8" fmla="*/ 11214 h 80661"/>
                  <a:gd name="connsiteX9" fmla="*/ 38547 w 73755"/>
                  <a:gd name="connsiteY9" fmla="*/ 63 h 80661"/>
                  <a:gd name="connsiteX10" fmla="*/ 64521 w 73755"/>
                  <a:gd name="connsiteY10" fmla="*/ 10020 h 80661"/>
                  <a:gd name="connsiteX11" fmla="*/ 73698 w 73755"/>
                  <a:gd name="connsiteY11" fmla="*/ 37056 h 80661"/>
                  <a:gd name="connsiteX12" fmla="*/ 51770 w 73755"/>
                  <a:gd name="connsiteY12" fmla="*/ 32488 h 80661"/>
                  <a:gd name="connsiteX13" fmla="*/ 38426 w 73755"/>
                  <a:gd name="connsiteY13" fmla="*/ 16056 h 80661"/>
                  <a:gd name="connsiteX14" fmla="*/ 28558 w 73755"/>
                  <a:gd name="connsiteY14" fmla="*/ 20766 h 80661"/>
                  <a:gd name="connsiteX15" fmla="*/ 23493 w 73755"/>
                  <a:gd name="connsiteY15" fmla="*/ 32532 h 80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61">
                    <a:moveTo>
                      <a:pt x="73698" y="47014"/>
                    </a:moveTo>
                    <a:lnTo>
                      <a:pt x="23635" y="47014"/>
                    </a:lnTo>
                    <a:cubicBezTo>
                      <a:pt x="24435" y="58143"/>
                      <a:pt x="31453" y="63708"/>
                      <a:pt x="44698" y="63708"/>
                    </a:cubicBezTo>
                    <a:cubicBezTo>
                      <a:pt x="52537" y="63872"/>
                      <a:pt x="60256" y="61791"/>
                      <a:pt x="66955" y="57716"/>
                    </a:cubicBezTo>
                    <a:lnTo>
                      <a:pt x="66955" y="74794"/>
                    </a:lnTo>
                    <a:cubicBezTo>
                      <a:pt x="58337" y="78913"/>
                      <a:pt x="48842" y="80863"/>
                      <a:pt x="39303" y="80479"/>
                    </a:cubicBezTo>
                    <a:cubicBezTo>
                      <a:pt x="19666" y="82451"/>
                      <a:pt x="2156" y="68145"/>
                      <a:pt x="182" y="48525"/>
                    </a:cubicBezTo>
                    <a:cubicBezTo>
                      <a:pt x="-59" y="46181"/>
                      <a:pt x="-59" y="43815"/>
                      <a:pt x="171" y="41470"/>
                    </a:cubicBezTo>
                    <a:cubicBezTo>
                      <a:pt x="-410" y="30297"/>
                      <a:pt x="3592" y="19364"/>
                      <a:pt x="11267" y="11214"/>
                    </a:cubicBezTo>
                    <a:cubicBezTo>
                      <a:pt x="18416" y="3875"/>
                      <a:pt x="28295" y="-167"/>
                      <a:pt x="38547" y="63"/>
                    </a:cubicBezTo>
                    <a:cubicBezTo>
                      <a:pt x="48239" y="-529"/>
                      <a:pt x="57712" y="3097"/>
                      <a:pt x="64521" y="10020"/>
                    </a:cubicBezTo>
                    <a:cubicBezTo>
                      <a:pt x="70946" y="17513"/>
                      <a:pt x="74236" y="27197"/>
                      <a:pt x="73698" y="37056"/>
                    </a:cubicBezTo>
                    <a:close/>
                    <a:moveTo>
                      <a:pt x="51770" y="32488"/>
                    </a:moveTo>
                    <a:cubicBezTo>
                      <a:pt x="51770" y="21533"/>
                      <a:pt x="47318" y="16056"/>
                      <a:pt x="38426" y="16056"/>
                    </a:cubicBezTo>
                    <a:cubicBezTo>
                      <a:pt x="34599" y="16067"/>
                      <a:pt x="30970" y="17798"/>
                      <a:pt x="28558" y="20766"/>
                    </a:cubicBezTo>
                    <a:cubicBezTo>
                      <a:pt x="25707" y="24086"/>
                      <a:pt x="23942" y="28183"/>
                      <a:pt x="23493"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grpSp>
        <p:grpSp>
          <p:nvGrpSpPr>
            <p:cNvPr id="14" name="Graphic 2" descr="Diagram showing responsibility zones.">
              <a:extLst>
                <a:ext uri="{FF2B5EF4-FFF2-40B4-BE49-F238E27FC236}">
                  <a16:creationId xmlns:a16="http://schemas.microsoft.com/office/drawing/2014/main" id="{81316B32-D475-C890-955A-6A6D8E45E746}"/>
                </a:ext>
              </a:extLst>
            </p:cNvPr>
            <p:cNvGrpSpPr/>
            <p:nvPr/>
          </p:nvGrpSpPr>
          <p:grpSpPr>
            <a:xfrm>
              <a:off x="2624709" y="4402619"/>
              <a:ext cx="1680678" cy="334665"/>
              <a:chOff x="1216832" y="5091953"/>
              <a:chExt cx="1680678" cy="334665"/>
            </a:xfrm>
            <a:solidFill>
              <a:srgbClr val="2F2F2F"/>
            </a:solidFill>
          </p:grpSpPr>
          <p:sp>
            <p:nvSpPr>
              <p:cNvPr id="41" name="Freeform: Shape 40">
                <a:extLst>
                  <a:ext uri="{FF2B5EF4-FFF2-40B4-BE49-F238E27FC236}">
                    <a16:creationId xmlns:a16="http://schemas.microsoft.com/office/drawing/2014/main" id="{4F6DDFC6-73AE-6CBA-B3E6-AC0020C9FBF0}"/>
                  </a:ext>
                </a:extLst>
              </p:cNvPr>
              <p:cNvSpPr/>
              <p:nvPr/>
            </p:nvSpPr>
            <p:spPr>
              <a:xfrm>
                <a:off x="1216832" y="5099967"/>
                <a:ext cx="90160" cy="107353"/>
              </a:xfrm>
              <a:custGeom>
                <a:avLst/>
                <a:gdLst>
                  <a:gd name="connsiteX0" fmla="*/ 90160 w 90160"/>
                  <a:gd name="connsiteY0" fmla="*/ 107354 h 107353"/>
                  <a:gd name="connsiteX1" fmla="*/ 62311 w 90160"/>
                  <a:gd name="connsiteY1" fmla="*/ 107354 h 107353"/>
                  <a:gd name="connsiteX2" fmla="*/ 45601 w 90160"/>
                  <a:gd name="connsiteY2" fmla="*/ 79715 h 107353"/>
                  <a:gd name="connsiteX3" fmla="*/ 41994 w 90160"/>
                  <a:gd name="connsiteY3" fmla="*/ 74107 h 107353"/>
                  <a:gd name="connsiteX4" fmla="*/ 38518 w 90160"/>
                  <a:gd name="connsiteY4" fmla="*/ 69879 h 107353"/>
                  <a:gd name="connsiteX5" fmla="*/ 34845 w 90160"/>
                  <a:gd name="connsiteY5" fmla="*/ 67173 h 107353"/>
                  <a:gd name="connsiteX6" fmla="*/ 30678 w 90160"/>
                  <a:gd name="connsiteY6" fmla="*/ 66242 h 107353"/>
                  <a:gd name="connsiteX7" fmla="*/ 24166 w 90160"/>
                  <a:gd name="connsiteY7" fmla="*/ 66242 h 107353"/>
                  <a:gd name="connsiteX8" fmla="*/ 24166 w 90160"/>
                  <a:gd name="connsiteY8" fmla="*/ 107354 h 107353"/>
                  <a:gd name="connsiteX9" fmla="*/ 0 w 90160"/>
                  <a:gd name="connsiteY9" fmla="*/ 107354 h 107353"/>
                  <a:gd name="connsiteX10" fmla="*/ 0 w 90160"/>
                  <a:gd name="connsiteY10" fmla="*/ 0 h 107353"/>
                  <a:gd name="connsiteX11" fmla="*/ 38375 w 90160"/>
                  <a:gd name="connsiteY11" fmla="*/ 0 h 107353"/>
                  <a:gd name="connsiteX12" fmla="*/ 77496 w 90160"/>
                  <a:gd name="connsiteY12" fmla="*/ 29204 h 107353"/>
                  <a:gd name="connsiteX13" fmla="*/ 75775 w 90160"/>
                  <a:gd name="connsiteY13" fmla="*/ 39579 h 107353"/>
                  <a:gd name="connsiteX14" fmla="*/ 70896 w 90160"/>
                  <a:gd name="connsiteY14" fmla="*/ 48156 h 107353"/>
                  <a:gd name="connsiteX15" fmla="*/ 63286 w 90160"/>
                  <a:gd name="connsiteY15" fmla="*/ 54729 h 107353"/>
                  <a:gd name="connsiteX16" fmla="*/ 53364 w 90160"/>
                  <a:gd name="connsiteY16" fmla="*/ 59110 h 107353"/>
                  <a:gd name="connsiteX17" fmla="*/ 53364 w 90160"/>
                  <a:gd name="connsiteY17" fmla="*/ 59406 h 107353"/>
                  <a:gd name="connsiteX18" fmla="*/ 58013 w 90160"/>
                  <a:gd name="connsiteY18" fmla="*/ 61838 h 107353"/>
                  <a:gd name="connsiteX19" fmla="*/ 62398 w 90160"/>
                  <a:gd name="connsiteY19" fmla="*/ 65771 h 107353"/>
                  <a:gd name="connsiteX20" fmla="*/ 66411 w 90160"/>
                  <a:gd name="connsiteY20" fmla="*/ 70602 h 107353"/>
                  <a:gd name="connsiteX21" fmla="*/ 69898 w 90160"/>
                  <a:gd name="connsiteY21" fmla="*/ 75652 h 107353"/>
                  <a:gd name="connsiteX22" fmla="*/ 24209 w 90160"/>
                  <a:gd name="connsiteY22" fmla="*/ 18086 h 107353"/>
                  <a:gd name="connsiteX23" fmla="*/ 24209 w 90160"/>
                  <a:gd name="connsiteY23" fmla="*/ 47970 h 107353"/>
                  <a:gd name="connsiteX24" fmla="*/ 34702 w 90160"/>
                  <a:gd name="connsiteY24" fmla="*/ 47970 h 107353"/>
                  <a:gd name="connsiteX25" fmla="*/ 47213 w 90160"/>
                  <a:gd name="connsiteY25" fmla="*/ 43478 h 107353"/>
                  <a:gd name="connsiteX26" fmla="*/ 52015 w 90160"/>
                  <a:gd name="connsiteY26" fmla="*/ 32173 h 107353"/>
                  <a:gd name="connsiteX27" fmla="*/ 35152 w 90160"/>
                  <a:gd name="connsiteY27" fmla="*/ 1808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0160" h="107353">
                    <a:moveTo>
                      <a:pt x="90160" y="107354"/>
                    </a:moveTo>
                    <a:lnTo>
                      <a:pt x="62311" y="107354"/>
                    </a:lnTo>
                    <a:lnTo>
                      <a:pt x="45601" y="79715"/>
                    </a:lnTo>
                    <a:cubicBezTo>
                      <a:pt x="44351" y="77623"/>
                      <a:pt x="43148" y="75761"/>
                      <a:pt x="41994" y="74107"/>
                    </a:cubicBezTo>
                    <a:cubicBezTo>
                      <a:pt x="40965" y="72595"/>
                      <a:pt x="39802" y="71182"/>
                      <a:pt x="38518" y="69879"/>
                    </a:cubicBezTo>
                    <a:cubicBezTo>
                      <a:pt x="37447" y="68783"/>
                      <a:pt x="36207" y="67874"/>
                      <a:pt x="34845" y="67173"/>
                    </a:cubicBezTo>
                    <a:cubicBezTo>
                      <a:pt x="33547" y="66548"/>
                      <a:pt x="32120" y="66231"/>
                      <a:pt x="30678" y="66242"/>
                    </a:cubicBezTo>
                    <a:lnTo>
                      <a:pt x="24166" y="66242"/>
                    </a:lnTo>
                    <a:lnTo>
                      <a:pt x="24166" y="107354"/>
                    </a:lnTo>
                    <a:lnTo>
                      <a:pt x="0" y="107354"/>
                    </a:lnTo>
                    <a:lnTo>
                      <a:pt x="0" y="0"/>
                    </a:lnTo>
                    <a:lnTo>
                      <a:pt x="38375" y="0"/>
                    </a:lnTo>
                    <a:cubicBezTo>
                      <a:pt x="64449" y="0"/>
                      <a:pt x="77489" y="9739"/>
                      <a:pt x="77496" y="29204"/>
                    </a:cubicBezTo>
                    <a:cubicBezTo>
                      <a:pt x="77534" y="32732"/>
                      <a:pt x="76951" y="36248"/>
                      <a:pt x="75775" y="39579"/>
                    </a:cubicBezTo>
                    <a:cubicBezTo>
                      <a:pt x="74655" y="42700"/>
                      <a:pt x="73004" y="45603"/>
                      <a:pt x="70896" y="48156"/>
                    </a:cubicBezTo>
                    <a:cubicBezTo>
                      <a:pt x="68737" y="50752"/>
                      <a:pt x="66167" y="52965"/>
                      <a:pt x="63286" y="54729"/>
                    </a:cubicBezTo>
                    <a:cubicBezTo>
                      <a:pt x="60198" y="56645"/>
                      <a:pt x="56858" y="58113"/>
                      <a:pt x="53364" y="59110"/>
                    </a:cubicBezTo>
                    <a:lnTo>
                      <a:pt x="53364" y="59406"/>
                    </a:lnTo>
                    <a:cubicBezTo>
                      <a:pt x="55041" y="59943"/>
                      <a:pt x="56614" y="60764"/>
                      <a:pt x="58013" y="61838"/>
                    </a:cubicBezTo>
                    <a:cubicBezTo>
                      <a:pt x="59587" y="63021"/>
                      <a:pt x="61055" y="64335"/>
                      <a:pt x="62398" y="65771"/>
                    </a:cubicBezTo>
                    <a:cubicBezTo>
                      <a:pt x="63825" y="67304"/>
                      <a:pt x="65165" y="68914"/>
                      <a:pt x="66411" y="70602"/>
                    </a:cubicBezTo>
                    <a:cubicBezTo>
                      <a:pt x="67683" y="72321"/>
                      <a:pt x="68845" y="73998"/>
                      <a:pt x="69898" y="75652"/>
                    </a:cubicBezTo>
                    <a:close/>
                    <a:moveTo>
                      <a:pt x="24209" y="18086"/>
                    </a:moveTo>
                    <a:lnTo>
                      <a:pt x="24209" y="47970"/>
                    </a:lnTo>
                    <a:lnTo>
                      <a:pt x="34702" y="47970"/>
                    </a:lnTo>
                    <a:cubicBezTo>
                      <a:pt x="39303" y="48189"/>
                      <a:pt x="43802" y="46568"/>
                      <a:pt x="47213" y="43478"/>
                    </a:cubicBezTo>
                    <a:cubicBezTo>
                      <a:pt x="50356" y="40564"/>
                      <a:pt x="52104" y="36457"/>
                      <a:pt x="52015" y="32173"/>
                    </a:cubicBezTo>
                    <a:cubicBezTo>
                      <a:pt x="52015" y="22785"/>
                      <a:pt x="46394" y="18086"/>
                      <a:pt x="35152" y="1808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2" name="Freeform: Shape 41">
                <a:extLst>
                  <a:ext uri="{FF2B5EF4-FFF2-40B4-BE49-F238E27FC236}">
                    <a16:creationId xmlns:a16="http://schemas.microsoft.com/office/drawing/2014/main" id="{BEA821DB-ACEF-C70F-51CA-C9CC00CE198B}"/>
                  </a:ext>
                </a:extLst>
              </p:cNvPr>
              <p:cNvSpPr/>
              <p:nvPr/>
            </p:nvSpPr>
            <p:spPr>
              <a:xfrm>
                <a:off x="1308049" y="5128704"/>
                <a:ext cx="73756" cy="80671"/>
              </a:xfrm>
              <a:custGeom>
                <a:avLst/>
                <a:gdLst>
                  <a:gd name="connsiteX0" fmla="*/ 73699 w 73756"/>
                  <a:gd name="connsiteY0" fmla="*/ 47013 h 80671"/>
                  <a:gd name="connsiteX1" fmla="*/ 23636 w 73756"/>
                  <a:gd name="connsiteY1" fmla="*/ 47013 h 80671"/>
                  <a:gd name="connsiteX2" fmla="*/ 44698 w 73756"/>
                  <a:gd name="connsiteY2" fmla="*/ 63719 h 80671"/>
                  <a:gd name="connsiteX3" fmla="*/ 66956 w 73756"/>
                  <a:gd name="connsiteY3" fmla="*/ 57727 h 80671"/>
                  <a:gd name="connsiteX4" fmla="*/ 66956 w 73756"/>
                  <a:gd name="connsiteY4" fmla="*/ 74794 h 80671"/>
                  <a:gd name="connsiteX5" fmla="*/ 39304 w 73756"/>
                  <a:gd name="connsiteY5" fmla="*/ 80490 h 80671"/>
                  <a:gd name="connsiteX6" fmla="*/ 178 w 73756"/>
                  <a:gd name="connsiteY6" fmla="*/ 48536 h 80671"/>
                  <a:gd name="connsiteX7" fmla="*/ 172 w 73756"/>
                  <a:gd name="connsiteY7" fmla="*/ 41470 h 80671"/>
                  <a:gd name="connsiteX8" fmla="*/ 11268 w 73756"/>
                  <a:gd name="connsiteY8" fmla="*/ 11225 h 80671"/>
                  <a:gd name="connsiteX9" fmla="*/ 38547 w 73756"/>
                  <a:gd name="connsiteY9" fmla="*/ 63 h 80671"/>
                  <a:gd name="connsiteX10" fmla="*/ 64522 w 73756"/>
                  <a:gd name="connsiteY10" fmla="*/ 10020 h 80671"/>
                  <a:gd name="connsiteX11" fmla="*/ 73699 w 73756"/>
                  <a:gd name="connsiteY11" fmla="*/ 37056 h 80671"/>
                  <a:gd name="connsiteX12" fmla="*/ 51770 w 73756"/>
                  <a:gd name="connsiteY12" fmla="*/ 32488 h 80671"/>
                  <a:gd name="connsiteX13" fmla="*/ 38427 w 73756"/>
                  <a:gd name="connsiteY13" fmla="*/ 16056 h 80671"/>
                  <a:gd name="connsiteX14" fmla="*/ 28559 w 73756"/>
                  <a:gd name="connsiteY14" fmla="*/ 20777 h 80671"/>
                  <a:gd name="connsiteX15" fmla="*/ 23493 w 73756"/>
                  <a:gd name="connsiteY15" fmla="*/ 32532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6" h="80671">
                    <a:moveTo>
                      <a:pt x="73699" y="47013"/>
                    </a:moveTo>
                    <a:lnTo>
                      <a:pt x="23636" y="47013"/>
                    </a:lnTo>
                    <a:cubicBezTo>
                      <a:pt x="24433" y="58143"/>
                      <a:pt x="31453" y="63708"/>
                      <a:pt x="44698" y="63719"/>
                    </a:cubicBezTo>
                    <a:cubicBezTo>
                      <a:pt x="52538" y="63883"/>
                      <a:pt x="60259" y="61802"/>
                      <a:pt x="66956" y="57727"/>
                    </a:cubicBezTo>
                    <a:lnTo>
                      <a:pt x="66956" y="74794"/>
                    </a:lnTo>
                    <a:cubicBezTo>
                      <a:pt x="58342" y="78924"/>
                      <a:pt x="48848" y="80874"/>
                      <a:pt x="39304" y="80490"/>
                    </a:cubicBezTo>
                    <a:cubicBezTo>
                      <a:pt x="19668" y="82462"/>
                      <a:pt x="2151" y="68156"/>
                      <a:pt x="178" y="48536"/>
                    </a:cubicBezTo>
                    <a:cubicBezTo>
                      <a:pt x="-57" y="46192"/>
                      <a:pt x="-59" y="43815"/>
                      <a:pt x="172" y="41470"/>
                    </a:cubicBezTo>
                    <a:cubicBezTo>
                      <a:pt x="-409" y="30297"/>
                      <a:pt x="3598" y="19375"/>
                      <a:pt x="11268" y="11225"/>
                    </a:cubicBezTo>
                    <a:cubicBezTo>
                      <a:pt x="18414" y="3886"/>
                      <a:pt x="28297" y="-167"/>
                      <a:pt x="38547" y="63"/>
                    </a:cubicBezTo>
                    <a:cubicBezTo>
                      <a:pt x="48240" y="-529"/>
                      <a:pt x="57714" y="3097"/>
                      <a:pt x="64522" y="10020"/>
                    </a:cubicBezTo>
                    <a:cubicBezTo>
                      <a:pt x="70950" y="17513"/>
                      <a:pt x="74237" y="27197"/>
                      <a:pt x="73699" y="37056"/>
                    </a:cubicBezTo>
                    <a:close/>
                    <a:moveTo>
                      <a:pt x="51770" y="32488"/>
                    </a:moveTo>
                    <a:cubicBezTo>
                      <a:pt x="51770" y="21533"/>
                      <a:pt x="47322" y="16056"/>
                      <a:pt x="38427" y="16056"/>
                    </a:cubicBezTo>
                    <a:cubicBezTo>
                      <a:pt x="34595" y="16067"/>
                      <a:pt x="30971" y="17798"/>
                      <a:pt x="28559" y="20777"/>
                    </a:cubicBezTo>
                    <a:cubicBezTo>
                      <a:pt x="25711" y="24086"/>
                      <a:pt x="23945" y="28194"/>
                      <a:pt x="23493"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3" name="Freeform: Shape 42">
                <a:extLst>
                  <a:ext uri="{FF2B5EF4-FFF2-40B4-BE49-F238E27FC236}">
                    <a16:creationId xmlns:a16="http://schemas.microsoft.com/office/drawing/2014/main" id="{C68068B7-15F7-27AF-55F8-D4BF0823BCF5}"/>
                  </a:ext>
                </a:extLst>
              </p:cNvPr>
              <p:cNvSpPr/>
              <p:nvPr/>
            </p:nvSpPr>
            <p:spPr>
              <a:xfrm>
                <a:off x="1392551" y="5128733"/>
                <a:ext cx="58941" cy="80400"/>
              </a:xfrm>
              <a:custGeom>
                <a:avLst/>
                <a:gdLst>
                  <a:gd name="connsiteX0" fmla="*/ 30 w 58941"/>
                  <a:gd name="connsiteY0" fmla="*/ 76561 h 80400"/>
                  <a:gd name="connsiteX1" fmla="*/ 30 w 58941"/>
                  <a:gd name="connsiteY1" fmla="*/ 57390 h 80400"/>
                  <a:gd name="connsiteX2" fmla="*/ 11685 w 58941"/>
                  <a:gd name="connsiteY2" fmla="*/ 62638 h 80400"/>
                  <a:gd name="connsiteX3" fmla="*/ 22649 w 58941"/>
                  <a:gd name="connsiteY3" fmla="*/ 64358 h 80400"/>
                  <a:gd name="connsiteX4" fmla="*/ 32583 w 58941"/>
                  <a:gd name="connsiteY4" fmla="*/ 62638 h 80400"/>
                  <a:gd name="connsiteX5" fmla="*/ 36212 w 58941"/>
                  <a:gd name="connsiteY5" fmla="*/ 57390 h 80400"/>
                  <a:gd name="connsiteX6" fmla="*/ 34567 w 58941"/>
                  <a:gd name="connsiteY6" fmla="*/ 53655 h 80400"/>
                  <a:gd name="connsiteX7" fmla="*/ 30324 w 58941"/>
                  <a:gd name="connsiteY7" fmla="*/ 51026 h 80400"/>
                  <a:gd name="connsiteX8" fmla="*/ 24667 w 58941"/>
                  <a:gd name="connsiteY8" fmla="*/ 49010 h 80400"/>
                  <a:gd name="connsiteX9" fmla="*/ 18746 w 58941"/>
                  <a:gd name="connsiteY9" fmla="*/ 46984 h 80400"/>
                  <a:gd name="connsiteX10" fmla="*/ 10687 w 58941"/>
                  <a:gd name="connsiteY10" fmla="*/ 43281 h 80400"/>
                  <a:gd name="connsiteX11" fmla="*/ 4843 w 58941"/>
                  <a:gd name="connsiteY11" fmla="*/ 38669 h 80400"/>
                  <a:gd name="connsiteX12" fmla="*/ 1247 w 58941"/>
                  <a:gd name="connsiteY12" fmla="*/ 32612 h 80400"/>
                  <a:gd name="connsiteX13" fmla="*/ 8 w 58941"/>
                  <a:gd name="connsiteY13" fmla="*/ 24451 h 80400"/>
                  <a:gd name="connsiteX14" fmla="*/ 2826 w 58941"/>
                  <a:gd name="connsiteY14" fmla="*/ 13364 h 80400"/>
                  <a:gd name="connsiteX15" fmla="*/ 10314 w 58941"/>
                  <a:gd name="connsiteY15" fmla="*/ 5762 h 80400"/>
                  <a:gd name="connsiteX16" fmla="*/ 21037 w 58941"/>
                  <a:gd name="connsiteY16" fmla="*/ 1380 h 80400"/>
                  <a:gd name="connsiteX17" fmla="*/ 33592 w 58941"/>
                  <a:gd name="connsiteY17" fmla="*/ 0 h 80400"/>
                  <a:gd name="connsiteX18" fmla="*/ 43931 w 58941"/>
                  <a:gd name="connsiteY18" fmla="*/ 789 h 80400"/>
                  <a:gd name="connsiteX19" fmla="*/ 54281 w 58941"/>
                  <a:gd name="connsiteY19" fmla="*/ 3067 h 80400"/>
                  <a:gd name="connsiteX20" fmla="*/ 54281 w 58941"/>
                  <a:gd name="connsiteY20" fmla="*/ 21339 h 80400"/>
                  <a:gd name="connsiteX21" fmla="*/ 44644 w 58941"/>
                  <a:gd name="connsiteY21" fmla="*/ 17407 h 80400"/>
                  <a:gd name="connsiteX22" fmla="*/ 34567 w 58941"/>
                  <a:gd name="connsiteY22" fmla="*/ 16103 h 80400"/>
                  <a:gd name="connsiteX23" fmla="*/ 30182 w 58941"/>
                  <a:gd name="connsiteY23" fmla="*/ 16508 h 80400"/>
                  <a:gd name="connsiteX24" fmla="*/ 26542 w 58941"/>
                  <a:gd name="connsiteY24" fmla="*/ 17713 h 80400"/>
                  <a:gd name="connsiteX25" fmla="*/ 24075 w 58941"/>
                  <a:gd name="connsiteY25" fmla="*/ 19729 h 80400"/>
                  <a:gd name="connsiteX26" fmla="*/ 23175 w 58941"/>
                  <a:gd name="connsiteY26" fmla="*/ 22544 h 80400"/>
                  <a:gd name="connsiteX27" fmla="*/ 24524 w 58941"/>
                  <a:gd name="connsiteY27" fmla="*/ 26137 h 80400"/>
                  <a:gd name="connsiteX28" fmla="*/ 28044 w 58941"/>
                  <a:gd name="connsiteY28" fmla="*/ 28723 h 80400"/>
                  <a:gd name="connsiteX29" fmla="*/ 32879 w 58941"/>
                  <a:gd name="connsiteY29" fmla="*/ 30662 h 80400"/>
                  <a:gd name="connsiteX30" fmla="*/ 38164 w 58941"/>
                  <a:gd name="connsiteY30" fmla="*/ 32425 h 80400"/>
                  <a:gd name="connsiteX31" fmla="*/ 46705 w 58941"/>
                  <a:gd name="connsiteY31" fmla="*/ 36018 h 80400"/>
                  <a:gd name="connsiteX32" fmla="*/ 53284 w 58941"/>
                  <a:gd name="connsiteY32" fmla="*/ 40586 h 80400"/>
                  <a:gd name="connsiteX33" fmla="*/ 57483 w 58941"/>
                  <a:gd name="connsiteY33" fmla="*/ 46732 h 80400"/>
                  <a:gd name="connsiteX34" fmla="*/ 55981 w 58941"/>
                  <a:gd name="connsiteY34" fmla="*/ 66757 h 80400"/>
                  <a:gd name="connsiteX35" fmla="*/ 48119 w 58941"/>
                  <a:gd name="connsiteY35" fmla="*/ 74622 h 80400"/>
                  <a:gd name="connsiteX36" fmla="*/ 36793 w 58941"/>
                  <a:gd name="connsiteY36" fmla="*/ 79004 h 80400"/>
                  <a:gd name="connsiteX37" fmla="*/ 23493 w 58941"/>
                  <a:gd name="connsiteY37" fmla="*/ 80395 h 80400"/>
                  <a:gd name="connsiteX38" fmla="*/ 30 w 58941"/>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1" h="80400">
                    <a:moveTo>
                      <a:pt x="30" y="76561"/>
                    </a:moveTo>
                    <a:lnTo>
                      <a:pt x="30" y="57390"/>
                    </a:lnTo>
                    <a:cubicBezTo>
                      <a:pt x="3675" y="59625"/>
                      <a:pt x="7592" y="61389"/>
                      <a:pt x="11685" y="62638"/>
                    </a:cubicBezTo>
                    <a:cubicBezTo>
                      <a:pt x="15237" y="63733"/>
                      <a:pt x="18930" y="64314"/>
                      <a:pt x="22649" y="64358"/>
                    </a:cubicBezTo>
                    <a:cubicBezTo>
                      <a:pt x="26046" y="64511"/>
                      <a:pt x="29435" y="63919"/>
                      <a:pt x="32583" y="62638"/>
                    </a:cubicBezTo>
                    <a:cubicBezTo>
                      <a:pt x="34778" y="61827"/>
                      <a:pt x="36229" y="59724"/>
                      <a:pt x="36212" y="57390"/>
                    </a:cubicBezTo>
                    <a:cubicBezTo>
                      <a:pt x="36242" y="55966"/>
                      <a:pt x="35640" y="54597"/>
                      <a:pt x="34567" y="53655"/>
                    </a:cubicBezTo>
                    <a:cubicBezTo>
                      <a:pt x="33308" y="52549"/>
                      <a:pt x="31875" y="51661"/>
                      <a:pt x="30324" y="51026"/>
                    </a:cubicBezTo>
                    <a:cubicBezTo>
                      <a:pt x="28483" y="50237"/>
                      <a:pt x="26593" y="49558"/>
                      <a:pt x="24667" y="49010"/>
                    </a:cubicBezTo>
                    <a:cubicBezTo>
                      <a:pt x="22616" y="48408"/>
                      <a:pt x="20654" y="47739"/>
                      <a:pt x="18746" y="46984"/>
                    </a:cubicBezTo>
                    <a:cubicBezTo>
                      <a:pt x="15969" y="45954"/>
                      <a:pt x="13275" y="44716"/>
                      <a:pt x="10687" y="43281"/>
                    </a:cubicBezTo>
                    <a:cubicBezTo>
                      <a:pt x="8504" y="42065"/>
                      <a:pt x="6530" y="40510"/>
                      <a:pt x="4843" y="38669"/>
                    </a:cubicBezTo>
                    <a:cubicBezTo>
                      <a:pt x="3260" y="36906"/>
                      <a:pt x="2038" y="34846"/>
                      <a:pt x="1247" y="32612"/>
                    </a:cubicBezTo>
                    <a:cubicBezTo>
                      <a:pt x="371" y="29983"/>
                      <a:pt x="-49" y="27222"/>
                      <a:pt x="8" y="24451"/>
                    </a:cubicBezTo>
                    <a:cubicBezTo>
                      <a:pt x="-98" y="20562"/>
                      <a:pt x="877" y="16727"/>
                      <a:pt x="2826" y="13364"/>
                    </a:cubicBezTo>
                    <a:cubicBezTo>
                      <a:pt x="4692" y="10275"/>
                      <a:pt x="7256" y="7679"/>
                      <a:pt x="10314" y="5762"/>
                    </a:cubicBezTo>
                    <a:cubicBezTo>
                      <a:pt x="13616" y="3703"/>
                      <a:pt x="17242" y="2224"/>
                      <a:pt x="21037" y="1380"/>
                    </a:cubicBezTo>
                    <a:cubicBezTo>
                      <a:pt x="25157" y="449"/>
                      <a:pt x="29368" y="-11"/>
                      <a:pt x="33592" y="0"/>
                    </a:cubicBezTo>
                    <a:cubicBezTo>
                      <a:pt x="37053" y="0"/>
                      <a:pt x="40509" y="263"/>
                      <a:pt x="43931" y="789"/>
                    </a:cubicBezTo>
                    <a:cubicBezTo>
                      <a:pt x="47429" y="1315"/>
                      <a:pt x="50887" y="2071"/>
                      <a:pt x="54281" y="3067"/>
                    </a:cubicBezTo>
                    <a:lnTo>
                      <a:pt x="54281" y="21339"/>
                    </a:lnTo>
                    <a:cubicBezTo>
                      <a:pt x="51265" y="19587"/>
                      <a:pt x="48022" y="18272"/>
                      <a:pt x="44644" y="17407"/>
                    </a:cubicBezTo>
                    <a:cubicBezTo>
                      <a:pt x="41352" y="16552"/>
                      <a:pt x="37967" y="16114"/>
                      <a:pt x="34567" y="16103"/>
                    </a:cubicBezTo>
                    <a:cubicBezTo>
                      <a:pt x="33096" y="16092"/>
                      <a:pt x="31627" y="16235"/>
                      <a:pt x="30182" y="16508"/>
                    </a:cubicBezTo>
                    <a:cubicBezTo>
                      <a:pt x="28920" y="16749"/>
                      <a:pt x="27695" y="17155"/>
                      <a:pt x="26542" y="17713"/>
                    </a:cubicBezTo>
                    <a:cubicBezTo>
                      <a:pt x="25568" y="18174"/>
                      <a:pt x="24721" y="18864"/>
                      <a:pt x="24075" y="19729"/>
                    </a:cubicBezTo>
                    <a:cubicBezTo>
                      <a:pt x="23476" y="20540"/>
                      <a:pt x="23160" y="21536"/>
                      <a:pt x="23175" y="22544"/>
                    </a:cubicBezTo>
                    <a:cubicBezTo>
                      <a:pt x="23151" y="23870"/>
                      <a:pt x="23634" y="25152"/>
                      <a:pt x="24524" y="26137"/>
                    </a:cubicBezTo>
                    <a:cubicBezTo>
                      <a:pt x="25525" y="27211"/>
                      <a:pt x="26719" y="28087"/>
                      <a:pt x="28044" y="28723"/>
                    </a:cubicBezTo>
                    <a:cubicBezTo>
                      <a:pt x="29604" y="29489"/>
                      <a:pt x="31220" y="30136"/>
                      <a:pt x="32879" y="30662"/>
                    </a:cubicBezTo>
                    <a:cubicBezTo>
                      <a:pt x="34644" y="31242"/>
                      <a:pt x="36409" y="31823"/>
                      <a:pt x="38164" y="32425"/>
                    </a:cubicBezTo>
                    <a:cubicBezTo>
                      <a:pt x="41090" y="33422"/>
                      <a:pt x="43944" y="34627"/>
                      <a:pt x="46705" y="36018"/>
                    </a:cubicBezTo>
                    <a:cubicBezTo>
                      <a:pt x="49111" y="37212"/>
                      <a:pt x="51328" y="38746"/>
                      <a:pt x="53284" y="40586"/>
                    </a:cubicBezTo>
                    <a:cubicBezTo>
                      <a:pt x="55099" y="42317"/>
                      <a:pt x="56530" y="44409"/>
                      <a:pt x="57483" y="46732"/>
                    </a:cubicBezTo>
                    <a:cubicBezTo>
                      <a:pt x="59860" y="53315"/>
                      <a:pt x="59313" y="60600"/>
                      <a:pt x="55981" y="66757"/>
                    </a:cubicBezTo>
                    <a:cubicBezTo>
                      <a:pt x="54021" y="69966"/>
                      <a:pt x="51325" y="72661"/>
                      <a:pt x="48119" y="74622"/>
                    </a:cubicBezTo>
                    <a:cubicBezTo>
                      <a:pt x="44624" y="76725"/>
                      <a:pt x="40792" y="78204"/>
                      <a:pt x="36793" y="79004"/>
                    </a:cubicBezTo>
                    <a:cubicBezTo>
                      <a:pt x="32423" y="79946"/>
                      <a:pt x="27964" y="80406"/>
                      <a:pt x="23493" y="80395"/>
                    </a:cubicBezTo>
                    <a:cubicBezTo>
                      <a:pt x="15508" y="80494"/>
                      <a:pt x="7568" y="79190"/>
                      <a:pt x="30"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4" name="Freeform: Shape 43">
                <a:extLst>
                  <a:ext uri="{FF2B5EF4-FFF2-40B4-BE49-F238E27FC236}">
                    <a16:creationId xmlns:a16="http://schemas.microsoft.com/office/drawing/2014/main" id="{5019A8E4-5B51-63AD-F512-20DAA25A1DF6}"/>
                  </a:ext>
                </a:extLst>
              </p:cNvPr>
              <p:cNvSpPr/>
              <p:nvPr/>
            </p:nvSpPr>
            <p:spPr>
              <a:xfrm>
                <a:off x="1465790" y="5128767"/>
                <a:ext cx="79887" cy="113827"/>
              </a:xfrm>
              <a:custGeom>
                <a:avLst/>
                <a:gdLst>
                  <a:gd name="connsiteX0" fmla="*/ 23979 w 79887"/>
                  <a:gd name="connsiteY0" fmla="*/ 69637 h 113827"/>
                  <a:gd name="connsiteX1" fmla="*/ 23683 w 79887"/>
                  <a:gd name="connsiteY1" fmla="*/ 69637 h 113827"/>
                  <a:gd name="connsiteX2" fmla="*/ 23683 w 79887"/>
                  <a:gd name="connsiteY2" fmla="*/ 113828 h 113827"/>
                  <a:gd name="connsiteX3" fmla="*/ 0 w 79887"/>
                  <a:gd name="connsiteY3" fmla="*/ 113828 h 113827"/>
                  <a:gd name="connsiteX4" fmla="*/ 0 w 79887"/>
                  <a:gd name="connsiteY4" fmla="*/ 1873 h 113827"/>
                  <a:gd name="connsiteX5" fmla="*/ 23683 w 79887"/>
                  <a:gd name="connsiteY5" fmla="*/ 1873 h 113827"/>
                  <a:gd name="connsiteX6" fmla="*/ 23683 w 79887"/>
                  <a:gd name="connsiteY6" fmla="*/ 13408 h 113827"/>
                  <a:gd name="connsiteX7" fmla="*/ 23979 w 79887"/>
                  <a:gd name="connsiteY7" fmla="*/ 13408 h 113827"/>
                  <a:gd name="connsiteX8" fmla="*/ 65778 w 79887"/>
                  <a:gd name="connsiteY8" fmla="*/ 5061 h 113827"/>
                  <a:gd name="connsiteX9" fmla="*/ 71685 w 79887"/>
                  <a:gd name="connsiteY9" fmla="*/ 10220 h 113827"/>
                  <a:gd name="connsiteX10" fmla="*/ 79821 w 79887"/>
                  <a:gd name="connsiteY10" fmla="*/ 38045 h 113827"/>
                  <a:gd name="connsiteX11" fmla="*/ 70337 w 79887"/>
                  <a:gd name="connsiteY11" fmla="*/ 68816 h 113827"/>
                  <a:gd name="connsiteX12" fmla="*/ 45118 w 79887"/>
                  <a:gd name="connsiteY12" fmla="*/ 80427 h 113827"/>
                  <a:gd name="connsiteX13" fmla="*/ 23979 w 79887"/>
                  <a:gd name="connsiteY13" fmla="*/ 69637 h 113827"/>
                  <a:gd name="connsiteX14" fmla="*/ 23310 w 79887"/>
                  <a:gd name="connsiteY14" fmla="*/ 38187 h 113827"/>
                  <a:gd name="connsiteX15" fmla="*/ 23310 w 79887"/>
                  <a:gd name="connsiteY15" fmla="*/ 44333 h 113827"/>
                  <a:gd name="connsiteX16" fmla="*/ 27499 w 79887"/>
                  <a:gd name="connsiteY16" fmla="*/ 57292 h 113827"/>
                  <a:gd name="connsiteX17" fmla="*/ 38463 w 79887"/>
                  <a:gd name="connsiteY17" fmla="*/ 62309 h 113827"/>
                  <a:gd name="connsiteX18" fmla="*/ 51017 w 79887"/>
                  <a:gd name="connsiteY18" fmla="*/ 56054 h 113827"/>
                  <a:gd name="connsiteX19" fmla="*/ 55480 w 79887"/>
                  <a:gd name="connsiteY19" fmla="*/ 38341 h 113827"/>
                  <a:gd name="connsiteX20" fmla="*/ 39735 w 79887"/>
                  <a:gd name="connsiteY20" fmla="*/ 18118 h 113827"/>
                  <a:gd name="connsiteX21" fmla="*/ 27860 w 79887"/>
                  <a:gd name="connsiteY21" fmla="*/ 23596 h 113827"/>
                  <a:gd name="connsiteX22" fmla="*/ 23310 w 79887"/>
                  <a:gd name="connsiteY22" fmla="*/ 38187 h 11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87" h="113827">
                    <a:moveTo>
                      <a:pt x="23979" y="69637"/>
                    </a:moveTo>
                    <a:lnTo>
                      <a:pt x="23683" y="69637"/>
                    </a:lnTo>
                    <a:lnTo>
                      <a:pt x="23683" y="113828"/>
                    </a:lnTo>
                    <a:lnTo>
                      <a:pt x="0" y="113828"/>
                    </a:lnTo>
                    <a:lnTo>
                      <a:pt x="0" y="1873"/>
                    </a:lnTo>
                    <a:lnTo>
                      <a:pt x="23683" y="1873"/>
                    </a:lnTo>
                    <a:lnTo>
                      <a:pt x="23683" y="13408"/>
                    </a:lnTo>
                    <a:lnTo>
                      <a:pt x="23979" y="13408"/>
                    </a:lnTo>
                    <a:cubicBezTo>
                      <a:pt x="33213" y="-427"/>
                      <a:pt x="51927" y="-4163"/>
                      <a:pt x="65778" y="5061"/>
                    </a:cubicBezTo>
                    <a:cubicBezTo>
                      <a:pt x="67964" y="6518"/>
                      <a:pt x="69950" y="8248"/>
                      <a:pt x="71685" y="10220"/>
                    </a:cubicBezTo>
                    <a:cubicBezTo>
                      <a:pt x="77501" y="18294"/>
                      <a:pt x="80372" y="28109"/>
                      <a:pt x="79821" y="38045"/>
                    </a:cubicBezTo>
                    <a:cubicBezTo>
                      <a:pt x="80376" y="49098"/>
                      <a:pt x="77017" y="59986"/>
                      <a:pt x="70337" y="68816"/>
                    </a:cubicBezTo>
                    <a:cubicBezTo>
                      <a:pt x="64243" y="76451"/>
                      <a:pt x="54890" y="80756"/>
                      <a:pt x="45118" y="80427"/>
                    </a:cubicBezTo>
                    <a:cubicBezTo>
                      <a:pt x="36655" y="80833"/>
                      <a:pt x="28612" y="76725"/>
                      <a:pt x="23979" y="69637"/>
                    </a:cubicBezTo>
                    <a:close/>
                    <a:moveTo>
                      <a:pt x="23310" y="38187"/>
                    </a:moveTo>
                    <a:lnTo>
                      <a:pt x="23310" y="44333"/>
                    </a:lnTo>
                    <a:cubicBezTo>
                      <a:pt x="23107" y="49010"/>
                      <a:pt x="24593" y="53611"/>
                      <a:pt x="27499" y="57292"/>
                    </a:cubicBezTo>
                    <a:cubicBezTo>
                      <a:pt x="30181" y="60567"/>
                      <a:pt x="34229" y="62418"/>
                      <a:pt x="38463" y="62309"/>
                    </a:cubicBezTo>
                    <a:cubicBezTo>
                      <a:pt x="43444" y="62517"/>
                      <a:pt x="48183" y="60151"/>
                      <a:pt x="51017" y="56054"/>
                    </a:cubicBezTo>
                    <a:cubicBezTo>
                      <a:pt x="54297" y="50752"/>
                      <a:pt x="55856" y="44563"/>
                      <a:pt x="55480" y="38341"/>
                    </a:cubicBezTo>
                    <a:cubicBezTo>
                      <a:pt x="55480" y="24866"/>
                      <a:pt x="50231" y="18129"/>
                      <a:pt x="39735" y="18118"/>
                    </a:cubicBezTo>
                    <a:cubicBezTo>
                      <a:pt x="35140" y="17998"/>
                      <a:pt x="30752" y="20025"/>
                      <a:pt x="27860" y="23596"/>
                    </a:cubicBezTo>
                    <a:cubicBezTo>
                      <a:pt x="24640" y="27758"/>
                      <a:pt x="23025" y="32940"/>
                      <a:pt x="23310" y="38187"/>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5" name="Freeform: Shape 44">
                <a:extLst>
                  <a:ext uri="{FF2B5EF4-FFF2-40B4-BE49-F238E27FC236}">
                    <a16:creationId xmlns:a16="http://schemas.microsoft.com/office/drawing/2014/main" id="{2D04FEC0-1173-6D5F-7977-D3A9AB47EEFB}"/>
                  </a:ext>
                </a:extLst>
              </p:cNvPr>
              <p:cNvSpPr/>
              <p:nvPr/>
            </p:nvSpPr>
            <p:spPr>
              <a:xfrm>
                <a:off x="1556904" y="5128657"/>
                <a:ext cx="83101" cy="80599"/>
              </a:xfrm>
              <a:custGeom>
                <a:avLst/>
                <a:gdLst>
                  <a:gd name="connsiteX0" fmla="*/ 41149 w 83101"/>
                  <a:gd name="connsiteY0" fmla="*/ 80537 h 80599"/>
                  <a:gd name="connsiteX1" fmla="*/ 10986 w 83101"/>
                  <a:gd name="connsiteY1" fmla="*/ 69747 h 80599"/>
                  <a:gd name="connsiteX2" fmla="*/ 11392 w 83101"/>
                  <a:gd name="connsiteY2" fmla="*/ 10811 h 80599"/>
                  <a:gd name="connsiteX3" fmla="*/ 42202 w 83101"/>
                  <a:gd name="connsiteY3" fmla="*/ 65 h 80599"/>
                  <a:gd name="connsiteX4" fmla="*/ 72179 w 83101"/>
                  <a:gd name="connsiteY4" fmla="*/ 10811 h 80599"/>
                  <a:gd name="connsiteX5" fmla="*/ 83044 w 83101"/>
                  <a:gd name="connsiteY5" fmla="*/ 39227 h 80599"/>
                  <a:gd name="connsiteX6" fmla="*/ 71839 w 83101"/>
                  <a:gd name="connsiteY6" fmla="*/ 69407 h 80599"/>
                  <a:gd name="connsiteX7" fmla="*/ 41149 w 83101"/>
                  <a:gd name="connsiteY7" fmla="*/ 80537 h 80599"/>
                  <a:gd name="connsiteX8" fmla="*/ 41753 w 83101"/>
                  <a:gd name="connsiteY8" fmla="*/ 18228 h 80599"/>
                  <a:gd name="connsiteX9" fmla="*/ 28705 w 83101"/>
                  <a:gd name="connsiteY9" fmla="*/ 24001 h 80599"/>
                  <a:gd name="connsiteX10" fmla="*/ 24056 w 83101"/>
                  <a:gd name="connsiteY10" fmla="*/ 40323 h 80599"/>
                  <a:gd name="connsiteX11" fmla="*/ 41895 w 83101"/>
                  <a:gd name="connsiteY11" fmla="*/ 62418 h 80599"/>
                  <a:gd name="connsiteX12" fmla="*/ 58912 w 83101"/>
                  <a:gd name="connsiteY12" fmla="*/ 39720 h 80599"/>
                  <a:gd name="connsiteX13" fmla="*/ 41753 w 83101"/>
                  <a:gd name="connsiteY13" fmla="*/ 182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1" h="80599">
                    <a:moveTo>
                      <a:pt x="41149" y="80537"/>
                    </a:moveTo>
                    <a:cubicBezTo>
                      <a:pt x="30050" y="81150"/>
                      <a:pt x="19175" y="77261"/>
                      <a:pt x="10986" y="69747"/>
                    </a:cubicBezTo>
                    <a:cubicBezTo>
                      <a:pt x="-3816" y="52822"/>
                      <a:pt x="-3641" y="27528"/>
                      <a:pt x="11392" y="10811"/>
                    </a:cubicBezTo>
                    <a:cubicBezTo>
                      <a:pt x="19853" y="3330"/>
                      <a:pt x="30919" y="-526"/>
                      <a:pt x="42202" y="65"/>
                    </a:cubicBezTo>
                    <a:cubicBezTo>
                      <a:pt x="53240" y="-559"/>
                      <a:pt x="64058" y="3319"/>
                      <a:pt x="72179" y="10811"/>
                    </a:cubicBezTo>
                    <a:cubicBezTo>
                      <a:pt x="79583" y="18370"/>
                      <a:pt x="83518" y="28656"/>
                      <a:pt x="83044" y="39227"/>
                    </a:cubicBezTo>
                    <a:cubicBezTo>
                      <a:pt x="83639" y="50401"/>
                      <a:pt x="79584" y="61322"/>
                      <a:pt x="71839" y="69407"/>
                    </a:cubicBezTo>
                    <a:cubicBezTo>
                      <a:pt x="63548" y="77130"/>
                      <a:pt x="52468" y="81150"/>
                      <a:pt x="41149" y="80537"/>
                    </a:cubicBezTo>
                    <a:close/>
                    <a:moveTo>
                      <a:pt x="41753" y="18228"/>
                    </a:moveTo>
                    <a:cubicBezTo>
                      <a:pt x="36732" y="17965"/>
                      <a:pt x="31888" y="20112"/>
                      <a:pt x="28705" y="24001"/>
                    </a:cubicBezTo>
                    <a:cubicBezTo>
                      <a:pt x="25331" y="28755"/>
                      <a:pt x="23691" y="34506"/>
                      <a:pt x="24056" y="40323"/>
                    </a:cubicBezTo>
                    <a:cubicBezTo>
                      <a:pt x="24056" y="55046"/>
                      <a:pt x="30002" y="62407"/>
                      <a:pt x="41895" y="62418"/>
                    </a:cubicBezTo>
                    <a:cubicBezTo>
                      <a:pt x="53247" y="62418"/>
                      <a:pt x="58919" y="54849"/>
                      <a:pt x="58912" y="39720"/>
                    </a:cubicBezTo>
                    <a:cubicBezTo>
                      <a:pt x="58912" y="25414"/>
                      <a:pt x="53192" y="18260"/>
                      <a:pt x="41753" y="1826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6" name="Freeform: Shape 45">
                <a:extLst>
                  <a:ext uri="{FF2B5EF4-FFF2-40B4-BE49-F238E27FC236}">
                    <a16:creationId xmlns:a16="http://schemas.microsoft.com/office/drawing/2014/main" id="{7C68912A-B962-1089-A60F-80EF19767A06}"/>
                  </a:ext>
                </a:extLst>
              </p:cNvPr>
              <p:cNvSpPr/>
              <p:nvPr/>
            </p:nvSpPr>
            <p:spPr>
              <a:xfrm>
                <a:off x="1655090" y="5128751"/>
                <a:ext cx="74119" cy="78569"/>
              </a:xfrm>
              <a:custGeom>
                <a:avLst/>
                <a:gdLst>
                  <a:gd name="connsiteX0" fmla="*/ 74119 w 74119"/>
                  <a:gd name="connsiteY0" fmla="*/ 78570 h 78569"/>
                  <a:gd name="connsiteX1" fmla="*/ 50513 w 74119"/>
                  <a:gd name="connsiteY1" fmla="*/ 78570 h 78569"/>
                  <a:gd name="connsiteX2" fmla="*/ 50513 w 74119"/>
                  <a:gd name="connsiteY2" fmla="*/ 35957 h 78569"/>
                  <a:gd name="connsiteX3" fmla="*/ 37772 w 74119"/>
                  <a:gd name="connsiteY3" fmla="*/ 18134 h 78569"/>
                  <a:gd name="connsiteX4" fmla="*/ 27652 w 74119"/>
                  <a:gd name="connsiteY4" fmla="*/ 22855 h 78569"/>
                  <a:gd name="connsiteX5" fmla="*/ 23683 w 74119"/>
                  <a:gd name="connsiteY5" fmla="*/ 34839 h 78569"/>
                  <a:gd name="connsiteX6" fmla="*/ 23683 w 74119"/>
                  <a:gd name="connsiteY6" fmla="*/ 78570 h 78569"/>
                  <a:gd name="connsiteX7" fmla="*/ 0 w 74119"/>
                  <a:gd name="connsiteY7" fmla="*/ 78570 h 78569"/>
                  <a:gd name="connsiteX8" fmla="*/ 0 w 74119"/>
                  <a:gd name="connsiteY8" fmla="*/ 1888 h 78569"/>
                  <a:gd name="connsiteX9" fmla="*/ 23683 w 74119"/>
                  <a:gd name="connsiteY9" fmla="*/ 1888 h 78569"/>
                  <a:gd name="connsiteX10" fmla="*/ 23683 w 74119"/>
                  <a:gd name="connsiteY10" fmla="*/ 14015 h 78569"/>
                  <a:gd name="connsiteX11" fmla="*/ 23979 w 74119"/>
                  <a:gd name="connsiteY11" fmla="*/ 14015 h 78569"/>
                  <a:gd name="connsiteX12" fmla="*/ 48638 w 74119"/>
                  <a:gd name="connsiteY12" fmla="*/ 15 h 78569"/>
                  <a:gd name="connsiteX13" fmla="*/ 74119 w 74119"/>
                  <a:gd name="connsiteY13" fmla="*/ 31619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70"/>
                    </a:moveTo>
                    <a:lnTo>
                      <a:pt x="50513" y="78570"/>
                    </a:lnTo>
                    <a:lnTo>
                      <a:pt x="50513" y="35957"/>
                    </a:lnTo>
                    <a:cubicBezTo>
                      <a:pt x="50513" y="24082"/>
                      <a:pt x="46266" y="18145"/>
                      <a:pt x="37772" y="18134"/>
                    </a:cubicBezTo>
                    <a:cubicBezTo>
                      <a:pt x="33848" y="18057"/>
                      <a:pt x="30110" y="19799"/>
                      <a:pt x="27652" y="22855"/>
                    </a:cubicBezTo>
                    <a:cubicBezTo>
                      <a:pt x="24921" y="26240"/>
                      <a:pt x="23511" y="30501"/>
                      <a:pt x="23683" y="34839"/>
                    </a:cubicBezTo>
                    <a:lnTo>
                      <a:pt x="23683" y="78570"/>
                    </a:lnTo>
                    <a:lnTo>
                      <a:pt x="0" y="78570"/>
                    </a:lnTo>
                    <a:lnTo>
                      <a:pt x="0" y="1888"/>
                    </a:lnTo>
                    <a:lnTo>
                      <a:pt x="23683" y="1888"/>
                    </a:lnTo>
                    <a:lnTo>
                      <a:pt x="23683" y="14015"/>
                    </a:lnTo>
                    <a:lnTo>
                      <a:pt x="23979" y="14015"/>
                    </a:lnTo>
                    <a:cubicBezTo>
                      <a:pt x="28912" y="5087"/>
                      <a:pt x="38438" y="-325"/>
                      <a:pt x="48638" y="15"/>
                    </a:cubicBezTo>
                    <a:cubicBezTo>
                      <a:pt x="65633" y="15"/>
                      <a:pt x="74127" y="10553"/>
                      <a:pt x="74119" y="3161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7" name="Freeform: Shape 46">
                <a:extLst>
                  <a:ext uri="{FF2B5EF4-FFF2-40B4-BE49-F238E27FC236}">
                    <a16:creationId xmlns:a16="http://schemas.microsoft.com/office/drawing/2014/main" id="{6173BE67-6AEA-019E-041F-4A5A592038AE}"/>
                  </a:ext>
                </a:extLst>
              </p:cNvPr>
              <p:cNvSpPr/>
              <p:nvPr/>
            </p:nvSpPr>
            <p:spPr>
              <a:xfrm>
                <a:off x="1744266" y="5128733"/>
                <a:ext cx="58942" cy="80400"/>
              </a:xfrm>
              <a:custGeom>
                <a:avLst/>
                <a:gdLst>
                  <a:gd name="connsiteX0" fmla="*/ 19 w 58942"/>
                  <a:gd name="connsiteY0" fmla="*/ 76561 h 80400"/>
                  <a:gd name="connsiteX1" fmla="*/ 19 w 58942"/>
                  <a:gd name="connsiteY1" fmla="*/ 57390 h 80400"/>
                  <a:gd name="connsiteX2" fmla="*/ 11674 w 58942"/>
                  <a:gd name="connsiteY2" fmla="*/ 62638 h 80400"/>
                  <a:gd name="connsiteX3" fmla="*/ 22639 w 58942"/>
                  <a:gd name="connsiteY3" fmla="*/ 64358 h 80400"/>
                  <a:gd name="connsiteX4" fmla="*/ 32572 w 58942"/>
                  <a:gd name="connsiteY4" fmla="*/ 62638 h 80400"/>
                  <a:gd name="connsiteX5" fmla="*/ 36213 w 58942"/>
                  <a:gd name="connsiteY5" fmla="*/ 57390 h 80400"/>
                  <a:gd name="connsiteX6" fmla="*/ 34557 w 58942"/>
                  <a:gd name="connsiteY6" fmla="*/ 53655 h 80400"/>
                  <a:gd name="connsiteX7" fmla="*/ 30325 w 58942"/>
                  <a:gd name="connsiteY7" fmla="*/ 51026 h 80400"/>
                  <a:gd name="connsiteX8" fmla="*/ 24667 w 58942"/>
                  <a:gd name="connsiteY8" fmla="*/ 49010 h 80400"/>
                  <a:gd name="connsiteX9" fmla="*/ 18746 w 58942"/>
                  <a:gd name="connsiteY9" fmla="*/ 46984 h 80400"/>
                  <a:gd name="connsiteX10" fmla="*/ 10688 w 58942"/>
                  <a:gd name="connsiteY10" fmla="*/ 43281 h 80400"/>
                  <a:gd name="connsiteX11" fmla="*/ 4844 w 58942"/>
                  <a:gd name="connsiteY11" fmla="*/ 38669 h 80400"/>
                  <a:gd name="connsiteX12" fmla="*/ 1247 w 58942"/>
                  <a:gd name="connsiteY12" fmla="*/ 32612 h 80400"/>
                  <a:gd name="connsiteX13" fmla="*/ 8 w 58942"/>
                  <a:gd name="connsiteY13" fmla="*/ 24451 h 80400"/>
                  <a:gd name="connsiteX14" fmla="*/ 2815 w 58942"/>
                  <a:gd name="connsiteY14" fmla="*/ 13364 h 80400"/>
                  <a:gd name="connsiteX15" fmla="*/ 10315 w 58942"/>
                  <a:gd name="connsiteY15" fmla="*/ 5762 h 80400"/>
                  <a:gd name="connsiteX16" fmla="*/ 21027 w 58942"/>
                  <a:gd name="connsiteY16" fmla="*/ 1380 h 80400"/>
                  <a:gd name="connsiteX17" fmla="*/ 33581 w 58942"/>
                  <a:gd name="connsiteY17" fmla="*/ 0 h 80400"/>
                  <a:gd name="connsiteX18" fmla="*/ 43932 w 58942"/>
                  <a:gd name="connsiteY18" fmla="*/ 789 h 80400"/>
                  <a:gd name="connsiteX19" fmla="*/ 54271 w 58942"/>
                  <a:gd name="connsiteY19" fmla="*/ 3067 h 80400"/>
                  <a:gd name="connsiteX20" fmla="*/ 54271 w 58942"/>
                  <a:gd name="connsiteY20" fmla="*/ 21339 h 80400"/>
                  <a:gd name="connsiteX21" fmla="*/ 44644 w 58942"/>
                  <a:gd name="connsiteY21" fmla="*/ 17407 h 80400"/>
                  <a:gd name="connsiteX22" fmla="*/ 34557 w 58942"/>
                  <a:gd name="connsiteY22" fmla="*/ 16103 h 80400"/>
                  <a:gd name="connsiteX23" fmla="*/ 30171 w 58942"/>
                  <a:gd name="connsiteY23" fmla="*/ 16508 h 80400"/>
                  <a:gd name="connsiteX24" fmla="*/ 26542 w 58942"/>
                  <a:gd name="connsiteY24" fmla="*/ 17713 h 80400"/>
                  <a:gd name="connsiteX25" fmla="*/ 24064 w 58942"/>
                  <a:gd name="connsiteY25" fmla="*/ 19729 h 80400"/>
                  <a:gd name="connsiteX26" fmla="*/ 23165 w 58942"/>
                  <a:gd name="connsiteY26" fmla="*/ 22544 h 80400"/>
                  <a:gd name="connsiteX27" fmla="*/ 24514 w 58942"/>
                  <a:gd name="connsiteY27" fmla="*/ 26137 h 80400"/>
                  <a:gd name="connsiteX28" fmla="*/ 28044 w 58942"/>
                  <a:gd name="connsiteY28" fmla="*/ 28723 h 80400"/>
                  <a:gd name="connsiteX29" fmla="*/ 32879 w 58942"/>
                  <a:gd name="connsiteY29" fmla="*/ 30662 h 80400"/>
                  <a:gd name="connsiteX30" fmla="*/ 38153 w 58942"/>
                  <a:gd name="connsiteY30" fmla="*/ 32425 h 80400"/>
                  <a:gd name="connsiteX31" fmla="*/ 46706 w 58942"/>
                  <a:gd name="connsiteY31" fmla="*/ 36018 h 80400"/>
                  <a:gd name="connsiteX32" fmla="*/ 53284 w 58942"/>
                  <a:gd name="connsiteY32" fmla="*/ 40586 h 80400"/>
                  <a:gd name="connsiteX33" fmla="*/ 57484 w 58942"/>
                  <a:gd name="connsiteY33" fmla="*/ 46732 h 80400"/>
                  <a:gd name="connsiteX34" fmla="*/ 55981 w 58942"/>
                  <a:gd name="connsiteY34" fmla="*/ 66757 h 80400"/>
                  <a:gd name="connsiteX35" fmla="*/ 48109 w 58942"/>
                  <a:gd name="connsiteY35" fmla="*/ 74622 h 80400"/>
                  <a:gd name="connsiteX36" fmla="*/ 36794 w 58942"/>
                  <a:gd name="connsiteY36" fmla="*/ 79004 h 80400"/>
                  <a:gd name="connsiteX37" fmla="*/ 23494 w 58942"/>
                  <a:gd name="connsiteY37" fmla="*/ 80395 h 80400"/>
                  <a:gd name="connsiteX38" fmla="*/ 19 w 58942"/>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2" h="80400">
                    <a:moveTo>
                      <a:pt x="19" y="76561"/>
                    </a:moveTo>
                    <a:lnTo>
                      <a:pt x="19" y="57390"/>
                    </a:lnTo>
                    <a:cubicBezTo>
                      <a:pt x="3664" y="59625"/>
                      <a:pt x="7581" y="61389"/>
                      <a:pt x="11674" y="62638"/>
                    </a:cubicBezTo>
                    <a:cubicBezTo>
                      <a:pt x="15227" y="63733"/>
                      <a:pt x="18920" y="64314"/>
                      <a:pt x="22639" y="64358"/>
                    </a:cubicBezTo>
                    <a:cubicBezTo>
                      <a:pt x="26035" y="64511"/>
                      <a:pt x="29425" y="63919"/>
                      <a:pt x="32572" y="62638"/>
                    </a:cubicBezTo>
                    <a:cubicBezTo>
                      <a:pt x="34770" y="61827"/>
                      <a:pt x="36224" y="59735"/>
                      <a:pt x="36213" y="57390"/>
                    </a:cubicBezTo>
                    <a:cubicBezTo>
                      <a:pt x="36238" y="55966"/>
                      <a:pt x="35633" y="54597"/>
                      <a:pt x="34557" y="53655"/>
                    </a:cubicBezTo>
                    <a:cubicBezTo>
                      <a:pt x="33300" y="52549"/>
                      <a:pt x="31870" y="51661"/>
                      <a:pt x="30325" y="51026"/>
                    </a:cubicBezTo>
                    <a:cubicBezTo>
                      <a:pt x="28484" y="50237"/>
                      <a:pt x="26594" y="49558"/>
                      <a:pt x="24667" y="49010"/>
                    </a:cubicBezTo>
                    <a:cubicBezTo>
                      <a:pt x="22617" y="48408"/>
                      <a:pt x="20643" y="47739"/>
                      <a:pt x="18746" y="46984"/>
                    </a:cubicBezTo>
                    <a:cubicBezTo>
                      <a:pt x="15969" y="45954"/>
                      <a:pt x="13275" y="44716"/>
                      <a:pt x="10688" y="43281"/>
                    </a:cubicBezTo>
                    <a:cubicBezTo>
                      <a:pt x="8502" y="42065"/>
                      <a:pt x="6529" y="40510"/>
                      <a:pt x="4844" y="38669"/>
                    </a:cubicBezTo>
                    <a:cubicBezTo>
                      <a:pt x="3256" y="36906"/>
                      <a:pt x="2034" y="34846"/>
                      <a:pt x="1247" y="32612"/>
                    </a:cubicBezTo>
                    <a:cubicBezTo>
                      <a:pt x="371" y="29983"/>
                      <a:pt x="-49" y="27222"/>
                      <a:pt x="8" y="24451"/>
                    </a:cubicBezTo>
                    <a:cubicBezTo>
                      <a:pt x="-100" y="20562"/>
                      <a:pt x="871" y="16727"/>
                      <a:pt x="2815" y="13364"/>
                    </a:cubicBezTo>
                    <a:cubicBezTo>
                      <a:pt x="4681" y="10275"/>
                      <a:pt x="7250" y="7668"/>
                      <a:pt x="10315" y="5762"/>
                    </a:cubicBezTo>
                    <a:cubicBezTo>
                      <a:pt x="13613" y="3714"/>
                      <a:pt x="17234" y="2224"/>
                      <a:pt x="21027" y="1380"/>
                    </a:cubicBezTo>
                    <a:cubicBezTo>
                      <a:pt x="25146" y="449"/>
                      <a:pt x="29358" y="-11"/>
                      <a:pt x="33581" y="0"/>
                    </a:cubicBezTo>
                    <a:cubicBezTo>
                      <a:pt x="37046" y="0"/>
                      <a:pt x="40506" y="263"/>
                      <a:pt x="43932" y="789"/>
                    </a:cubicBezTo>
                    <a:cubicBezTo>
                      <a:pt x="47426" y="1315"/>
                      <a:pt x="50881" y="2071"/>
                      <a:pt x="54271" y="3067"/>
                    </a:cubicBezTo>
                    <a:lnTo>
                      <a:pt x="54271" y="21339"/>
                    </a:lnTo>
                    <a:cubicBezTo>
                      <a:pt x="51260" y="19587"/>
                      <a:pt x="48020" y="18261"/>
                      <a:pt x="44644" y="17407"/>
                    </a:cubicBezTo>
                    <a:cubicBezTo>
                      <a:pt x="41349" y="16552"/>
                      <a:pt x="37960" y="16114"/>
                      <a:pt x="34557" y="16103"/>
                    </a:cubicBezTo>
                    <a:cubicBezTo>
                      <a:pt x="33086" y="16092"/>
                      <a:pt x="31616" y="16235"/>
                      <a:pt x="30171" y="16508"/>
                    </a:cubicBezTo>
                    <a:cubicBezTo>
                      <a:pt x="28914" y="16749"/>
                      <a:pt x="27692" y="17155"/>
                      <a:pt x="26542" y="17713"/>
                    </a:cubicBezTo>
                    <a:cubicBezTo>
                      <a:pt x="25566" y="18174"/>
                      <a:pt x="24715" y="18864"/>
                      <a:pt x="24064" y="19729"/>
                    </a:cubicBezTo>
                    <a:cubicBezTo>
                      <a:pt x="23470" y="20551"/>
                      <a:pt x="23155" y="21536"/>
                      <a:pt x="23165" y="22544"/>
                    </a:cubicBezTo>
                    <a:cubicBezTo>
                      <a:pt x="23141" y="23870"/>
                      <a:pt x="23623" y="25152"/>
                      <a:pt x="24514" y="26137"/>
                    </a:cubicBezTo>
                    <a:cubicBezTo>
                      <a:pt x="25517" y="27211"/>
                      <a:pt x="26714" y="28087"/>
                      <a:pt x="28044" y="28723"/>
                    </a:cubicBezTo>
                    <a:cubicBezTo>
                      <a:pt x="29604" y="29489"/>
                      <a:pt x="31221" y="30136"/>
                      <a:pt x="32879" y="30662"/>
                    </a:cubicBezTo>
                    <a:cubicBezTo>
                      <a:pt x="34645" y="31242"/>
                      <a:pt x="36410" y="31823"/>
                      <a:pt x="38153" y="32425"/>
                    </a:cubicBezTo>
                    <a:cubicBezTo>
                      <a:pt x="41083" y="33422"/>
                      <a:pt x="43940" y="34627"/>
                      <a:pt x="46706" y="36018"/>
                    </a:cubicBezTo>
                    <a:cubicBezTo>
                      <a:pt x="49109" y="37212"/>
                      <a:pt x="51326" y="38757"/>
                      <a:pt x="53284" y="40586"/>
                    </a:cubicBezTo>
                    <a:cubicBezTo>
                      <a:pt x="55097" y="42317"/>
                      <a:pt x="56527" y="44409"/>
                      <a:pt x="57484" y="46732"/>
                    </a:cubicBezTo>
                    <a:cubicBezTo>
                      <a:pt x="59861" y="53315"/>
                      <a:pt x="59313" y="60600"/>
                      <a:pt x="55981" y="66757"/>
                    </a:cubicBezTo>
                    <a:cubicBezTo>
                      <a:pt x="54020" y="69966"/>
                      <a:pt x="51320" y="72661"/>
                      <a:pt x="48109" y="74622"/>
                    </a:cubicBezTo>
                    <a:cubicBezTo>
                      <a:pt x="44618" y="76725"/>
                      <a:pt x="40790" y="78204"/>
                      <a:pt x="36794" y="79004"/>
                    </a:cubicBezTo>
                    <a:cubicBezTo>
                      <a:pt x="32423" y="79946"/>
                      <a:pt x="27964" y="80406"/>
                      <a:pt x="23494" y="80395"/>
                    </a:cubicBezTo>
                    <a:cubicBezTo>
                      <a:pt x="15505" y="80494"/>
                      <a:pt x="7560" y="79190"/>
                      <a:pt x="19"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8" name="Freeform: Shape 47">
                <a:extLst>
                  <a:ext uri="{FF2B5EF4-FFF2-40B4-BE49-F238E27FC236}">
                    <a16:creationId xmlns:a16="http://schemas.microsoft.com/office/drawing/2014/main" id="{52457024-EEB7-9570-ED20-4BFC03F04C31}"/>
                  </a:ext>
                </a:extLst>
              </p:cNvPr>
              <p:cNvSpPr/>
              <p:nvPr/>
            </p:nvSpPr>
            <p:spPr>
              <a:xfrm>
                <a:off x="1815451" y="5094118"/>
                <a:ext cx="27344" cy="113203"/>
              </a:xfrm>
              <a:custGeom>
                <a:avLst/>
                <a:gdLst>
                  <a:gd name="connsiteX0" fmla="*/ 13688 w 27344"/>
                  <a:gd name="connsiteY0" fmla="*/ 24384 h 113203"/>
                  <a:gd name="connsiteX1" fmla="*/ 3820 w 27344"/>
                  <a:gd name="connsiteY1" fmla="*/ 20835 h 113203"/>
                  <a:gd name="connsiteX2" fmla="*/ 5 w 27344"/>
                  <a:gd name="connsiteY2" fmla="*/ 12072 h 113203"/>
                  <a:gd name="connsiteX3" fmla="*/ 3820 w 27344"/>
                  <a:gd name="connsiteY3" fmla="*/ 3385 h 113203"/>
                  <a:gd name="connsiteX4" fmla="*/ 23556 w 27344"/>
                  <a:gd name="connsiteY4" fmla="*/ 3385 h 113203"/>
                  <a:gd name="connsiteX5" fmla="*/ 27339 w 27344"/>
                  <a:gd name="connsiteY5" fmla="*/ 12072 h 113203"/>
                  <a:gd name="connsiteX6" fmla="*/ 23556 w 27344"/>
                  <a:gd name="connsiteY6" fmla="*/ 20912 h 113203"/>
                  <a:gd name="connsiteX7" fmla="*/ 13688 w 27344"/>
                  <a:gd name="connsiteY7" fmla="*/ 24384 h 113203"/>
                  <a:gd name="connsiteX8" fmla="*/ 25376 w 27344"/>
                  <a:gd name="connsiteY8" fmla="*/ 113203 h 113203"/>
                  <a:gd name="connsiteX9" fmla="*/ 1693 w 27344"/>
                  <a:gd name="connsiteY9" fmla="*/ 113203 h 113203"/>
                  <a:gd name="connsiteX10" fmla="*/ 1693 w 27344"/>
                  <a:gd name="connsiteY10" fmla="*/ 36522 h 113203"/>
                  <a:gd name="connsiteX11" fmla="*/ 25376 w 27344"/>
                  <a:gd name="connsiteY11" fmla="*/ 36522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44" h="113203">
                    <a:moveTo>
                      <a:pt x="13688" y="24384"/>
                    </a:moveTo>
                    <a:cubicBezTo>
                      <a:pt x="10061" y="24538"/>
                      <a:pt x="6517" y="23267"/>
                      <a:pt x="3820" y="20835"/>
                    </a:cubicBezTo>
                    <a:cubicBezTo>
                      <a:pt x="1333" y="18611"/>
                      <a:pt x="-59" y="15413"/>
                      <a:pt x="5" y="12072"/>
                    </a:cubicBezTo>
                    <a:cubicBezTo>
                      <a:pt x="-91" y="8752"/>
                      <a:pt x="1309" y="5565"/>
                      <a:pt x="3820" y="3385"/>
                    </a:cubicBezTo>
                    <a:cubicBezTo>
                      <a:pt x="9623" y="-1128"/>
                      <a:pt x="17753" y="-1128"/>
                      <a:pt x="23556" y="3385"/>
                    </a:cubicBezTo>
                    <a:cubicBezTo>
                      <a:pt x="26049" y="5576"/>
                      <a:pt x="27436" y="8752"/>
                      <a:pt x="27339" y="12072"/>
                    </a:cubicBezTo>
                    <a:cubicBezTo>
                      <a:pt x="27444" y="15435"/>
                      <a:pt x="26059" y="18666"/>
                      <a:pt x="23556" y="20912"/>
                    </a:cubicBezTo>
                    <a:cubicBezTo>
                      <a:pt x="20837" y="23300"/>
                      <a:pt x="17302" y="24538"/>
                      <a:pt x="13688" y="24384"/>
                    </a:cubicBezTo>
                    <a:close/>
                    <a:moveTo>
                      <a:pt x="25376" y="113203"/>
                    </a:moveTo>
                    <a:lnTo>
                      <a:pt x="1693" y="113203"/>
                    </a:lnTo>
                    <a:lnTo>
                      <a:pt x="1693" y="36522"/>
                    </a:lnTo>
                    <a:lnTo>
                      <a:pt x="25376" y="36522"/>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9" name="Freeform: Shape 48">
                <a:extLst>
                  <a:ext uri="{FF2B5EF4-FFF2-40B4-BE49-F238E27FC236}">
                    <a16:creationId xmlns:a16="http://schemas.microsoft.com/office/drawing/2014/main" id="{4939716F-2871-7375-2CFB-31C4A90B3609}"/>
                  </a:ext>
                </a:extLst>
              </p:cNvPr>
              <p:cNvSpPr/>
              <p:nvPr/>
            </p:nvSpPr>
            <p:spPr>
              <a:xfrm>
                <a:off x="1860365" y="5093800"/>
                <a:ext cx="79923" cy="115429"/>
              </a:xfrm>
              <a:custGeom>
                <a:avLst/>
                <a:gdLst>
                  <a:gd name="connsiteX0" fmla="*/ 24012 w 79923"/>
                  <a:gd name="connsiteY0" fmla="*/ 104604 h 115429"/>
                  <a:gd name="connsiteX1" fmla="*/ 23683 w 79923"/>
                  <a:gd name="connsiteY1" fmla="*/ 104604 h 115429"/>
                  <a:gd name="connsiteX2" fmla="*/ 23683 w 79923"/>
                  <a:gd name="connsiteY2" fmla="*/ 113521 h 115429"/>
                  <a:gd name="connsiteX3" fmla="*/ 0 w 79923"/>
                  <a:gd name="connsiteY3" fmla="*/ 113521 h 115429"/>
                  <a:gd name="connsiteX4" fmla="*/ 0 w 79923"/>
                  <a:gd name="connsiteY4" fmla="*/ 0 h 115429"/>
                  <a:gd name="connsiteX5" fmla="*/ 23683 w 79923"/>
                  <a:gd name="connsiteY5" fmla="*/ 0 h 115429"/>
                  <a:gd name="connsiteX6" fmla="*/ 23683 w 79923"/>
                  <a:gd name="connsiteY6" fmla="*/ 48375 h 115429"/>
                  <a:gd name="connsiteX7" fmla="*/ 24012 w 79923"/>
                  <a:gd name="connsiteY7" fmla="*/ 48375 h 115429"/>
                  <a:gd name="connsiteX8" fmla="*/ 48978 w 79923"/>
                  <a:gd name="connsiteY8" fmla="*/ 34967 h 115429"/>
                  <a:gd name="connsiteX9" fmla="*/ 71839 w 79923"/>
                  <a:gd name="connsiteY9" fmla="*/ 45154 h 115429"/>
                  <a:gd name="connsiteX10" fmla="*/ 79854 w 79923"/>
                  <a:gd name="connsiteY10" fmla="*/ 73012 h 115429"/>
                  <a:gd name="connsiteX11" fmla="*/ 70490 w 79923"/>
                  <a:gd name="connsiteY11" fmla="*/ 103783 h 115429"/>
                  <a:gd name="connsiteX12" fmla="*/ 45447 w 79923"/>
                  <a:gd name="connsiteY12" fmla="*/ 115394 h 115429"/>
                  <a:gd name="connsiteX13" fmla="*/ 24012 w 79923"/>
                  <a:gd name="connsiteY13" fmla="*/ 104604 h 115429"/>
                  <a:gd name="connsiteX14" fmla="*/ 23343 w 79923"/>
                  <a:gd name="connsiteY14" fmla="*/ 72256 h 115429"/>
                  <a:gd name="connsiteX15" fmla="*/ 23343 w 79923"/>
                  <a:gd name="connsiteY15" fmla="*/ 80121 h 115429"/>
                  <a:gd name="connsiteX16" fmla="*/ 27608 w 79923"/>
                  <a:gd name="connsiteY16" fmla="*/ 92401 h 115429"/>
                  <a:gd name="connsiteX17" fmla="*/ 38573 w 79923"/>
                  <a:gd name="connsiteY17" fmla="*/ 97276 h 115429"/>
                  <a:gd name="connsiteX18" fmla="*/ 51127 w 79923"/>
                  <a:gd name="connsiteY18" fmla="*/ 91021 h 115429"/>
                  <a:gd name="connsiteX19" fmla="*/ 55578 w 79923"/>
                  <a:gd name="connsiteY19" fmla="*/ 73308 h 115429"/>
                  <a:gd name="connsiteX20" fmla="*/ 51500 w 79923"/>
                  <a:gd name="connsiteY20" fmla="*/ 58442 h 115429"/>
                  <a:gd name="connsiteX21" fmla="*/ 39845 w 79923"/>
                  <a:gd name="connsiteY21" fmla="*/ 53085 h 115429"/>
                  <a:gd name="connsiteX22" fmla="*/ 28036 w 79923"/>
                  <a:gd name="connsiteY22" fmla="*/ 58409 h 115429"/>
                  <a:gd name="connsiteX23" fmla="*/ 23310 w 79923"/>
                  <a:gd name="connsiteY23" fmla="*/ 72256 h 1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923" h="115429">
                    <a:moveTo>
                      <a:pt x="24012" y="104604"/>
                    </a:moveTo>
                    <a:lnTo>
                      <a:pt x="23683" y="104604"/>
                    </a:lnTo>
                    <a:lnTo>
                      <a:pt x="23683" y="113521"/>
                    </a:lnTo>
                    <a:lnTo>
                      <a:pt x="0" y="113521"/>
                    </a:lnTo>
                    <a:lnTo>
                      <a:pt x="0" y="0"/>
                    </a:lnTo>
                    <a:lnTo>
                      <a:pt x="23683" y="0"/>
                    </a:lnTo>
                    <a:lnTo>
                      <a:pt x="23683" y="48375"/>
                    </a:lnTo>
                    <a:lnTo>
                      <a:pt x="24012" y="48375"/>
                    </a:lnTo>
                    <a:cubicBezTo>
                      <a:pt x="29305" y="39732"/>
                      <a:pt x="38845" y="34616"/>
                      <a:pt x="48978" y="34967"/>
                    </a:cubicBezTo>
                    <a:cubicBezTo>
                      <a:pt x="57796" y="34485"/>
                      <a:pt x="66306" y="38275"/>
                      <a:pt x="71839" y="45154"/>
                    </a:cubicBezTo>
                    <a:cubicBezTo>
                      <a:pt x="77587" y="53272"/>
                      <a:pt x="80413" y="63087"/>
                      <a:pt x="79854" y="73012"/>
                    </a:cubicBezTo>
                    <a:cubicBezTo>
                      <a:pt x="80402" y="84043"/>
                      <a:pt x="77091" y="94921"/>
                      <a:pt x="70490" y="103783"/>
                    </a:cubicBezTo>
                    <a:cubicBezTo>
                      <a:pt x="64473" y="111418"/>
                      <a:pt x="55171" y="115734"/>
                      <a:pt x="45447" y="115394"/>
                    </a:cubicBezTo>
                    <a:cubicBezTo>
                      <a:pt x="36892" y="115855"/>
                      <a:pt x="28732" y="111747"/>
                      <a:pt x="24012" y="104604"/>
                    </a:cubicBezTo>
                    <a:close/>
                    <a:moveTo>
                      <a:pt x="23343" y="72256"/>
                    </a:moveTo>
                    <a:lnTo>
                      <a:pt x="23343" y="80121"/>
                    </a:lnTo>
                    <a:cubicBezTo>
                      <a:pt x="23182" y="84602"/>
                      <a:pt x="24703" y="88983"/>
                      <a:pt x="27608" y="92401"/>
                    </a:cubicBezTo>
                    <a:cubicBezTo>
                      <a:pt x="30336" y="95600"/>
                      <a:pt x="34368" y="97396"/>
                      <a:pt x="38573" y="97276"/>
                    </a:cubicBezTo>
                    <a:cubicBezTo>
                      <a:pt x="43554" y="97484"/>
                      <a:pt x="48293" y="95118"/>
                      <a:pt x="51127" y="91021"/>
                    </a:cubicBezTo>
                    <a:cubicBezTo>
                      <a:pt x="54403" y="85719"/>
                      <a:pt x="55958" y="79530"/>
                      <a:pt x="55578" y="73308"/>
                    </a:cubicBezTo>
                    <a:cubicBezTo>
                      <a:pt x="55884" y="68038"/>
                      <a:pt x="54451" y="62813"/>
                      <a:pt x="51500" y="58442"/>
                    </a:cubicBezTo>
                    <a:cubicBezTo>
                      <a:pt x="48732" y="54849"/>
                      <a:pt x="44375" y="52844"/>
                      <a:pt x="39845" y="53085"/>
                    </a:cubicBezTo>
                    <a:cubicBezTo>
                      <a:pt x="35306" y="52987"/>
                      <a:pt x="30968" y="54948"/>
                      <a:pt x="28036" y="58409"/>
                    </a:cubicBezTo>
                    <a:cubicBezTo>
                      <a:pt x="24782" y="62276"/>
                      <a:pt x="23095" y="67217"/>
                      <a:pt x="23310" y="72256"/>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0" name="Freeform: Shape 49">
                <a:extLst>
                  <a:ext uri="{FF2B5EF4-FFF2-40B4-BE49-F238E27FC236}">
                    <a16:creationId xmlns:a16="http://schemas.microsoft.com/office/drawing/2014/main" id="{8EE006BE-27BC-397C-A104-538E3D7501E9}"/>
                  </a:ext>
                </a:extLst>
              </p:cNvPr>
              <p:cNvSpPr/>
              <p:nvPr/>
            </p:nvSpPr>
            <p:spPr>
              <a:xfrm>
                <a:off x="1953898" y="5094142"/>
                <a:ext cx="27289" cy="113178"/>
              </a:xfrm>
              <a:custGeom>
                <a:avLst/>
                <a:gdLst>
                  <a:gd name="connsiteX0" fmla="*/ 13644 w 27289"/>
                  <a:gd name="connsiteY0" fmla="*/ 24360 h 113178"/>
                  <a:gd name="connsiteX1" fmla="*/ 3831 w 27289"/>
                  <a:gd name="connsiteY1" fmla="*/ 20811 h 113178"/>
                  <a:gd name="connsiteX2" fmla="*/ 5 w 27289"/>
                  <a:gd name="connsiteY2" fmla="*/ 12047 h 113178"/>
                  <a:gd name="connsiteX3" fmla="*/ 3831 w 27289"/>
                  <a:gd name="connsiteY3" fmla="*/ 3360 h 113178"/>
                  <a:gd name="connsiteX4" fmla="*/ 23501 w 27289"/>
                  <a:gd name="connsiteY4" fmla="*/ 3360 h 113178"/>
                  <a:gd name="connsiteX5" fmla="*/ 27284 w 27289"/>
                  <a:gd name="connsiteY5" fmla="*/ 12047 h 113178"/>
                  <a:gd name="connsiteX6" fmla="*/ 23501 w 27289"/>
                  <a:gd name="connsiteY6" fmla="*/ 20887 h 113178"/>
                  <a:gd name="connsiteX7" fmla="*/ 13644 w 27289"/>
                  <a:gd name="connsiteY7" fmla="*/ 24360 h 113178"/>
                  <a:gd name="connsiteX8" fmla="*/ 25343 w 27289"/>
                  <a:gd name="connsiteY8" fmla="*/ 113179 h 113178"/>
                  <a:gd name="connsiteX9" fmla="*/ 1660 w 27289"/>
                  <a:gd name="connsiteY9" fmla="*/ 113179 h 113178"/>
                  <a:gd name="connsiteX10" fmla="*/ 1660 w 27289"/>
                  <a:gd name="connsiteY10" fmla="*/ 36497 h 113178"/>
                  <a:gd name="connsiteX11" fmla="*/ 25343 w 27289"/>
                  <a:gd name="connsiteY11" fmla="*/ 36497 h 11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78">
                    <a:moveTo>
                      <a:pt x="13644" y="24360"/>
                    </a:moveTo>
                    <a:cubicBezTo>
                      <a:pt x="10035" y="24502"/>
                      <a:pt x="6513" y="23232"/>
                      <a:pt x="3831" y="20811"/>
                    </a:cubicBezTo>
                    <a:cubicBezTo>
                      <a:pt x="1339" y="18587"/>
                      <a:pt x="-59" y="15388"/>
                      <a:pt x="5" y="12047"/>
                    </a:cubicBezTo>
                    <a:cubicBezTo>
                      <a:pt x="-91" y="8728"/>
                      <a:pt x="1314" y="5529"/>
                      <a:pt x="3831" y="3360"/>
                    </a:cubicBezTo>
                    <a:cubicBezTo>
                      <a:pt x="9620" y="-1120"/>
                      <a:pt x="17712" y="-1120"/>
                      <a:pt x="23501" y="3360"/>
                    </a:cubicBezTo>
                    <a:cubicBezTo>
                      <a:pt x="25990" y="5551"/>
                      <a:pt x="27383" y="8728"/>
                      <a:pt x="27284" y="12047"/>
                    </a:cubicBezTo>
                    <a:cubicBezTo>
                      <a:pt x="27394" y="15410"/>
                      <a:pt x="26001" y="18642"/>
                      <a:pt x="23501" y="20887"/>
                    </a:cubicBezTo>
                    <a:cubicBezTo>
                      <a:pt x="20782" y="23264"/>
                      <a:pt x="17255" y="24513"/>
                      <a:pt x="13644" y="24360"/>
                    </a:cubicBezTo>
                    <a:close/>
                    <a:moveTo>
                      <a:pt x="25343" y="113179"/>
                    </a:moveTo>
                    <a:lnTo>
                      <a:pt x="1660" y="113179"/>
                    </a:lnTo>
                    <a:lnTo>
                      <a:pt x="1660" y="36497"/>
                    </a:lnTo>
                    <a:lnTo>
                      <a:pt x="25343" y="36497"/>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1" name="Freeform: Shape 50">
                <a:extLst>
                  <a:ext uri="{FF2B5EF4-FFF2-40B4-BE49-F238E27FC236}">
                    <a16:creationId xmlns:a16="http://schemas.microsoft.com/office/drawing/2014/main" id="{7920A67F-825C-B715-9191-08536EBF58FA}"/>
                  </a:ext>
                </a:extLst>
              </p:cNvPr>
              <p:cNvSpPr/>
              <p:nvPr/>
            </p:nvSpPr>
            <p:spPr>
              <a:xfrm>
                <a:off x="1998703" y="5093800"/>
                <a:ext cx="23683" cy="113521"/>
              </a:xfrm>
              <a:custGeom>
                <a:avLst/>
                <a:gdLst>
                  <a:gd name="connsiteX0" fmla="*/ 23683 w 23683"/>
                  <a:gd name="connsiteY0" fmla="*/ 113521 h 113521"/>
                  <a:gd name="connsiteX1" fmla="*/ 0 w 23683"/>
                  <a:gd name="connsiteY1" fmla="*/ 113521 h 113521"/>
                  <a:gd name="connsiteX2" fmla="*/ 0 w 23683"/>
                  <a:gd name="connsiteY2" fmla="*/ 0 h 113521"/>
                  <a:gd name="connsiteX3" fmla="*/ 23683 w 23683"/>
                  <a:gd name="connsiteY3" fmla="*/ 0 h 113521"/>
                </a:gdLst>
                <a:ahLst/>
                <a:cxnLst>
                  <a:cxn ang="0">
                    <a:pos x="connsiteX0" y="connsiteY0"/>
                  </a:cxn>
                  <a:cxn ang="0">
                    <a:pos x="connsiteX1" y="connsiteY1"/>
                  </a:cxn>
                  <a:cxn ang="0">
                    <a:pos x="connsiteX2" y="connsiteY2"/>
                  </a:cxn>
                  <a:cxn ang="0">
                    <a:pos x="connsiteX3" y="connsiteY3"/>
                  </a:cxn>
                </a:cxnLst>
                <a:rect l="l" t="t" r="r" b="b"/>
                <a:pathLst>
                  <a:path w="23683" h="113521">
                    <a:moveTo>
                      <a:pt x="23683" y="113521"/>
                    </a:moveTo>
                    <a:lnTo>
                      <a:pt x="0" y="113521"/>
                    </a:lnTo>
                    <a:lnTo>
                      <a:pt x="0" y="0"/>
                    </a:lnTo>
                    <a:lnTo>
                      <a:pt x="23683"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2" name="Freeform: Shape 51">
                <a:extLst>
                  <a:ext uri="{FF2B5EF4-FFF2-40B4-BE49-F238E27FC236}">
                    <a16:creationId xmlns:a16="http://schemas.microsoft.com/office/drawing/2014/main" id="{9A2D5AC7-A81A-6510-621B-55722FD8153C}"/>
                  </a:ext>
                </a:extLst>
              </p:cNvPr>
              <p:cNvSpPr/>
              <p:nvPr/>
            </p:nvSpPr>
            <p:spPr>
              <a:xfrm>
                <a:off x="2040155" y="5094118"/>
                <a:ext cx="27345" cy="113203"/>
              </a:xfrm>
              <a:custGeom>
                <a:avLst/>
                <a:gdLst>
                  <a:gd name="connsiteX0" fmla="*/ 13688 w 27345"/>
                  <a:gd name="connsiteY0" fmla="*/ 24384 h 113203"/>
                  <a:gd name="connsiteX1" fmla="*/ 3820 w 27345"/>
                  <a:gd name="connsiteY1" fmla="*/ 20835 h 113203"/>
                  <a:gd name="connsiteX2" fmla="*/ 5 w 27345"/>
                  <a:gd name="connsiteY2" fmla="*/ 12072 h 113203"/>
                  <a:gd name="connsiteX3" fmla="*/ 3820 w 27345"/>
                  <a:gd name="connsiteY3" fmla="*/ 3385 h 113203"/>
                  <a:gd name="connsiteX4" fmla="*/ 23556 w 27345"/>
                  <a:gd name="connsiteY4" fmla="*/ 3385 h 113203"/>
                  <a:gd name="connsiteX5" fmla="*/ 27339 w 27345"/>
                  <a:gd name="connsiteY5" fmla="*/ 12072 h 113203"/>
                  <a:gd name="connsiteX6" fmla="*/ 23556 w 27345"/>
                  <a:gd name="connsiteY6" fmla="*/ 20912 h 113203"/>
                  <a:gd name="connsiteX7" fmla="*/ 13688 w 27345"/>
                  <a:gd name="connsiteY7" fmla="*/ 24384 h 113203"/>
                  <a:gd name="connsiteX8" fmla="*/ 25377 w 27345"/>
                  <a:gd name="connsiteY8" fmla="*/ 113203 h 113203"/>
                  <a:gd name="connsiteX9" fmla="*/ 1693 w 27345"/>
                  <a:gd name="connsiteY9" fmla="*/ 113203 h 113203"/>
                  <a:gd name="connsiteX10" fmla="*/ 1693 w 27345"/>
                  <a:gd name="connsiteY10" fmla="*/ 36522 h 113203"/>
                  <a:gd name="connsiteX11" fmla="*/ 25377 w 27345"/>
                  <a:gd name="connsiteY11" fmla="*/ 36522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45" h="113203">
                    <a:moveTo>
                      <a:pt x="13688" y="24384"/>
                    </a:moveTo>
                    <a:cubicBezTo>
                      <a:pt x="10059" y="24538"/>
                      <a:pt x="6518" y="23267"/>
                      <a:pt x="3820" y="20835"/>
                    </a:cubicBezTo>
                    <a:cubicBezTo>
                      <a:pt x="1332" y="18611"/>
                      <a:pt x="-61" y="15413"/>
                      <a:pt x="5" y="12072"/>
                    </a:cubicBezTo>
                    <a:cubicBezTo>
                      <a:pt x="-94" y="8752"/>
                      <a:pt x="1310" y="5565"/>
                      <a:pt x="3820" y="3385"/>
                    </a:cubicBezTo>
                    <a:cubicBezTo>
                      <a:pt x="9621" y="-1128"/>
                      <a:pt x="17756" y="-1128"/>
                      <a:pt x="23556" y="3385"/>
                    </a:cubicBezTo>
                    <a:cubicBezTo>
                      <a:pt x="26045" y="5576"/>
                      <a:pt x="27438" y="8752"/>
                      <a:pt x="27339" y="12072"/>
                    </a:cubicBezTo>
                    <a:cubicBezTo>
                      <a:pt x="27449" y="15435"/>
                      <a:pt x="26056" y="18666"/>
                      <a:pt x="23556" y="20912"/>
                    </a:cubicBezTo>
                    <a:cubicBezTo>
                      <a:pt x="20837" y="23300"/>
                      <a:pt x="17307" y="24538"/>
                      <a:pt x="13688" y="24384"/>
                    </a:cubicBezTo>
                    <a:close/>
                    <a:moveTo>
                      <a:pt x="25377" y="113203"/>
                    </a:moveTo>
                    <a:lnTo>
                      <a:pt x="1693" y="113203"/>
                    </a:lnTo>
                    <a:lnTo>
                      <a:pt x="1693" y="36522"/>
                    </a:lnTo>
                    <a:lnTo>
                      <a:pt x="25377" y="36522"/>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3" name="Freeform: Shape 52">
                <a:extLst>
                  <a:ext uri="{FF2B5EF4-FFF2-40B4-BE49-F238E27FC236}">
                    <a16:creationId xmlns:a16="http://schemas.microsoft.com/office/drawing/2014/main" id="{676DF65E-A195-F65A-1A35-4FB03ECF3DAA}"/>
                  </a:ext>
                </a:extLst>
              </p:cNvPr>
              <p:cNvSpPr/>
              <p:nvPr/>
            </p:nvSpPr>
            <p:spPr>
              <a:xfrm>
                <a:off x="2077351" y="5107318"/>
                <a:ext cx="53286" cy="101933"/>
              </a:xfrm>
              <a:custGeom>
                <a:avLst/>
                <a:gdLst>
                  <a:gd name="connsiteX0" fmla="*/ 53265 w 53286"/>
                  <a:gd name="connsiteY0" fmla="*/ 99105 h 101933"/>
                  <a:gd name="connsiteX1" fmla="*/ 37454 w 53286"/>
                  <a:gd name="connsiteY1" fmla="*/ 101876 h 101933"/>
                  <a:gd name="connsiteX2" fmla="*/ 12423 w 53286"/>
                  <a:gd name="connsiteY2" fmla="*/ 75893 h 101933"/>
                  <a:gd name="connsiteX3" fmla="*/ 12423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65" y="99105"/>
                    </a:moveTo>
                    <a:cubicBezTo>
                      <a:pt x="48276" y="101241"/>
                      <a:pt x="42871" y="102183"/>
                      <a:pt x="37454" y="101876"/>
                    </a:cubicBezTo>
                    <a:cubicBezTo>
                      <a:pt x="20767" y="101876"/>
                      <a:pt x="12423" y="93212"/>
                      <a:pt x="12423" y="75893"/>
                    </a:cubicBezTo>
                    <a:lnTo>
                      <a:pt x="12423"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27"/>
                      <a:pt x="39220" y="83725"/>
                      <a:pt x="45568" y="83725"/>
                    </a:cubicBezTo>
                    <a:cubicBezTo>
                      <a:pt x="48276" y="83659"/>
                      <a:pt x="50908" y="82903"/>
                      <a:pt x="53243" y="8153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4" name="Freeform: Shape 53">
                <a:extLst>
                  <a:ext uri="{FF2B5EF4-FFF2-40B4-BE49-F238E27FC236}">
                    <a16:creationId xmlns:a16="http://schemas.microsoft.com/office/drawing/2014/main" id="{9BE6D8A7-D4E9-9933-2033-D5B2451B4B87}"/>
                  </a:ext>
                </a:extLst>
              </p:cNvPr>
              <p:cNvSpPr/>
              <p:nvPr/>
            </p:nvSpPr>
            <p:spPr>
              <a:xfrm>
                <a:off x="2137457" y="5130618"/>
                <a:ext cx="83340" cy="112740"/>
              </a:xfrm>
              <a:custGeom>
                <a:avLst/>
                <a:gdLst>
                  <a:gd name="connsiteX0" fmla="*/ 83340 w 83340"/>
                  <a:gd name="connsiteY0" fmla="*/ 22 h 112740"/>
                  <a:gd name="connsiteX1" fmla="*/ 52169 w 83340"/>
                  <a:gd name="connsiteY1" fmla="*/ 82838 h 112740"/>
                  <a:gd name="connsiteX2" fmla="*/ 18289 w 83340"/>
                  <a:gd name="connsiteY2" fmla="*/ 112721 h 112740"/>
                  <a:gd name="connsiteX3" fmla="*/ 4123 w 83340"/>
                  <a:gd name="connsiteY3" fmla="*/ 110772 h 112740"/>
                  <a:gd name="connsiteX4" fmla="*/ 4123 w 83340"/>
                  <a:gd name="connsiteY4" fmla="*/ 91886 h 112740"/>
                  <a:gd name="connsiteX5" fmla="*/ 14385 w 83340"/>
                  <a:gd name="connsiteY5" fmla="*/ 94657 h 112740"/>
                  <a:gd name="connsiteX6" fmla="*/ 27126 w 83340"/>
                  <a:gd name="connsiteY6" fmla="*/ 86036 h 112740"/>
                  <a:gd name="connsiteX7" fmla="*/ 31183 w 83340"/>
                  <a:gd name="connsiteY7" fmla="*/ 76528 h 112740"/>
                  <a:gd name="connsiteX8" fmla="*/ 0 w 83340"/>
                  <a:gd name="connsiteY8" fmla="*/ 0 h 112740"/>
                  <a:gd name="connsiteX9" fmla="*/ 26227 w 83340"/>
                  <a:gd name="connsiteY9" fmla="*/ 0 h 112740"/>
                  <a:gd name="connsiteX10" fmla="*/ 40546 w 83340"/>
                  <a:gd name="connsiteY10" fmla="*/ 46655 h 112740"/>
                  <a:gd name="connsiteX11" fmla="*/ 42641 w 83340"/>
                  <a:gd name="connsiteY11" fmla="*/ 56908 h 112740"/>
                  <a:gd name="connsiteX12" fmla="*/ 42958 w 83340"/>
                  <a:gd name="connsiteY12" fmla="*/ 56908 h 112740"/>
                  <a:gd name="connsiteX13" fmla="*/ 45425 w 83340"/>
                  <a:gd name="connsiteY13" fmla="*/ 46798 h 112740"/>
                  <a:gd name="connsiteX14" fmla="*/ 59898 w 83340"/>
                  <a:gd name="connsiteY14" fmla="*/ 0 h 11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40" h="112740">
                    <a:moveTo>
                      <a:pt x="83340" y="22"/>
                    </a:moveTo>
                    <a:lnTo>
                      <a:pt x="52169" y="82838"/>
                    </a:lnTo>
                    <a:cubicBezTo>
                      <a:pt x="44669" y="102764"/>
                      <a:pt x="33376" y="112721"/>
                      <a:pt x="18289" y="112721"/>
                    </a:cubicBezTo>
                    <a:cubicBezTo>
                      <a:pt x="13486" y="112864"/>
                      <a:pt x="8706" y="112206"/>
                      <a:pt x="4123" y="110772"/>
                    </a:cubicBezTo>
                    <a:lnTo>
                      <a:pt x="4123" y="91886"/>
                    </a:lnTo>
                    <a:cubicBezTo>
                      <a:pt x="7225" y="93715"/>
                      <a:pt x="10778" y="94679"/>
                      <a:pt x="14385" y="94657"/>
                    </a:cubicBezTo>
                    <a:cubicBezTo>
                      <a:pt x="20076" y="94931"/>
                      <a:pt x="25262" y="91415"/>
                      <a:pt x="27126" y="86036"/>
                    </a:cubicBezTo>
                    <a:lnTo>
                      <a:pt x="31183" y="76528"/>
                    </a:lnTo>
                    <a:lnTo>
                      <a:pt x="0" y="0"/>
                    </a:lnTo>
                    <a:lnTo>
                      <a:pt x="26227" y="0"/>
                    </a:lnTo>
                    <a:lnTo>
                      <a:pt x="40546" y="46655"/>
                    </a:lnTo>
                    <a:cubicBezTo>
                      <a:pt x="41544" y="50007"/>
                      <a:pt x="42246" y="53436"/>
                      <a:pt x="42641" y="56908"/>
                    </a:cubicBezTo>
                    <a:lnTo>
                      <a:pt x="42958" y="56908"/>
                    </a:lnTo>
                    <a:cubicBezTo>
                      <a:pt x="43540" y="53480"/>
                      <a:pt x="44362" y="50105"/>
                      <a:pt x="45425" y="46798"/>
                    </a:cubicBezTo>
                    <a:lnTo>
                      <a:pt x="59898"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5" name="Freeform: Shape 54">
                <a:extLst>
                  <a:ext uri="{FF2B5EF4-FFF2-40B4-BE49-F238E27FC236}">
                    <a16:creationId xmlns:a16="http://schemas.microsoft.com/office/drawing/2014/main" id="{839370A4-629C-DA1E-97BD-20C31AE49EE1}"/>
                  </a:ext>
                </a:extLst>
              </p:cNvPr>
              <p:cNvSpPr/>
              <p:nvPr/>
            </p:nvSpPr>
            <p:spPr>
              <a:xfrm>
                <a:off x="2265774" y="5107318"/>
                <a:ext cx="53286" cy="101933"/>
              </a:xfrm>
              <a:custGeom>
                <a:avLst/>
                <a:gdLst>
                  <a:gd name="connsiteX0" fmla="*/ 53287 w 53286"/>
                  <a:gd name="connsiteY0" fmla="*/ 99105 h 101933"/>
                  <a:gd name="connsiteX1" fmla="*/ 37476 w 53286"/>
                  <a:gd name="connsiteY1" fmla="*/ 101876 h 101933"/>
                  <a:gd name="connsiteX2" fmla="*/ 12445 w 53286"/>
                  <a:gd name="connsiteY2" fmla="*/ 75893 h 101933"/>
                  <a:gd name="connsiteX3" fmla="*/ 12445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298" y="101241"/>
                      <a:pt x="42893" y="102183"/>
                      <a:pt x="37476" y="101876"/>
                    </a:cubicBezTo>
                    <a:cubicBezTo>
                      <a:pt x="20788" y="101876"/>
                      <a:pt x="12445" y="93212"/>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27"/>
                      <a:pt x="39220" y="83725"/>
                      <a:pt x="45568" y="83725"/>
                    </a:cubicBezTo>
                    <a:cubicBezTo>
                      <a:pt x="48276" y="83659"/>
                      <a:pt x="50908" y="82903"/>
                      <a:pt x="53243" y="8153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6" name="Freeform: Shape 55">
                <a:extLst>
                  <a:ext uri="{FF2B5EF4-FFF2-40B4-BE49-F238E27FC236}">
                    <a16:creationId xmlns:a16="http://schemas.microsoft.com/office/drawing/2014/main" id="{DCD6AE58-17FA-E9AA-6E4C-7E92E852150D}"/>
                  </a:ext>
                </a:extLst>
              </p:cNvPr>
              <p:cNvSpPr/>
              <p:nvPr/>
            </p:nvSpPr>
            <p:spPr>
              <a:xfrm>
                <a:off x="2333917" y="5129288"/>
                <a:ext cx="50063" cy="78032"/>
              </a:xfrm>
              <a:custGeom>
                <a:avLst/>
                <a:gdLst>
                  <a:gd name="connsiteX0" fmla="*/ 50009 w 50063"/>
                  <a:gd name="connsiteY0" fmla="*/ 22690 h 78032"/>
                  <a:gd name="connsiteX1" fmla="*/ 40042 w 50063"/>
                  <a:gd name="connsiteY1" fmla="*/ 20368 h 78032"/>
                  <a:gd name="connsiteX2" fmla="*/ 27981 w 50063"/>
                  <a:gd name="connsiteY2" fmla="*/ 26021 h 78032"/>
                  <a:gd name="connsiteX3" fmla="*/ 23595 w 50063"/>
                  <a:gd name="connsiteY3" fmla="*/ 41412 h 78032"/>
                  <a:gd name="connsiteX4" fmla="*/ 23595 w 50063"/>
                  <a:gd name="connsiteY4" fmla="*/ 78032 h 78032"/>
                  <a:gd name="connsiteX5" fmla="*/ 0 w 50063"/>
                  <a:gd name="connsiteY5" fmla="*/ 78032 h 78032"/>
                  <a:gd name="connsiteX6" fmla="*/ 0 w 50063"/>
                  <a:gd name="connsiteY6" fmla="*/ 1351 h 78032"/>
                  <a:gd name="connsiteX7" fmla="*/ 23683 w 50063"/>
                  <a:gd name="connsiteY7" fmla="*/ 1351 h 78032"/>
                  <a:gd name="connsiteX8" fmla="*/ 23683 w 50063"/>
                  <a:gd name="connsiteY8" fmla="*/ 15592 h 78032"/>
                  <a:gd name="connsiteX9" fmla="*/ 23979 w 50063"/>
                  <a:gd name="connsiteY9" fmla="*/ 15592 h 78032"/>
                  <a:gd name="connsiteX10" fmla="*/ 44219 w 50063"/>
                  <a:gd name="connsiteY10" fmla="*/ 15 h 78032"/>
                  <a:gd name="connsiteX11" fmla="*/ 50063 w 50063"/>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63" h="78032">
                    <a:moveTo>
                      <a:pt x="50009" y="22690"/>
                    </a:moveTo>
                    <a:cubicBezTo>
                      <a:pt x="46939" y="21091"/>
                      <a:pt x="43507" y="20291"/>
                      <a:pt x="40042" y="20368"/>
                    </a:cubicBezTo>
                    <a:cubicBezTo>
                      <a:pt x="35338" y="20160"/>
                      <a:pt x="30832" y="22274"/>
                      <a:pt x="27981" y="26021"/>
                    </a:cubicBezTo>
                    <a:cubicBezTo>
                      <a:pt x="24845" y="30523"/>
                      <a:pt x="23299" y="35935"/>
                      <a:pt x="23595" y="41412"/>
                    </a:cubicBezTo>
                    <a:lnTo>
                      <a:pt x="23595" y="78032"/>
                    </a:lnTo>
                    <a:lnTo>
                      <a:pt x="0" y="78032"/>
                    </a:lnTo>
                    <a:lnTo>
                      <a:pt x="0" y="1351"/>
                    </a:lnTo>
                    <a:lnTo>
                      <a:pt x="23683" y="1351"/>
                    </a:lnTo>
                    <a:lnTo>
                      <a:pt x="23683" y="15592"/>
                    </a:lnTo>
                    <a:lnTo>
                      <a:pt x="23979" y="15592"/>
                    </a:lnTo>
                    <a:cubicBezTo>
                      <a:pt x="26260" y="6314"/>
                      <a:pt x="34658" y="-150"/>
                      <a:pt x="44219" y="15"/>
                    </a:cubicBezTo>
                    <a:cubicBezTo>
                      <a:pt x="46204" y="-73"/>
                      <a:pt x="48189" y="234"/>
                      <a:pt x="50063" y="91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7" name="Freeform: Shape 56">
                <a:extLst>
                  <a:ext uri="{FF2B5EF4-FFF2-40B4-BE49-F238E27FC236}">
                    <a16:creationId xmlns:a16="http://schemas.microsoft.com/office/drawing/2014/main" id="{80F49B39-7E16-6E26-5E64-396EBBACF2D8}"/>
                  </a:ext>
                </a:extLst>
              </p:cNvPr>
              <p:cNvSpPr/>
              <p:nvPr/>
            </p:nvSpPr>
            <p:spPr>
              <a:xfrm>
                <a:off x="2388111" y="5128522"/>
                <a:ext cx="69858" cy="80761"/>
              </a:xfrm>
              <a:custGeom>
                <a:avLst/>
                <a:gdLst>
                  <a:gd name="connsiteX0" fmla="*/ 69539 w 69858"/>
                  <a:gd name="connsiteY0" fmla="*/ 78799 h 80761"/>
                  <a:gd name="connsiteX1" fmla="*/ 47139 w 69858"/>
                  <a:gd name="connsiteY1" fmla="*/ 78799 h 80761"/>
                  <a:gd name="connsiteX2" fmla="*/ 47139 w 69858"/>
                  <a:gd name="connsiteY2" fmla="*/ 67844 h 80761"/>
                  <a:gd name="connsiteX3" fmla="*/ 46832 w 69858"/>
                  <a:gd name="connsiteY3" fmla="*/ 67844 h 80761"/>
                  <a:gd name="connsiteX4" fmla="*/ 23971 w 69858"/>
                  <a:gd name="connsiteY4" fmla="*/ 80727 h 80761"/>
                  <a:gd name="connsiteX5" fmla="*/ 6428 w 69858"/>
                  <a:gd name="connsiteY5" fmla="*/ 74395 h 80761"/>
                  <a:gd name="connsiteX6" fmla="*/ 25 w 69858"/>
                  <a:gd name="connsiteY6" fmla="*/ 57514 h 80761"/>
                  <a:gd name="connsiteX7" fmla="*/ 26482 w 69858"/>
                  <a:gd name="connsiteY7" fmla="*/ 31750 h 80761"/>
                  <a:gd name="connsiteX8" fmla="*/ 47314 w 69858"/>
                  <a:gd name="connsiteY8" fmla="*/ 28978 h 80761"/>
                  <a:gd name="connsiteX9" fmla="*/ 33675 w 69858"/>
                  <a:gd name="connsiteY9" fmla="*/ 16402 h 80761"/>
                  <a:gd name="connsiteX10" fmla="*/ 7590 w 69858"/>
                  <a:gd name="connsiteY10" fmla="*/ 24563 h 80761"/>
                  <a:gd name="connsiteX11" fmla="*/ 7590 w 69858"/>
                  <a:gd name="connsiteY11" fmla="*/ 6740 h 80761"/>
                  <a:gd name="connsiteX12" fmla="*/ 21121 w 69858"/>
                  <a:gd name="connsiteY12" fmla="*/ 2249 h 80761"/>
                  <a:gd name="connsiteX13" fmla="*/ 36745 w 69858"/>
                  <a:gd name="connsiteY13" fmla="*/ 299 h 80761"/>
                  <a:gd name="connsiteX14" fmla="*/ 69561 w 69858"/>
                  <a:gd name="connsiteY14" fmla="*/ 24826 h 80761"/>
                  <a:gd name="connsiteX15" fmla="*/ 69572 w 69858"/>
                  <a:gd name="connsiteY15" fmla="*/ 33020 h 80761"/>
                  <a:gd name="connsiteX16" fmla="*/ 47282 w 69858"/>
                  <a:gd name="connsiteY16" fmla="*/ 47644 h 80761"/>
                  <a:gd name="connsiteX17" fmla="*/ 47282 w 69858"/>
                  <a:gd name="connsiteY17" fmla="*/ 42496 h 80761"/>
                  <a:gd name="connsiteX18" fmla="*/ 33346 w 69858"/>
                  <a:gd name="connsiteY18" fmla="*/ 44303 h 80761"/>
                  <a:gd name="connsiteX19" fmla="*/ 21800 w 69858"/>
                  <a:gd name="connsiteY19" fmla="*/ 54710 h 80761"/>
                  <a:gd name="connsiteX20" fmla="*/ 24607 w 69858"/>
                  <a:gd name="connsiteY20" fmla="*/ 61338 h 80761"/>
                  <a:gd name="connsiteX21" fmla="*/ 32217 w 69858"/>
                  <a:gd name="connsiteY21" fmla="*/ 63923 h 80761"/>
                  <a:gd name="connsiteX22" fmla="*/ 43082 w 69858"/>
                  <a:gd name="connsiteY22" fmla="*/ 59311 h 80761"/>
                  <a:gd name="connsiteX23" fmla="*/ 47282 w 69858"/>
                  <a:gd name="connsiteY23" fmla="*/ 47644 h 8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761">
                    <a:moveTo>
                      <a:pt x="69539" y="78799"/>
                    </a:moveTo>
                    <a:lnTo>
                      <a:pt x="47139" y="78799"/>
                    </a:lnTo>
                    <a:lnTo>
                      <a:pt x="47139" y="67844"/>
                    </a:lnTo>
                    <a:lnTo>
                      <a:pt x="46832" y="67844"/>
                    </a:lnTo>
                    <a:cubicBezTo>
                      <a:pt x="42260" y="76115"/>
                      <a:pt x="33412" y="81099"/>
                      <a:pt x="23971" y="80727"/>
                    </a:cubicBezTo>
                    <a:cubicBezTo>
                      <a:pt x="17502" y="81078"/>
                      <a:pt x="11176" y="78788"/>
                      <a:pt x="6428" y="74395"/>
                    </a:cubicBezTo>
                    <a:cubicBezTo>
                      <a:pt x="2054" y="69893"/>
                      <a:pt x="-271" y="63780"/>
                      <a:pt x="25" y="57514"/>
                    </a:cubicBezTo>
                    <a:cubicBezTo>
                      <a:pt x="25" y="42638"/>
                      <a:pt x="8840" y="34050"/>
                      <a:pt x="26482" y="31750"/>
                    </a:cubicBezTo>
                    <a:lnTo>
                      <a:pt x="47314" y="28978"/>
                    </a:lnTo>
                    <a:cubicBezTo>
                      <a:pt x="47314" y="20598"/>
                      <a:pt x="42764" y="16402"/>
                      <a:pt x="33675" y="16402"/>
                    </a:cubicBezTo>
                    <a:cubicBezTo>
                      <a:pt x="24355" y="16457"/>
                      <a:pt x="15277" y="19294"/>
                      <a:pt x="7590" y="24563"/>
                    </a:cubicBezTo>
                    <a:lnTo>
                      <a:pt x="7590" y="6740"/>
                    </a:lnTo>
                    <a:cubicBezTo>
                      <a:pt x="11900" y="4692"/>
                      <a:pt x="16439" y="3191"/>
                      <a:pt x="21121" y="2249"/>
                    </a:cubicBezTo>
                    <a:cubicBezTo>
                      <a:pt x="26241" y="1022"/>
                      <a:pt x="31482" y="365"/>
                      <a:pt x="36745" y="299"/>
                    </a:cubicBezTo>
                    <a:cubicBezTo>
                      <a:pt x="52588" y="-1979"/>
                      <a:pt x="67281" y="8997"/>
                      <a:pt x="69561" y="24826"/>
                    </a:cubicBezTo>
                    <a:cubicBezTo>
                      <a:pt x="69956" y="27543"/>
                      <a:pt x="69956" y="30303"/>
                      <a:pt x="69572" y="33020"/>
                    </a:cubicBezTo>
                    <a:close/>
                    <a:moveTo>
                      <a:pt x="47282" y="47644"/>
                    </a:moveTo>
                    <a:lnTo>
                      <a:pt x="47282" y="42496"/>
                    </a:lnTo>
                    <a:lnTo>
                      <a:pt x="33346" y="44303"/>
                    </a:lnTo>
                    <a:cubicBezTo>
                      <a:pt x="25649" y="45300"/>
                      <a:pt x="21800" y="48773"/>
                      <a:pt x="21800" y="54710"/>
                    </a:cubicBezTo>
                    <a:cubicBezTo>
                      <a:pt x="21724" y="57219"/>
                      <a:pt x="22743" y="59640"/>
                      <a:pt x="24607" y="61338"/>
                    </a:cubicBezTo>
                    <a:cubicBezTo>
                      <a:pt x="26723" y="63145"/>
                      <a:pt x="29443" y="64065"/>
                      <a:pt x="32217" y="63923"/>
                    </a:cubicBezTo>
                    <a:cubicBezTo>
                      <a:pt x="36339" y="64054"/>
                      <a:pt x="40319" y="62367"/>
                      <a:pt x="43082" y="59311"/>
                    </a:cubicBezTo>
                    <a:cubicBezTo>
                      <a:pt x="45933" y="56112"/>
                      <a:pt x="47446" y="51928"/>
                      <a:pt x="47282" y="47644"/>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8" name="Freeform: Shape 57">
                <a:extLst>
                  <a:ext uri="{FF2B5EF4-FFF2-40B4-BE49-F238E27FC236}">
                    <a16:creationId xmlns:a16="http://schemas.microsoft.com/office/drawing/2014/main" id="{C01382D7-334E-CD2D-2FEE-2EDD16EF9C49}"/>
                  </a:ext>
                </a:extLst>
              </p:cNvPr>
              <p:cNvSpPr/>
              <p:nvPr/>
            </p:nvSpPr>
            <p:spPr>
              <a:xfrm>
                <a:off x="2476257" y="5128751"/>
                <a:ext cx="74119" cy="78569"/>
              </a:xfrm>
              <a:custGeom>
                <a:avLst/>
                <a:gdLst>
                  <a:gd name="connsiteX0" fmla="*/ 74119 w 74119"/>
                  <a:gd name="connsiteY0" fmla="*/ 78570 h 78569"/>
                  <a:gd name="connsiteX1" fmla="*/ 50513 w 74119"/>
                  <a:gd name="connsiteY1" fmla="*/ 78570 h 78569"/>
                  <a:gd name="connsiteX2" fmla="*/ 50513 w 74119"/>
                  <a:gd name="connsiteY2" fmla="*/ 35957 h 78569"/>
                  <a:gd name="connsiteX3" fmla="*/ 37772 w 74119"/>
                  <a:gd name="connsiteY3" fmla="*/ 18134 h 78569"/>
                  <a:gd name="connsiteX4" fmla="*/ 27652 w 74119"/>
                  <a:gd name="connsiteY4" fmla="*/ 22855 h 78569"/>
                  <a:gd name="connsiteX5" fmla="*/ 23683 w 74119"/>
                  <a:gd name="connsiteY5" fmla="*/ 34839 h 78569"/>
                  <a:gd name="connsiteX6" fmla="*/ 23683 w 74119"/>
                  <a:gd name="connsiteY6" fmla="*/ 78570 h 78569"/>
                  <a:gd name="connsiteX7" fmla="*/ 0 w 74119"/>
                  <a:gd name="connsiteY7" fmla="*/ 78570 h 78569"/>
                  <a:gd name="connsiteX8" fmla="*/ 0 w 74119"/>
                  <a:gd name="connsiteY8" fmla="*/ 1888 h 78569"/>
                  <a:gd name="connsiteX9" fmla="*/ 23683 w 74119"/>
                  <a:gd name="connsiteY9" fmla="*/ 1888 h 78569"/>
                  <a:gd name="connsiteX10" fmla="*/ 23683 w 74119"/>
                  <a:gd name="connsiteY10" fmla="*/ 14015 h 78569"/>
                  <a:gd name="connsiteX11" fmla="*/ 23979 w 74119"/>
                  <a:gd name="connsiteY11" fmla="*/ 14015 h 78569"/>
                  <a:gd name="connsiteX12" fmla="*/ 48638 w 74119"/>
                  <a:gd name="connsiteY12" fmla="*/ 15 h 78569"/>
                  <a:gd name="connsiteX13" fmla="*/ 74119 w 74119"/>
                  <a:gd name="connsiteY13" fmla="*/ 31619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70"/>
                    </a:moveTo>
                    <a:lnTo>
                      <a:pt x="50513" y="78570"/>
                    </a:lnTo>
                    <a:lnTo>
                      <a:pt x="50513" y="35957"/>
                    </a:lnTo>
                    <a:cubicBezTo>
                      <a:pt x="50513" y="24082"/>
                      <a:pt x="46270" y="18145"/>
                      <a:pt x="37772" y="18134"/>
                    </a:cubicBezTo>
                    <a:cubicBezTo>
                      <a:pt x="33847" y="18057"/>
                      <a:pt x="30108" y="19799"/>
                      <a:pt x="27652" y="22855"/>
                    </a:cubicBezTo>
                    <a:cubicBezTo>
                      <a:pt x="24922" y="26240"/>
                      <a:pt x="23508" y="30501"/>
                      <a:pt x="23683" y="34839"/>
                    </a:cubicBezTo>
                    <a:lnTo>
                      <a:pt x="23683" y="78570"/>
                    </a:lnTo>
                    <a:lnTo>
                      <a:pt x="0" y="78570"/>
                    </a:lnTo>
                    <a:lnTo>
                      <a:pt x="0" y="1888"/>
                    </a:lnTo>
                    <a:lnTo>
                      <a:pt x="23683" y="1888"/>
                    </a:lnTo>
                    <a:lnTo>
                      <a:pt x="23683" y="14015"/>
                    </a:lnTo>
                    <a:lnTo>
                      <a:pt x="23979" y="14015"/>
                    </a:lnTo>
                    <a:cubicBezTo>
                      <a:pt x="28913" y="5087"/>
                      <a:pt x="38441" y="-325"/>
                      <a:pt x="48638" y="15"/>
                    </a:cubicBezTo>
                    <a:cubicBezTo>
                      <a:pt x="65633" y="15"/>
                      <a:pt x="74130" y="10553"/>
                      <a:pt x="74119" y="3161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9" name="Freeform: Shape 58">
                <a:extLst>
                  <a:ext uri="{FF2B5EF4-FFF2-40B4-BE49-F238E27FC236}">
                    <a16:creationId xmlns:a16="http://schemas.microsoft.com/office/drawing/2014/main" id="{519A26CB-9A90-2689-87D2-BF75A83E3123}"/>
                  </a:ext>
                </a:extLst>
              </p:cNvPr>
              <p:cNvSpPr/>
              <p:nvPr/>
            </p:nvSpPr>
            <p:spPr>
              <a:xfrm>
                <a:off x="2565433" y="5128733"/>
                <a:ext cx="58943" cy="80400"/>
              </a:xfrm>
              <a:custGeom>
                <a:avLst/>
                <a:gdLst>
                  <a:gd name="connsiteX0" fmla="*/ 19 w 58943"/>
                  <a:gd name="connsiteY0" fmla="*/ 76561 h 80400"/>
                  <a:gd name="connsiteX1" fmla="*/ 19 w 58943"/>
                  <a:gd name="connsiteY1" fmla="*/ 57390 h 80400"/>
                  <a:gd name="connsiteX2" fmla="*/ 11674 w 58943"/>
                  <a:gd name="connsiteY2" fmla="*/ 62638 h 80400"/>
                  <a:gd name="connsiteX3" fmla="*/ 22639 w 58943"/>
                  <a:gd name="connsiteY3" fmla="*/ 64358 h 80400"/>
                  <a:gd name="connsiteX4" fmla="*/ 32573 w 58943"/>
                  <a:gd name="connsiteY4" fmla="*/ 62638 h 80400"/>
                  <a:gd name="connsiteX5" fmla="*/ 36213 w 58943"/>
                  <a:gd name="connsiteY5" fmla="*/ 57390 h 80400"/>
                  <a:gd name="connsiteX6" fmla="*/ 34557 w 58943"/>
                  <a:gd name="connsiteY6" fmla="*/ 53655 h 80400"/>
                  <a:gd name="connsiteX7" fmla="*/ 30325 w 58943"/>
                  <a:gd name="connsiteY7" fmla="*/ 51026 h 80400"/>
                  <a:gd name="connsiteX8" fmla="*/ 24667 w 58943"/>
                  <a:gd name="connsiteY8" fmla="*/ 49010 h 80400"/>
                  <a:gd name="connsiteX9" fmla="*/ 18746 w 58943"/>
                  <a:gd name="connsiteY9" fmla="*/ 46984 h 80400"/>
                  <a:gd name="connsiteX10" fmla="*/ 10688 w 58943"/>
                  <a:gd name="connsiteY10" fmla="*/ 43281 h 80400"/>
                  <a:gd name="connsiteX11" fmla="*/ 4844 w 58943"/>
                  <a:gd name="connsiteY11" fmla="*/ 38669 h 80400"/>
                  <a:gd name="connsiteX12" fmla="*/ 1247 w 58943"/>
                  <a:gd name="connsiteY12" fmla="*/ 32612 h 80400"/>
                  <a:gd name="connsiteX13" fmla="*/ 8 w 58943"/>
                  <a:gd name="connsiteY13" fmla="*/ 24451 h 80400"/>
                  <a:gd name="connsiteX14" fmla="*/ 2815 w 58943"/>
                  <a:gd name="connsiteY14" fmla="*/ 13364 h 80400"/>
                  <a:gd name="connsiteX15" fmla="*/ 10315 w 58943"/>
                  <a:gd name="connsiteY15" fmla="*/ 5762 h 80400"/>
                  <a:gd name="connsiteX16" fmla="*/ 21027 w 58943"/>
                  <a:gd name="connsiteY16" fmla="*/ 1380 h 80400"/>
                  <a:gd name="connsiteX17" fmla="*/ 33581 w 58943"/>
                  <a:gd name="connsiteY17" fmla="*/ 0 h 80400"/>
                  <a:gd name="connsiteX18" fmla="*/ 43932 w 58943"/>
                  <a:gd name="connsiteY18" fmla="*/ 789 h 80400"/>
                  <a:gd name="connsiteX19" fmla="*/ 54271 w 58943"/>
                  <a:gd name="connsiteY19" fmla="*/ 3067 h 80400"/>
                  <a:gd name="connsiteX20" fmla="*/ 54271 w 58943"/>
                  <a:gd name="connsiteY20" fmla="*/ 21339 h 80400"/>
                  <a:gd name="connsiteX21" fmla="*/ 44644 w 58943"/>
                  <a:gd name="connsiteY21" fmla="*/ 17407 h 80400"/>
                  <a:gd name="connsiteX22" fmla="*/ 34557 w 58943"/>
                  <a:gd name="connsiteY22" fmla="*/ 16103 h 80400"/>
                  <a:gd name="connsiteX23" fmla="*/ 30171 w 58943"/>
                  <a:gd name="connsiteY23" fmla="*/ 16508 h 80400"/>
                  <a:gd name="connsiteX24" fmla="*/ 26542 w 58943"/>
                  <a:gd name="connsiteY24" fmla="*/ 17713 h 80400"/>
                  <a:gd name="connsiteX25" fmla="*/ 24064 w 58943"/>
                  <a:gd name="connsiteY25" fmla="*/ 19729 h 80400"/>
                  <a:gd name="connsiteX26" fmla="*/ 23165 w 58943"/>
                  <a:gd name="connsiteY26" fmla="*/ 22544 h 80400"/>
                  <a:gd name="connsiteX27" fmla="*/ 24514 w 58943"/>
                  <a:gd name="connsiteY27" fmla="*/ 26137 h 80400"/>
                  <a:gd name="connsiteX28" fmla="*/ 28044 w 58943"/>
                  <a:gd name="connsiteY28" fmla="*/ 28723 h 80400"/>
                  <a:gd name="connsiteX29" fmla="*/ 32880 w 58943"/>
                  <a:gd name="connsiteY29" fmla="*/ 30662 h 80400"/>
                  <a:gd name="connsiteX30" fmla="*/ 38153 w 58943"/>
                  <a:gd name="connsiteY30" fmla="*/ 32425 h 80400"/>
                  <a:gd name="connsiteX31" fmla="*/ 46706 w 58943"/>
                  <a:gd name="connsiteY31" fmla="*/ 36018 h 80400"/>
                  <a:gd name="connsiteX32" fmla="*/ 53284 w 58943"/>
                  <a:gd name="connsiteY32" fmla="*/ 40586 h 80400"/>
                  <a:gd name="connsiteX33" fmla="*/ 57484 w 58943"/>
                  <a:gd name="connsiteY33" fmla="*/ 46732 h 80400"/>
                  <a:gd name="connsiteX34" fmla="*/ 55981 w 58943"/>
                  <a:gd name="connsiteY34" fmla="*/ 66757 h 80400"/>
                  <a:gd name="connsiteX35" fmla="*/ 48109 w 58943"/>
                  <a:gd name="connsiteY35" fmla="*/ 74622 h 80400"/>
                  <a:gd name="connsiteX36" fmla="*/ 36794 w 58943"/>
                  <a:gd name="connsiteY36" fmla="*/ 79004 h 80400"/>
                  <a:gd name="connsiteX37" fmla="*/ 23494 w 58943"/>
                  <a:gd name="connsiteY37" fmla="*/ 80395 h 80400"/>
                  <a:gd name="connsiteX38" fmla="*/ 19 w 58943"/>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3" h="80400">
                    <a:moveTo>
                      <a:pt x="19" y="76561"/>
                    </a:moveTo>
                    <a:lnTo>
                      <a:pt x="19" y="57390"/>
                    </a:lnTo>
                    <a:cubicBezTo>
                      <a:pt x="3660" y="59625"/>
                      <a:pt x="7585" y="61389"/>
                      <a:pt x="11674" y="62638"/>
                    </a:cubicBezTo>
                    <a:cubicBezTo>
                      <a:pt x="15227" y="63733"/>
                      <a:pt x="18922" y="64314"/>
                      <a:pt x="22639" y="64358"/>
                    </a:cubicBezTo>
                    <a:cubicBezTo>
                      <a:pt x="26038" y="64511"/>
                      <a:pt x="29426" y="63919"/>
                      <a:pt x="32573" y="62638"/>
                    </a:cubicBezTo>
                    <a:cubicBezTo>
                      <a:pt x="34765" y="61827"/>
                      <a:pt x="36224" y="59735"/>
                      <a:pt x="36213" y="57390"/>
                    </a:cubicBezTo>
                    <a:cubicBezTo>
                      <a:pt x="36235" y="55966"/>
                      <a:pt x="35632" y="54597"/>
                      <a:pt x="34557" y="53655"/>
                    </a:cubicBezTo>
                    <a:cubicBezTo>
                      <a:pt x="33296" y="52549"/>
                      <a:pt x="31871" y="51661"/>
                      <a:pt x="30325" y="51026"/>
                    </a:cubicBezTo>
                    <a:cubicBezTo>
                      <a:pt x="28483" y="50237"/>
                      <a:pt x="26597" y="49558"/>
                      <a:pt x="24667" y="49010"/>
                    </a:cubicBezTo>
                    <a:cubicBezTo>
                      <a:pt x="22617" y="48408"/>
                      <a:pt x="20643" y="47739"/>
                      <a:pt x="18746" y="46984"/>
                    </a:cubicBezTo>
                    <a:cubicBezTo>
                      <a:pt x="15973" y="45954"/>
                      <a:pt x="13275" y="44716"/>
                      <a:pt x="10688" y="43281"/>
                    </a:cubicBezTo>
                    <a:cubicBezTo>
                      <a:pt x="8506" y="42065"/>
                      <a:pt x="6532" y="40510"/>
                      <a:pt x="4844" y="38669"/>
                    </a:cubicBezTo>
                    <a:cubicBezTo>
                      <a:pt x="3254" y="36906"/>
                      <a:pt x="2037" y="34846"/>
                      <a:pt x="1247" y="32612"/>
                    </a:cubicBezTo>
                    <a:cubicBezTo>
                      <a:pt x="370" y="29983"/>
                      <a:pt x="-47" y="27222"/>
                      <a:pt x="8" y="24451"/>
                    </a:cubicBezTo>
                    <a:cubicBezTo>
                      <a:pt x="-101" y="20562"/>
                      <a:pt x="875" y="16727"/>
                      <a:pt x="2815" y="13364"/>
                    </a:cubicBezTo>
                    <a:cubicBezTo>
                      <a:pt x="4679" y="10275"/>
                      <a:pt x="7256" y="7668"/>
                      <a:pt x="10315" y="5762"/>
                    </a:cubicBezTo>
                    <a:cubicBezTo>
                      <a:pt x="13615" y="3714"/>
                      <a:pt x="17233" y="2224"/>
                      <a:pt x="21027" y="1380"/>
                    </a:cubicBezTo>
                    <a:cubicBezTo>
                      <a:pt x="25150" y="449"/>
                      <a:pt x="29360" y="-11"/>
                      <a:pt x="33581" y="0"/>
                    </a:cubicBezTo>
                    <a:cubicBezTo>
                      <a:pt x="37046" y="0"/>
                      <a:pt x="40511" y="263"/>
                      <a:pt x="43932" y="789"/>
                    </a:cubicBezTo>
                    <a:cubicBezTo>
                      <a:pt x="47429" y="1315"/>
                      <a:pt x="50883" y="2071"/>
                      <a:pt x="54271" y="3067"/>
                    </a:cubicBezTo>
                    <a:lnTo>
                      <a:pt x="54271" y="21339"/>
                    </a:lnTo>
                    <a:cubicBezTo>
                      <a:pt x="51256" y="19587"/>
                      <a:pt x="48021" y="18261"/>
                      <a:pt x="44644" y="17407"/>
                    </a:cubicBezTo>
                    <a:cubicBezTo>
                      <a:pt x="41344" y="16552"/>
                      <a:pt x="37956" y="16114"/>
                      <a:pt x="34557" y="16103"/>
                    </a:cubicBezTo>
                    <a:cubicBezTo>
                      <a:pt x="33088" y="16092"/>
                      <a:pt x="31619" y="16235"/>
                      <a:pt x="30171" y="16508"/>
                    </a:cubicBezTo>
                    <a:cubicBezTo>
                      <a:pt x="28910" y="16749"/>
                      <a:pt x="27694" y="17155"/>
                      <a:pt x="26542" y="17713"/>
                    </a:cubicBezTo>
                    <a:cubicBezTo>
                      <a:pt x="25566" y="18174"/>
                      <a:pt x="24711" y="18864"/>
                      <a:pt x="24064" y="19729"/>
                    </a:cubicBezTo>
                    <a:cubicBezTo>
                      <a:pt x="23472" y="20551"/>
                      <a:pt x="23154" y="21536"/>
                      <a:pt x="23165" y="22544"/>
                    </a:cubicBezTo>
                    <a:cubicBezTo>
                      <a:pt x="23143" y="23870"/>
                      <a:pt x="23626" y="25152"/>
                      <a:pt x="24514" y="26137"/>
                    </a:cubicBezTo>
                    <a:cubicBezTo>
                      <a:pt x="25512" y="27211"/>
                      <a:pt x="26718" y="28087"/>
                      <a:pt x="28044" y="28723"/>
                    </a:cubicBezTo>
                    <a:cubicBezTo>
                      <a:pt x="29601" y="29489"/>
                      <a:pt x="31224" y="30136"/>
                      <a:pt x="32880" y="30662"/>
                    </a:cubicBezTo>
                    <a:cubicBezTo>
                      <a:pt x="34645" y="31242"/>
                      <a:pt x="36410" y="31823"/>
                      <a:pt x="38153" y="32425"/>
                    </a:cubicBezTo>
                    <a:cubicBezTo>
                      <a:pt x="41081" y="33422"/>
                      <a:pt x="43943" y="34627"/>
                      <a:pt x="46706" y="36018"/>
                    </a:cubicBezTo>
                    <a:cubicBezTo>
                      <a:pt x="49107" y="37212"/>
                      <a:pt x="51322" y="38757"/>
                      <a:pt x="53284" y="40586"/>
                    </a:cubicBezTo>
                    <a:cubicBezTo>
                      <a:pt x="55093" y="42317"/>
                      <a:pt x="56530" y="44409"/>
                      <a:pt x="57484" y="46732"/>
                    </a:cubicBezTo>
                    <a:cubicBezTo>
                      <a:pt x="59863" y="53315"/>
                      <a:pt x="59315" y="60600"/>
                      <a:pt x="55981" y="66757"/>
                    </a:cubicBezTo>
                    <a:cubicBezTo>
                      <a:pt x="54019" y="69966"/>
                      <a:pt x="51322" y="72661"/>
                      <a:pt x="48109" y="74622"/>
                    </a:cubicBezTo>
                    <a:cubicBezTo>
                      <a:pt x="44622" y="76725"/>
                      <a:pt x="40785" y="78204"/>
                      <a:pt x="36794" y="79004"/>
                    </a:cubicBezTo>
                    <a:cubicBezTo>
                      <a:pt x="32419" y="79946"/>
                      <a:pt x="27968" y="80406"/>
                      <a:pt x="23494" y="80395"/>
                    </a:cubicBezTo>
                    <a:cubicBezTo>
                      <a:pt x="15501" y="80494"/>
                      <a:pt x="7563" y="79190"/>
                      <a:pt x="19"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0" name="Freeform: Shape 59">
                <a:extLst>
                  <a:ext uri="{FF2B5EF4-FFF2-40B4-BE49-F238E27FC236}">
                    <a16:creationId xmlns:a16="http://schemas.microsoft.com/office/drawing/2014/main" id="{6B95E1A4-843E-9794-E8AE-5E3B75B12CE2}"/>
                  </a:ext>
                </a:extLst>
              </p:cNvPr>
              <p:cNvSpPr/>
              <p:nvPr/>
            </p:nvSpPr>
            <p:spPr>
              <a:xfrm>
                <a:off x="2630866" y="5091953"/>
                <a:ext cx="56664" cy="115367"/>
              </a:xfrm>
              <a:custGeom>
                <a:avLst/>
                <a:gdLst>
                  <a:gd name="connsiteX0" fmla="*/ 56664 w 56664"/>
                  <a:gd name="connsiteY0" fmla="*/ 19965 h 115367"/>
                  <a:gd name="connsiteX1" fmla="*/ 47893 w 56664"/>
                  <a:gd name="connsiteY1" fmla="*/ 18169 h 115367"/>
                  <a:gd name="connsiteX2" fmla="*/ 36501 w 56664"/>
                  <a:gd name="connsiteY2" fmla="*/ 30525 h 115367"/>
                  <a:gd name="connsiteX3" fmla="*/ 36501 w 56664"/>
                  <a:gd name="connsiteY3" fmla="*/ 38686 h 115367"/>
                  <a:gd name="connsiteX4" fmla="*/ 54043 w 56664"/>
                  <a:gd name="connsiteY4" fmla="*/ 38686 h 115367"/>
                  <a:gd name="connsiteX5" fmla="*/ 54043 w 56664"/>
                  <a:gd name="connsiteY5" fmla="*/ 56137 h 115367"/>
                  <a:gd name="connsiteX6" fmla="*/ 36501 w 56664"/>
                  <a:gd name="connsiteY6" fmla="*/ 56137 h 115367"/>
                  <a:gd name="connsiteX7" fmla="*/ 36501 w 56664"/>
                  <a:gd name="connsiteY7" fmla="*/ 115368 h 115367"/>
                  <a:gd name="connsiteX8" fmla="*/ 12894 w 56664"/>
                  <a:gd name="connsiteY8" fmla="*/ 115368 h 115367"/>
                  <a:gd name="connsiteX9" fmla="*/ 12894 w 56664"/>
                  <a:gd name="connsiteY9" fmla="*/ 56137 h 115367"/>
                  <a:gd name="connsiteX10" fmla="*/ 0 w 56664"/>
                  <a:gd name="connsiteY10" fmla="*/ 56137 h 115367"/>
                  <a:gd name="connsiteX11" fmla="*/ 0 w 56664"/>
                  <a:gd name="connsiteY11" fmla="*/ 38686 h 115367"/>
                  <a:gd name="connsiteX12" fmla="*/ 12894 w 56664"/>
                  <a:gd name="connsiteY12" fmla="*/ 38686 h 115367"/>
                  <a:gd name="connsiteX13" fmla="*/ 12894 w 56664"/>
                  <a:gd name="connsiteY13" fmla="*/ 29178 h 115367"/>
                  <a:gd name="connsiteX14" fmla="*/ 21435 w 56664"/>
                  <a:gd name="connsiteY14" fmla="*/ 8058 h 115367"/>
                  <a:gd name="connsiteX15" fmla="*/ 44680 w 56664"/>
                  <a:gd name="connsiteY15" fmla="*/ 50 h 115367"/>
                  <a:gd name="connsiteX16" fmla="*/ 56664 w 56664"/>
                  <a:gd name="connsiteY16" fmla="*/ 1540 h 11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64" h="115367">
                    <a:moveTo>
                      <a:pt x="56664" y="19965"/>
                    </a:moveTo>
                    <a:cubicBezTo>
                      <a:pt x="53879" y="18826"/>
                      <a:pt x="50908" y="18213"/>
                      <a:pt x="47893" y="18169"/>
                    </a:cubicBezTo>
                    <a:cubicBezTo>
                      <a:pt x="40305" y="18169"/>
                      <a:pt x="36511" y="22287"/>
                      <a:pt x="36501" y="30525"/>
                    </a:cubicBezTo>
                    <a:lnTo>
                      <a:pt x="36501" y="38686"/>
                    </a:lnTo>
                    <a:lnTo>
                      <a:pt x="54043" y="38686"/>
                    </a:lnTo>
                    <a:lnTo>
                      <a:pt x="54043" y="56137"/>
                    </a:lnTo>
                    <a:lnTo>
                      <a:pt x="36501" y="56137"/>
                    </a:lnTo>
                    <a:lnTo>
                      <a:pt x="36501" y="115368"/>
                    </a:lnTo>
                    <a:lnTo>
                      <a:pt x="12894" y="115368"/>
                    </a:lnTo>
                    <a:lnTo>
                      <a:pt x="12894" y="56137"/>
                    </a:lnTo>
                    <a:lnTo>
                      <a:pt x="0" y="56137"/>
                    </a:lnTo>
                    <a:lnTo>
                      <a:pt x="0" y="38686"/>
                    </a:lnTo>
                    <a:lnTo>
                      <a:pt x="12894" y="38686"/>
                    </a:lnTo>
                    <a:lnTo>
                      <a:pt x="12894" y="29178"/>
                    </a:lnTo>
                    <a:cubicBezTo>
                      <a:pt x="12565" y="21236"/>
                      <a:pt x="15679" y="13546"/>
                      <a:pt x="21435" y="8058"/>
                    </a:cubicBezTo>
                    <a:cubicBezTo>
                      <a:pt x="27839" y="2460"/>
                      <a:pt x="36183" y="-421"/>
                      <a:pt x="44680" y="50"/>
                    </a:cubicBezTo>
                    <a:cubicBezTo>
                      <a:pt x="48726" y="-48"/>
                      <a:pt x="52761" y="455"/>
                      <a:pt x="56664" y="154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1" name="Freeform: Shape 60">
                <a:extLst>
                  <a:ext uri="{FF2B5EF4-FFF2-40B4-BE49-F238E27FC236}">
                    <a16:creationId xmlns:a16="http://schemas.microsoft.com/office/drawing/2014/main" id="{B86648A9-F405-2E98-9F42-BC36F25B0BA4}"/>
                  </a:ext>
                </a:extLst>
              </p:cNvPr>
              <p:cNvSpPr/>
              <p:nvPr/>
            </p:nvSpPr>
            <p:spPr>
              <a:xfrm>
                <a:off x="2691558" y="5128704"/>
                <a:ext cx="73755" cy="80669"/>
              </a:xfrm>
              <a:custGeom>
                <a:avLst/>
                <a:gdLst>
                  <a:gd name="connsiteX0" fmla="*/ 73698 w 73755"/>
                  <a:gd name="connsiteY0" fmla="*/ 47013 h 80669"/>
                  <a:gd name="connsiteX1" fmla="*/ 23635 w 73755"/>
                  <a:gd name="connsiteY1" fmla="*/ 47013 h 80669"/>
                  <a:gd name="connsiteX2" fmla="*/ 44698 w 73755"/>
                  <a:gd name="connsiteY2" fmla="*/ 63719 h 80669"/>
                  <a:gd name="connsiteX3" fmla="*/ 66955 w 73755"/>
                  <a:gd name="connsiteY3" fmla="*/ 57727 h 80669"/>
                  <a:gd name="connsiteX4" fmla="*/ 66955 w 73755"/>
                  <a:gd name="connsiteY4" fmla="*/ 74794 h 80669"/>
                  <a:gd name="connsiteX5" fmla="*/ 39292 w 73755"/>
                  <a:gd name="connsiteY5" fmla="*/ 80490 h 80669"/>
                  <a:gd name="connsiteX6" fmla="*/ 182 w 73755"/>
                  <a:gd name="connsiteY6" fmla="*/ 48525 h 80669"/>
                  <a:gd name="connsiteX7" fmla="*/ 171 w 73755"/>
                  <a:gd name="connsiteY7" fmla="*/ 41470 h 80669"/>
                  <a:gd name="connsiteX8" fmla="*/ 11267 w 73755"/>
                  <a:gd name="connsiteY8" fmla="*/ 11225 h 80669"/>
                  <a:gd name="connsiteX9" fmla="*/ 38547 w 73755"/>
                  <a:gd name="connsiteY9" fmla="*/ 63 h 80669"/>
                  <a:gd name="connsiteX10" fmla="*/ 64521 w 73755"/>
                  <a:gd name="connsiteY10" fmla="*/ 10020 h 80669"/>
                  <a:gd name="connsiteX11" fmla="*/ 73698 w 73755"/>
                  <a:gd name="connsiteY11" fmla="*/ 37056 h 80669"/>
                  <a:gd name="connsiteX12" fmla="*/ 51770 w 73755"/>
                  <a:gd name="connsiteY12" fmla="*/ 32488 h 80669"/>
                  <a:gd name="connsiteX13" fmla="*/ 38426 w 73755"/>
                  <a:gd name="connsiteY13" fmla="*/ 16056 h 80669"/>
                  <a:gd name="connsiteX14" fmla="*/ 28558 w 73755"/>
                  <a:gd name="connsiteY14" fmla="*/ 20777 h 80669"/>
                  <a:gd name="connsiteX15" fmla="*/ 23503 w 73755"/>
                  <a:gd name="connsiteY15" fmla="*/ 32532 h 8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69">
                    <a:moveTo>
                      <a:pt x="73698" y="47013"/>
                    </a:moveTo>
                    <a:lnTo>
                      <a:pt x="23635" y="47013"/>
                    </a:lnTo>
                    <a:cubicBezTo>
                      <a:pt x="24424" y="58143"/>
                      <a:pt x="31442" y="63708"/>
                      <a:pt x="44698" y="63719"/>
                    </a:cubicBezTo>
                    <a:cubicBezTo>
                      <a:pt x="52537" y="63883"/>
                      <a:pt x="60256" y="61802"/>
                      <a:pt x="66955" y="57727"/>
                    </a:cubicBezTo>
                    <a:lnTo>
                      <a:pt x="66955" y="74794"/>
                    </a:lnTo>
                    <a:cubicBezTo>
                      <a:pt x="58337" y="78924"/>
                      <a:pt x="48842" y="80874"/>
                      <a:pt x="39292" y="80490"/>
                    </a:cubicBezTo>
                    <a:cubicBezTo>
                      <a:pt x="19655" y="82451"/>
                      <a:pt x="2145" y="68145"/>
                      <a:pt x="182" y="48525"/>
                    </a:cubicBezTo>
                    <a:cubicBezTo>
                      <a:pt x="-59" y="46181"/>
                      <a:pt x="-59" y="43815"/>
                      <a:pt x="171" y="41470"/>
                    </a:cubicBezTo>
                    <a:cubicBezTo>
                      <a:pt x="-410" y="30297"/>
                      <a:pt x="3592" y="19375"/>
                      <a:pt x="11267" y="11225"/>
                    </a:cubicBezTo>
                    <a:cubicBezTo>
                      <a:pt x="18416" y="3875"/>
                      <a:pt x="28295" y="-167"/>
                      <a:pt x="38547" y="63"/>
                    </a:cubicBezTo>
                    <a:cubicBezTo>
                      <a:pt x="48239" y="-529"/>
                      <a:pt x="57712" y="3097"/>
                      <a:pt x="64521" y="10020"/>
                    </a:cubicBezTo>
                    <a:cubicBezTo>
                      <a:pt x="70946" y="17513"/>
                      <a:pt x="74236" y="27197"/>
                      <a:pt x="73698" y="37056"/>
                    </a:cubicBezTo>
                    <a:close/>
                    <a:moveTo>
                      <a:pt x="51770" y="32488"/>
                    </a:moveTo>
                    <a:cubicBezTo>
                      <a:pt x="51770" y="21533"/>
                      <a:pt x="47318" y="16056"/>
                      <a:pt x="38426" y="16056"/>
                    </a:cubicBezTo>
                    <a:cubicBezTo>
                      <a:pt x="34588" y="16067"/>
                      <a:pt x="30970" y="17798"/>
                      <a:pt x="28558" y="20777"/>
                    </a:cubicBezTo>
                    <a:cubicBezTo>
                      <a:pt x="25718" y="24097"/>
                      <a:pt x="23953" y="28194"/>
                      <a:pt x="23503"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2" name="Freeform: Shape 61">
                <a:extLst>
                  <a:ext uri="{FF2B5EF4-FFF2-40B4-BE49-F238E27FC236}">
                    <a16:creationId xmlns:a16="http://schemas.microsoft.com/office/drawing/2014/main" id="{A04DB5E9-D5AC-84B2-CCF8-EF69B1B584B7}"/>
                  </a:ext>
                </a:extLst>
              </p:cNvPr>
              <p:cNvSpPr/>
              <p:nvPr/>
            </p:nvSpPr>
            <p:spPr>
              <a:xfrm>
                <a:off x="2780190" y="5129288"/>
                <a:ext cx="50107" cy="78032"/>
              </a:xfrm>
              <a:custGeom>
                <a:avLst/>
                <a:gdLst>
                  <a:gd name="connsiteX0" fmla="*/ 50107 w 50107"/>
                  <a:gd name="connsiteY0" fmla="*/ 22690 h 78032"/>
                  <a:gd name="connsiteX1" fmla="*/ 40141 w 50107"/>
                  <a:gd name="connsiteY1" fmla="*/ 20368 h 78032"/>
                  <a:gd name="connsiteX2" fmla="*/ 28080 w 50107"/>
                  <a:gd name="connsiteY2" fmla="*/ 26021 h 78032"/>
                  <a:gd name="connsiteX3" fmla="*/ 23694 w 50107"/>
                  <a:gd name="connsiteY3" fmla="*/ 41412 h 78032"/>
                  <a:gd name="connsiteX4" fmla="*/ 23694 w 50107"/>
                  <a:gd name="connsiteY4" fmla="*/ 78032 h 78032"/>
                  <a:gd name="connsiteX5" fmla="*/ 0 w 50107"/>
                  <a:gd name="connsiteY5" fmla="*/ 78032 h 78032"/>
                  <a:gd name="connsiteX6" fmla="*/ 0 w 50107"/>
                  <a:gd name="connsiteY6" fmla="*/ 1351 h 78032"/>
                  <a:gd name="connsiteX7" fmla="*/ 23694 w 50107"/>
                  <a:gd name="connsiteY7" fmla="*/ 1351 h 78032"/>
                  <a:gd name="connsiteX8" fmla="*/ 23694 w 50107"/>
                  <a:gd name="connsiteY8" fmla="*/ 15592 h 78032"/>
                  <a:gd name="connsiteX9" fmla="*/ 23990 w 50107"/>
                  <a:gd name="connsiteY9" fmla="*/ 15592 h 78032"/>
                  <a:gd name="connsiteX10" fmla="*/ 44230 w 50107"/>
                  <a:gd name="connsiteY10" fmla="*/ 15 h 78032"/>
                  <a:gd name="connsiteX11" fmla="*/ 50074 w 50107"/>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107" h="78032">
                    <a:moveTo>
                      <a:pt x="50107" y="22690"/>
                    </a:moveTo>
                    <a:cubicBezTo>
                      <a:pt x="47037" y="21091"/>
                      <a:pt x="43605" y="20291"/>
                      <a:pt x="40141" y="20368"/>
                    </a:cubicBezTo>
                    <a:cubicBezTo>
                      <a:pt x="35437" y="20160"/>
                      <a:pt x="30931" y="22274"/>
                      <a:pt x="28080" y="26021"/>
                    </a:cubicBezTo>
                    <a:cubicBezTo>
                      <a:pt x="24955" y="30523"/>
                      <a:pt x="23409" y="35935"/>
                      <a:pt x="23694" y="41412"/>
                    </a:cubicBezTo>
                    <a:lnTo>
                      <a:pt x="23694" y="78032"/>
                    </a:lnTo>
                    <a:lnTo>
                      <a:pt x="0" y="78032"/>
                    </a:lnTo>
                    <a:lnTo>
                      <a:pt x="0" y="1351"/>
                    </a:lnTo>
                    <a:lnTo>
                      <a:pt x="23694" y="1351"/>
                    </a:lnTo>
                    <a:lnTo>
                      <a:pt x="23694" y="15592"/>
                    </a:lnTo>
                    <a:lnTo>
                      <a:pt x="23990" y="15592"/>
                    </a:lnTo>
                    <a:cubicBezTo>
                      <a:pt x="26271" y="6314"/>
                      <a:pt x="34669" y="-150"/>
                      <a:pt x="44230" y="15"/>
                    </a:cubicBezTo>
                    <a:cubicBezTo>
                      <a:pt x="46215" y="-73"/>
                      <a:pt x="48200" y="234"/>
                      <a:pt x="50074" y="91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3" name="Freeform: Shape 62">
                <a:extLst>
                  <a:ext uri="{FF2B5EF4-FFF2-40B4-BE49-F238E27FC236}">
                    <a16:creationId xmlns:a16="http://schemas.microsoft.com/office/drawing/2014/main" id="{A0E66E7D-8709-7E97-BD09-FDEF8F1910C1}"/>
                  </a:ext>
                </a:extLst>
              </p:cNvPr>
              <p:cNvSpPr/>
              <p:nvPr/>
            </p:nvSpPr>
            <p:spPr>
              <a:xfrm>
                <a:off x="2838580" y="5128733"/>
                <a:ext cx="58931" cy="80400"/>
              </a:xfrm>
              <a:custGeom>
                <a:avLst/>
                <a:gdLst>
                  <a:gd name="connsiteX0" fmla="*/ 29 w 58931"/>
                  <a:gd name="connsiteY0" fmla="*/ 76561 h 80400"/>
                  <a:gd name="connsiteX1" fmla="*/ 29 w 58931"/>
                  <a:gd name="connsiteY1" fmla="*/ 57390 h 80400"/>
                  <a:gd name="connsiteX2" fmla="*/ 11684 w 58931"/>
                  <a:gd name="connsiteY2" fmla="*/ 62638 h 80400"/>
                  <a:gd name="connsiteX3" fmla="*/ 22648 w 58931"/>
                  <a:gd name="connsiteY3" fmla="*/ 64358 h 80400"/>
                  <a:gd name="connsiteX4" fmla="*/ 32571 w 58931"/>
                  <a:gd name="connsiteY4" fmla="*/ 62638 h 80400"/>
                  <a:gd name="connsiteX5" fmla="*/ 36211 w 58931"/>
                  <a:gd name="connsiteY5" fmla="*/ 57390 h 80400"/>
                  <a:gd name="connsiteX6" fmla="*/ 34556 w 58931"/>
                  <a:gd name="connsiteY6" fmla="*/ 53655 h 80400"/>
                  <a:gd name="connsiteX7" fmla="*/ 30323 w 58931"/>
                  <a:gd name="connsiteY7" fmla="*/ 51026 h 80400"/>
                  <a:gd name="connsiteX8" fmla="*/ 24666 w 58931"/>
                  <a:gd name="connsiteY8" fmla="*/ 49010 h 80400"/>
                  <a:gd name="connsiteX9" fmla="*/ 18745 w 58931"/>
                  <a:gd name="connsiteY9" fmla="*/ 46984 h 80400"/>
                  <a:gd name="connsiteX10" fmla="*/ 10686 w 58931"/>
                  <a:gd name="connsiteY10" fmla="*/ 43281 h 80400"/>
                  <a:gd name="connsiteX11" fmla="*/ 4842 w 58931"/>
                  <a:gd name="connsiteY11" fmla="*/ 38669 h 80400"/>
                  <a:gd name="connsiteX12" fmla="*/ 1246 w 58931"/>
                  <a:gd name="connsiteY12" fmla="*/ 32612 h 80400"/>
                  <a:gd name="connsiteX13" fmla="*/ 7 w 58931"/>
                  <a:gd name="connsiteY13" fmla="*/ 24451 h 80400"/>
                  <a:gd name="connsiteX14" fmla="*/ 2814 w 58931"/>
                  <a:gd name="connsiteY14" fmla="*/ 13364 h 80400"/>
                  <a:gd name="connsiteX15" fmla="*/ 10313 w 58931"/>
                  <a:gd name="connsiteY15" fmla="*/ 5762 h 80400"/>
                  <a:gd name="connsiteX16" fmla="*/ 21037 w 58931"/>
                  <a:gd name="connsiteY16" fmla="*/ 1380 h 80400"/>
                  <a:gd name="connsiteX17" fmla="*/ 33591 w 58931"/>
                  <a:gd name="connsiteY17" fmla="*/ 0 h 80400"/>
                  <a:gd name="connsiteX18" fmla="*/ 43930 w 58931"/>
                  <a:gd name="connsiteY18" fmla="*/ 789 h 80400"/>
                  <a:gd name="connsiteX19" fmla="*/ 54270 w 58931"/>
                  <a:gd name="connsiteY19" fmla="*/ 3067 h 80400"/>
                  <a:gd name="connsiteX20" fmla="*/ 54270 w 58931"/>
                  <a:gd name="connsiteY20" fmla="*/ 21339 h 80400"/>
                  <a:gd name="connsiteX21" fmla="*/ 44643 w 58931"/>
                  <a:gd name="connsiteY21" fmla="*/ 17407 h 80400"/>
                  <a:gd name="connsiteX22" fmla="*/ 34556 w 58931"/>
                  <a:gd name="connsiteY22" fmla="*/ 16103 h 80400"/>
                  <a:gd name="connsiteX23" fmla="*/ 30170 w 58931"/>
                  <a:gd name="connsiteY23" fmla="*/ 16508 h 80400"/>
                  <a:gd name="connsiteX24" fmla="*/ 26530 w 58931"/>
                  <a:gd name="connsiteY24" fmla="*/ 17713 h 80400"/>
                  <a:gd name="connsiteX25" fmla="*/ 24052 w 58931"/>
                  <a:gd name="connsiteY25" fmla="*/ 19729 h 80400"/>
                  <a:gd name="connsiteX26" fmla="*/ 23153 w 58931"/>
                  <a:gd name="connsiteY26" fmla="*/ 22544 h 80400"/>
                  <a:gd name="connsiteX27" fmla="*/ 24501 w 58931"/>
                  <a:gd name="connsiteY27" fmla="*/ 26137 h 80400"/>
                  <a:gd name="connsiteX28" fmla="*/ 28032 w 58931"/>
                  <a:gd name="connsiteY28" fmla="*/ 28723 h 80400"/>
                  <a:gd name="connsiteX29" fmla="*/ 32867 w 58931"/>
                  <a:gd name="connsiteY29" fmla="*/ 30662 h 80400"/>
                  <a:gd name="connsiteX30" fmla="*/ 38152 w 58931"/>
                  <a:gd name="connsiteY30" fmla="*/ 32425 h 80400"/>
                  <a:gd name="connsiteX31" fmla="*/ 46693 w 58931"/>
                  <a:gd name="connsiteY31" fmla="*/ 36018 h 80400"/>
                  <a:gd name="connsiteX32" fmla="*/ 53272 w 58931"/>
                  <a:gd name="connsiteY32" fmla="*/ 40586 h 80400"/>
                  <a:gd name="connsiteX33" fmla="*/ 57471 w 58931"/>
                  <a:gd name="connsiteY33" fmla="*/ 46732 h 80400"/>
                  <a:gd name="connsiteX34" fmla="*/ 55969 w 58931"/>
                  <a:gd name="connsiteY34" fmla="*/ 66757 h 80400"/>
                  <a:gd name="connsiteX35" fmla="*/ 48097 w 58931"/>
                  <a:gd name="connsiteY35" fmla="*/ 74622 h 80400"/>
                  <a:gd name="connsiteX36" fmla="*/ 36781 w 58931"/>
                  <a:gd name="connsiteY36" fmla="*/ 79004 h 80400"/>
                  <a:gd name="connsiteX37" fmla="*/ 23482 w 58931"/>
                  <a:gd name="connsiteY37" fmla="*/ 80395 h 80400"/>
                  <a:gd name="connsiteX38" fmla="*/ 29 w 58931"/>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31" h="80400">
                    <a:moveTo>
                      <a:pt x="29" y="76561"/>
                    </a:moveTo>
                    <a:lnTo>
                      <a:pt x="29" y="57390"/>
                    </a:lnTo>
                    <a:cubicBezTo>
                      <a:pt x="3680" y="59625"/>
                      <a:pt x="7594" y="61389"/>
                      <a:pt x="11684" y="62638"/>
                    </a:cubicBezTo>
                    <a:cubicBezTo>
                      <a:pt x="15237" y="63733"/>
                      <a:pt x="18931" y="64314"/>
                      <a:pt x="22648" y="64358"/>
                    </a:cubicBezTo>
                    <a:cubicBezTo>
                      <a:pt x="26036" y="64511"/>
                      <a:pt x="29424" y="63919"/>
                      <a:pt x="32571" y="62638"/>
                    </a:cubicBezTo>
                    <a:cubicBezTo>
                      <a:pt x="34764" y="61827"/>
                      <a:pt x="36222" y="59735"/>
                      <a:pt x="36211" y="57390"/>
                    </a:cubicBezTo>
                    <a:cubicBezTo>
                      <a:pt x="36244" y="55966"/>
                      <a:pt x="35630" y="54597"/>
                      <a:pt x="34556" y="53655"/>
                    </a:cubicBezTo>
                    <a:cubicBezTo>
                      <a:pt x="33295" y="52549"/>
                      <a:pt x="31869" y="51661"/>
                      <a:pt x="30323" y="51026"/>
                    </a:cubicBezTo>
                    <a:cubicBezTo>
                      <a:pt x="28481" y="50237"/>
                      <a:pt x="26596" y="49558"/>
                      <a:pt x="24666" y="49010"/>
                    </a:cubicBezTo>
                    <a:cubicBezTo>
                      <a:pt x="22615" y="48408"/>
                      <a:pt x="20642" y="47739"/>
                      <a:pt x="18745" y="46984"/>
                    </a:cubicBezTo>
                    <a:cubicBezTo>
                      <a:pt x="15971" y="45954"/>
                      <a:pt x="13274" y="44716"/>
                      <a:pt x="10686" y="43281"/>
                    </a:cubicBezTo>
                    <a:cubicBezTo>
                      <a:pt x="8504" y="42065"/>
                      <a:pt x="6531" y="40510"/>
                      <a:pt x="4842" y="38669"/>
                    </a:cubicBezTo>
                    <a:cubicBezTo>
                      <a:pt x="3252" y="36906"/>
                      <a:pt x="2035" y="34846"/>
                      <a:pt x="1246" y="32612"/>
                    </a:cubicBezTo>
                    <a:cubicBezTo>
                      <a:pt x="369" y="29983"/>
                      <a:pt x="-48" y="27222"/>
                      <a:pt x="7" y="24451"/>
                    </a:cubicBezTo>
                    <a:cubicBezTo>
                      <a:pt x="-92" y="20573"/>
                      <a:pt x="873" y="16727"/>
                      <a:pt x="2814" y="13364"/>
                    </a:cubicBezTo>
                    <a:cubicBezTo>
                      <a:pt x="4678" y="10275"/>
                      <a:pt x="7254" y="7668"/>
                      <a:pt x="10313" y="5762"/>
                    </a:cubicBezTo>
                    <a:cubicBezTo>
                      <a:pt x="13614" y="3703"/>
                      <a:pt x="17243" y="2224"/>
                      <a:pt x="21037" y="1380"/>
                    </a:cubicBezTo>
                    <a:cubicBezTo>
                      <a:pt x="25159" y="449"/>
                      <a:pt x="29369" y="-11"/>
                      <a:pt x="33591" y="0"/>
                    </a:cubicBezTo>
                    <a:cubicBezTo>
                      <a:pt x="37056" y="0"/>
                      <a:pt x="40509" y="263"/>
                      <a:pt x="43930" y="789"/>
                    </a:cubicBezTo>
                    <a:cubicBezTo>
                      <a:pt x="47428" y="1315"/>
                      <a:pt x="50882" y="2071"/>
                      <a:pt x="54270" y="3067"/>
                    </a:cubicBezTo>
                    <a:lnTo>
                      <a:pt x="54270" y="21339"/>
                    </a:lnTo>
                    <a:cubicBezTo>
                      <a:pt x="51254" y="19587"/>
                      <a:pt x="48020" y="18261"/>
                      <a:pt x="44643" y="17407"/>
                    </a:cubicBezTo>
                    <a:cubicBezTo>
                      <a:pt x="41343" y="16552"/>
                      <a:pt x="37955" y="16114"/>
                      <a:pt x="34556" y="16103"/>
                    </a:cubicBezTo>
                    <a:cubicBezTo>
                      <a:pt x="33086" y="16092"/>
                      <a:pt x="31617" y="16235"/>
                      <a:pt x="30170" y="16508"/>
                    </a:cubicBezTo>
                    <a:cubicBezTo>
                      <a:pt x="28909" y="16749"/>
                      <a:pt x="27681" y="17155"/>
                      <a:pt x="26530" y="17713"/>
                    </a:cubicBezTo>
                    <a:cubicBezTo>
                      <a:pt x="25554" y="18174"/>
                      <a:pt x="24699" y="18864"/>
                      <a:pt x="24052" y="19729"/>
                    </a:cubicBezTo>
                    <a:cubicBezTo>
                      <a:pt x="23460" y="20551"/>
                      <a:pt x="23142" y="21536"/>
                      <a:pt x="23153" y="22544"/>
                    </a:cubicBezTo>
                    <a:cubicBezTo>
                      <a:pt x="23131" y="23870"/>
                      <a:pt x="23613" y="25152"/>
                      <a:pt x="24501" y="26137"/>
                    </a:cubicBezTo>
                    <a:cubicBezTo>
                      <a:pt x="25499" y="27211"/>
                      <a:pt x="26705" y="28087"/>
                      <a:pt x="28032" y="28723"/>
                    </a:cubicBezTo>
                    <a:cubicBezTo>
                      <a:pt x="29589" y="29489"/>
                      <a:pt x="31211" y="30136"/>
                      <a:pt x="32867" y="30662"/>
                    </a:cubicBezTo>
                    <a:cubicBezTo>
                      <a:pt x="34632" y="31242"/>
                      <a:pt x="36398" y="31823"/>
                      <a:pt x="38152" y="32425"/>
                    </a:cubicBezTo>
                    <a:cubicBezTo>
                      <a:pt x="41080" y="33422"/>
                      <a:pt x="43930" y="34627"/>
                      <a:pt x="46693" y="36018"/>
                    </a:cubicBezTo>
                    <a:cubicBezTo>
                      <a:pt x="49095" y="37212"/>
                      <a:pt x="51320" y="38746"/>
                      <a:pt x="53272" y="40586"/>
                    </a:cubicBezTo>
                    <a:cubicBezTo>
                      <a:pt x="55092" y="42317"/>
                      <a:pt x="56517" y="44409"/>
                      <a:pt x="57471" y="46732"/>
                    </a:cubicBezTo>
                    <a:cubicBezTo>
                      <a:pt x="59850" y="53315"/>
                      <a:pt x="59302" y="60600"/>
                      <a:pt x="55969" y="66757"/>
                    </a:cubicBezTo>
                    <a:cubicBezTo>
                      <a:pt x="54007" y="69966"/>
                      <a:pt x="51309" y="72661"/>
                      <a:pt x="48097" y="74622"/>
                    </a:cubicBezTo>
                    <a:cubicBezTo>
                      <a:pt x="44610" y="76725"/>
                      <a:pt x="40773" y="78204"/>
                      <a:pt x="36781" y="79004"/>
                    </a:cubicBezTo>
                    <a:cubicBezTo>
                      <a:pt x="32407" y="79946"/>
                      <a:pt x="27955" y="80406"/>
                      <a:pt x="23482" y="80395"/>
                    </a:cubicBezTo>
                    <a:cubicBezTo>
                      <a:pt x="15500" y="80494"/>
                      <a:pt x="7561" y="79190"/>
                      <a:pt x="29" y="765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4" name="Freeform: Shape 63">
                <a:extLst>
                  <a:ext uri="{FF2B5EF4-FFF2-40B4-BE49-F238E27FC236}">
                    <a16:creationId xmlns:a16="http://schemas.microsoft.com/office/drawing/2014/main" id="{AB85AA6A-0FC1-57C4-4513-F93FEF7F34D8}"/>
                  </a:ext>
                </a:extLst>
              </p:cNvPr>
              <p:cNvSpPr/>
              <p:nvPr/>
            </p:nvSpPr>
            <p:spPr>
              <a:xfrm>
                <a:off x="1428862" y="5291352"/>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62 h 101933"/>
                  <a:gd name="connsiteX4" fmla="*/ 0 w 53286"/>
                  <a:gd name="connsiteY4" fmla="*/ 40762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29 h 101933"/>
                  <a:gd name="connsiteX12" fmla="*/ 36051 w 53286"/>
                  <a:gd name="connsiteY12" fmla="*/ 40729 h 101933"/>
                  <a:gd name="connsiteX13" fmla="*/ 36051 w 53286"/>
                  <a:gd name="connsiteY13" fmla="*/ 71741 h 101933"/>
                  <a:gd name="connsiteX14" fmla="*/ 45568 w 53286"/>
                  <a:gd name="connsiteY14" fmla="*/ 83714 h 101933"/>
                  <a:gd name="connsiteX15" fmla="*/ 53243 w 53286"/>
                  <a:gd name="connsiteY15" fmla="*/ 81523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301" y="101241"/>
                      <a:pt x="42890" y="102183"/>
                      <a:pt x="37476" y="101877"/>
                    </a:cubicBezTo>
                    <a:cubicBezTo>
                      <a:pt x="20788" y="101877"/>
                      <a:pt x="12445" y="93212"/>
                      <a:pt x="12445" y="75893"/>
                    </a:cubicBezTo>
                    <a:lnTo>
                      <a:pt x="12445" y="40762"/>
                    </a:lnTo>
                    <a:lnTo>
                      <a:pt x="0" y="40762"/>
                    </a:lnTo>
                    <a:lnTo>
                      <a:pt x="0" y="23322"/>
                    </a:lnTo>
                    <a:lnTo>
                      <a:pt x="12445" y="23322"/>
                    </a:lnTo>
                    <a:lnTo>
                      <a:pt x="12445" y="6737"/>
                    </a:lnTo>
                    <a:lnTo>
                      <a:pt x="36051" y="0"/>
                    </a:lnTo>
                    <a:lnTo>
                      <a:pt x="36051" y="23289"/>
                    </a:lnTo>
                    <a:lnTo>
                      <a:pt x="53287" y="23289"/>
                    </a:lnTo>
                    <a:lnTo>
                      <a:pt x="53287" y="40729"/>
                    </a:lnTo>
                    <a:lnTo>
                      <a:pt x="36051" y="40729"/>
                    </a:lnTo>
                    <a:lnTo>
                      <a:pt x="36051" y="71741"/>
                    </a:lnTo>
                    <a:cubicBezTo>
                      <a:pt x="36051" y="79727"/>
                      <a:pt x="39223" y="83725"/>
                      <a:pt x="45568" y="83714"/>
                    </a:cubicBezTo>
                    <a:cubicBezTo>
                      <a:pt x="48271" y="83637"/>
                      <a:pt x="50910" y="82893"/>
                      <a:pt x="53243" y="8152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5" name="Freeform: Shape 64">
                <a:extLst>
                  <a:ext uri="{FF2B5EF4-FFF2-40B4-BE49-F238E27FC236}">
                    <a16:creationId xmlns:a16="http://schemas.microsoft.com/office/drawing/2014/main" id="{64F6678A-B573-6A77-A2A0-5B35697B1EA6}"/>
                  </a:ext>
                </a:extLst>
              </p:cNvPr>
              <p:cNvSpPr/>
              <p:nvPr/>
            </p:nvSpPr>
            <p:spPr>
              <a:xfrm>
                <a:off x="1490743" y="5312692"/>
                <a:ext cx="83103" cy="80598"/>
              </a:xfrm>
              <a:custGeom>
                <a:avLst/>
                <a:gdLst>
                  <a:gd name="connsiteX0" fmla="*/ 41107 w 83103"/>
                  <a:gd name="connsiteY0" fmla="*/ 80537 h 80598"/>
                  <a:gd name="connsiteX1" fmla="*/ 10977 w 83103"/>
                  <a:gd name="connsiteY1" fmla="*/ 69747 h 80598"/>
                  <a:gd name="connsiteX2" fmla="*/ 11394 w 83103"/>
                  <a:gd name="connsiteY2" fmla="*/ 10812 h 80598"/>
                  <a:gd name="connsiteX3" fmla="*/ 42192 w 83103"/>
                  <a:gd name="connsiteY3" fmla="*/ 65 h 80598"/>
                  <a:gd name="connsiteX4" fmla="*/ 72180 w 83103"/>
                  <a:gd name="connsiteY4" fmla="*/ 10812 h 80598"/>
                  <a:gd name="connsiteX5" fmla="*/ 83046 w 83103"/>
                  <a:gd name="connsiteY5" fmla="*/ 39228 h 80598"/>
                  <a:gd name="connsiteX6" fmla="*/ 71840 w 83103"/>
                  <a:gd name="connsiteY6" fmla="*/ 69407 h 80598"/>
                  <a:gd name="connsiteX7" fmla="*/ 41107 w 83103"/>
                  <a:gd name="connsiteY7" fmla="*/ 80537 h 80598"/>
                  <a:gd name="connsiteX8" fmla="*/ 41677 w 83103"/>
                  <a:gd name="connsiteY8" fmla="*/ 18261 h 80598"/>
                  <a:gd name="connsiteX9" fmla="*/ 28640 w 83103"/>
                  <a:gd name="connsiteY9" fmla="*/ 24023 h 80598"/>
                  <a:gd name="connsiteX10" fmla="*/ 23992 w 83103"/>
                  <a:gd name="connsiteY10" fmla="*/ 40356 h 80598"/>
                  <a:gd name="connsiteX11" fmla="*/ 41831 w 83103"/>
                  <a:gd name="connsiteY11" fmla="*/ 62440 h 80598"/>
                  <a:gd name="connsiteX12" fmla="*/ 58847 w 83103"/>
                  <a:gd name="connsiteY12" fmla="*/ 39753 h 80598"/>
                  <a:gd name="connsiteX13" fmla="*/ 41677 w 83103"/>
                  <a:gd name="connsiteY13" fmla="*/ 18261 h 8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3" h="80598">
                    <a:moveTo>
                      <a:pt x="41107" y="80537"/>
                    </a:moveTo>
                    <a:cubicBezTo>
                      <a:pt x="30020" y="81128"/>
                      <a:pt x="19160" y="77240"/>
                      <a:pt x="10977" y="69747"/>
                    </a:cubicBezTo>
                    <a:cubicBezTo>
                      <a:pt x="-3816" y="52822"/>
                      <a:pt x="-3638" y="27528"/>
                      <a:pt x="11394" y="10812"/>
                    </a:cubicBezTo>
                    <a:cubicBezTo>
                      <a:pt x="19849" y="3330"/>
                      <a:pt x="30912" y="-526"/>
                      <a:pt x="42192" y="65"/>
                    </a:cubicBezTo>
                    <a:cubicBezTo>
                      <a:pt x="53234" y="-559"/>
                      <a:pt x="64057" y="3319"/>
                      <a:pt x="72180" y="10812"/>
                    </a:cubicBezTo>
                    <a:cubicBezTo>
                      <a:pt x="79581" y="18370"/>
                      <a:pt x="83515" y="28657"/>
                      <a:pt x="83046" y="39228"/>
                    </a:cubicBezTo>
                    <a:cubicBezTo>
                      <a:pt x="83640" y="50401"/>
                      <a:pt x="79584" y="61323"/>
                      <a:pt x="71840" y="69407"/>
                    </a:cubicBezTo>
                    <a:cubicBezTo>
                      <a:pt x="63536" y="77141"/>
                      <a:pt x="52440" y="81150"/>
                      <a:pt x="41107" y="80537"/>
                    </a:cubicBezTo>
                    <a:close/>
                    <a:moveTo>
                      <a:pt x="41677" y="18261"/>
                    </a:moveTo>
                    <a:cubicBezTo>
                      <a:pt x="36661" y="17998"/>
                      <a:pt x="31820" y="20134"/>
                      <a:pt x="28640" y="24023"/>
                    </a:cubicBezTo>
                    <a:cubicBezTo>
                      <a:pt x="25263" y="28777"/>
                      <a:pt x="23623" y="34539"/>
                      <a:pt x="23992" y="40356"/>
                    </a:cubicBezTo>
                    <a:cubicBezTo>
                      <a:pt x="23992" y="55079"/>
                      <a:pt x="29938" y="62440"/>
                      <a:pt x="41831" y="62440"/>
                    </a:cubicBezTo>
                    <a:cubicBezTo>
                      <a:pt x="53168" y="62440"/>
                      <a:pt x="58840" y="54881"/>
                      <a:pt x="58847" y="39753"/>
                    </a:cubicBezTo>
                    <a:cubicBezTo>
                      <a:pt x="58869" y="25425"/>
                      <a:pt x="53146" y="18261"/>
                      <a:pt x="41677" y="18261"/>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6" name="Freeform: Shape 65">
                <a:extLst>
                  <a:ext uri="{FF2B5EF4-FFF2-40B4-BE49-F238E27FC236}">
                    <a16:creationId xmlns:a16="http://schemas.microsoft.com/office/drawing/2014/main" id="{479E6B76-3AEC-84F5-0FB6-52BE5C7D5D49}"/>
                  </a:ext>
                </a:extLst>
              </p:cNvPr>
              <p:cNvSpPr/>
              <p:nvPr/>
            </p:nvSpPr>
            <p:spPr>
              <a:xfrm>
                <a:off x="1626810" y="5312704"/>
                <a:ext cx="62817" cy="80602"/>
              </a:xfrm>
              <a:custGeom>
                <a:avLst/>
                <a:gdLst>
                  <a:gd name="connsiteX0" fmla="*/ 62817 w 62817"/>
                  <a:gd name="connsiteY0" fmla="*/ 75881 h 80602"/>
                  <a:gd name="connsiteX1" fmla="*/ 39661 w 62817"/>
                  <a:gd name="connsiteY1" fmla="*/ 80526 h 80602"/>
                  <a:gd name="connsiteX2" fmla="*/ 11022 w 62817"/>
                  <a:gd name="connsiteY2" fmla="*/ 69812 h 80602"/>
                  <a:gd name="connsiteX3" fmla="*/ 57 w 62817"/>
                  <a:gd name="connsiteY3" fmla="*/ 42185 h 80602"/>
                  <a:gd name="connsiteX4" fmla="*/ 11789 w 62817"/>
                  <a:gd name="connsiteY4" fmla="*/ 11370 h 80602"/>
                  <a:gd name="connsiteX5" fmla="*/ 43158 w 62817"/>
                  <a:gd name="connsiteY5" fmla="*/ 98 h 80602"/>
                  <a:gd name="connsiteX6" fmla="*/ 62796 w 62817"/>
                  <a:gd name="connsiteY6" fmla="*/ 3691 h 80602"/>
                  <a:gd name="connsiteX7" fmla="*/ 62796 w 62817"/>
                  <a:gd name="connsiteY7" fmla="*/ 23727 h 80602"/>
                  <a:gd name="connsiteX8" fmla="*/ 46228 w 62817"/>
                  <a:gd name="connsiteY8" fmla="*/ 18184 h 80602"/>
                  <a:gd name="connsiteX9" fmla="*/ 30078 w 62817"/>
                  <a:gd name="connsiteY9" fmla="*/ 24143 h 80602"/>
                  <a:gd name="connsiteX10" fmla="*/ 24124 w 62817"/>
                  <a:gd name="connsiteY10" fmla="*/ 40575 h 80602"/>
                  <a:gd name="connsiteX11" fmla="*/ 29815 w 62817"/>
                  <a:gd name="connsiteY11" fmla="*/ 56568 h 80602"/>
                  <a:gd name="connsiteX12" fmla="*/ 45483 w 62817"/>
                  <a:gd name="connsiteY12" fmla="*/ 62363 h 80602"/>
                  <a:gd name="connsiteX13" fmla="*/ 62796 w 62817"/>
                  <a:gd name="connsiteY13" fmla="*/ 56820 h 8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17" h="80602">
                    <a:moveTo>
                      <a:pt x="62817" y="75881"/>
                    </a:moveTo>
                    <a:cubicBezTo>
                      <a:pt x="55623" y="79386"/>
                      <a:pt x="47650" y="80986"/>
                      <a:pt x="39661" y="80526"/>
                    </a:cubicBezTo>
                    <a:cubicBezTo>
                      <a:pt x="29056" y="80975"/>
                      <a:pt x="18721" y="77108"/>
                      <a:pt x="11022" y="69812"/>
                    </a:cubicBezTo>
                    <a:cubicBezTo>
                      <a:pt x="3664" y="62538"/>
                      <a:pt x="-312" y="52515"/>
                      <a:pt x="57" y="42185"/>
                    </a:cubicBezTo>
                    <a:cubicBezTo>
                      <a:pt x="-551" y="30716"/>
                      <a:pt x="3708" y="19531"/>
                      <a:pt x="11789" y="11370"/>
                    </a:cubicBezTo>
                    <a:cubicBezTo>
                      <a:pt x="20325" y="3592"/>
                      <a:pt x="31616" y="-472"/>
                      <a:pt x="43158" y="98"/>
                    </a:cubicBezTo>
                    <a:cubicBezTo>
                      <a:pt x="49902" y="-373"/>
                      <a:pt x="56657" y="865"/>
                      <a:pt x="62796" y="3691"/>
                    </a:cubicBezTo>
                    <a:lnTo>
                      <a:pt x="62796" y="23727"/>
                    </a:lnTo>
                    <a:cubicBezTo>
                      <a:pt x="58039" y="20101"/>
                      <a:pt x="52213" y="18151"/>
                      <a:pt x="46228" y="18184"/>
                    </a:cubicBezTo>
                    <a:cubicBezTo>
                      <a:pt x="40255" y="17877"/>
                      <a:pt x="34416" y="20024"/>
                      <a:pt x="30078" y="24143"/>
                    </a:cubicBezTo>
                    <a:cubicBezTo>
                      <a:pt x="25929" y="28579"/>
                      <a:pt x="23778" y="34517"/>
                      <a:pt x="24124" y="40575"/>
                    </a:cubicBezTo>
                    <a:cubicBezTo>
                      <a:pt x="23793" y="46457"/>
                      <a:pt x="25843" y="52219"/>
                      <a:pt x="29815" y="56568"/>
                    </a:cubicBezTo>
                    <a:cubicBezTo>
                      <a:pt x="34006" y="60588"/>
                      <a:pt x="39682" y="62692"/>
                      <a:pt x="45483" y="62363"/>
                    </a:cubicBezTo>
                    <a:cubicBezTo>
                      <a:pt x="51677" y="62275"/>
                      <a:pt x="57704" y="60347"/>
                      <a:pt x="62796" y="56820"/>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7" name="Freeform: Shape 66">
                <a:extLst>
                  <a:ext uri="{FF2B5EF4-FFF2-40B4-BE49-F238E27FC236}">
                    <a16:creationId xmlns:a16="http://schemas.microsoft.com/office/drawing/2014/main" id="{54B73D0B-FB64-1C7F-71DC-53E38B343030}"/>
                  </a:ext>
                </a:extLst>
              </p:cNvPr>
              <p:cNvSpPr/>
              <p:nvPr/>
            </p:nvSpPr>
            <p:spPr>
              <a:xfrm>
                <a:off x="1706316" y="5277824"/>
                <a:ext cx="23683" cy="113532"/>
              </a:xfrm>
              <a:custGeom>
                <a:avLst/>
                <a:gdLst>
                  <a:gd name="connsiteX0" fmla="*/ 23683 w 23683"/>
                  <a:gd name="connsiteY0" fmla="*/ 113532 h 113532"/>
                  <a:gd name="connsiteX1" fmla="*/ 0 w 23683"/>
                  <a:gd name="connsiteY1" fmla="*/ 113532 h 113532"/>
                  <a:gd name="connsiteX2" fmla="*/ 0 w 23683"/>
                  <a:gd name="connsiteY2" fmla="*/ 0 h 113532"/>
                  <a:gd name="connsiteX3" fmla="*/ 23683 w 23683"/>
                  <a:gd name="connsiteY3" fmla="*/ 0 h 113532"/>
                </a:gdLst>
                <a:ahLst/>
                <a:cxnLst>
                  <a:cxn ang="0">
                    <a:pos x="connsiteX0" y="connsiteY0"/>
                  </a:cxn>
                  <a:cxn ang="0">
                    <a:pos x="connsiteX1" y="connsiteY1"/>
                  </a:cxn>
                  <a:cxn ang="0">
                    <a:pos x="connsiteX2" y="connsiteY2"/>
                  </a:cxn>
                  <a:cxn ang="0">
                    <a:pos x="connsiteX3" y="connsiteY3"/>
                  </a:cxn>
                </a:cxnLst>
                <a:rect l="l" t="t" r="r" b="b"/>
                <a:pathLst>
                  <a:path w="23683" h="113532">
                    <a:moveTo>
                      <a:pt x="23683" y="113532"/>
                    </a:moveTo>
                    <a:lnTo>
                      <a:pt x="0" y="113532"/>
                    </a:lnTo>
                    <a:lnTo>
                      <a:pt x="0" y="0"/>
                    </a:lnTo>
                    <a:lnTo>
                      <a:pt x="23683" y="0"/>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8" name="Freeform: Shape 67">
                <a:extLst>
                  <a:ext uri="{FF2B5EF4-FFF2-40B4-BE49-F238E27FC236}">
                    <a16:creationId xmlns:a16="http://schemas.microsoft.com/office/drawing/2014/main" id="{107A8D33-DEB8-094A-6BFF-4A9F3F31BEBF}"/>
                  </a:ext>
                </a:extLst>
              </p:cNvPr>
              <p:cNvSpPr/>
              <p:nvPr/>
            </p:nvSpPr>
            <p:spPr>
              <a:xfrm>
                <a:off x="1745238" y="5312734"/>
                <a:ext cx="83103" cy="80558"/>
              </a:xfrm>
              <a:custGeom>
                <a:avLst/>
                <a:gdLst>
                  <a:gd name="connsiteX0" fmla="*/ 41151 w 83103"/>
                  <a:gd name="connsiteY0" fmla="*/ 80495 h 80558"/>
                  <a:gd name="connsiteX1" fmla="*/ 10977 w 83103"/>
                  <a:gd name="connsiteY1" fmla="*/ 69749 h 80558"/>
                  <a:gd name="connsiteX2" fmla="*/ 11394 w 83103"/>
                  <a:gd name="connsiteY2" fmla="*/ 10814 h 80558"/>
                  <a:gd name="connsiteX3" fmla="*/ 42192 w 83103"/>
                  <a:gd name="connsiteY3" fmla="*/ 67 h 80558"/>
                  <a:gd name="connsiteX4" fmla="*/ 72180 w 83103"/>
                  <a:gd name="connsiteY4" fmla="*/ 10814 h 80558"/>
                  <a:gd name="connsiteX5" fmla="*/ 83046 w 83103"/>
                  <a:gd name="connsiteY5" fmla="*/ 39230 h 80558"/>
                  <a:gd name="connsiteX6" fmla="*/ 71840 w 83103"/>
                  <a:gd name="connsiteY6" fmla="*/ 69409 h 80558"/>
                  <a:gd name="connsiteX7" fmla="*/ 41151 w 83103"/>
                  <a:gd name="connsiteY7" fmla="*/ 80495 h 80558"/>
                  <a:gd name="connsiteX8" fmla="*/ 41743 w 83103"/>
                  <a:gd name="connsiteY8" fmla="*/ 18186 h 80558"/>
                  <a:gd name="connsiteX9" fmla="*/ 28706 w 83103"/>
                  <a:gd name="connsiteY9" fmla="*/ 23948 h 80558"/>
                  <a:gd name="connsiteX10" fmla="*/ 24057 w 83103"/>
                  <a:gd name="connsiteY10" fmla="*/ 40281 h 80558"/>
                  <a:gd name="connsiteX11" fmla="*/ 41896 w 83103"/>
                  <a:gd name="connsiteY11" fmla="*/ 62365 h 80558"/>
                  <a:gd name="connsiteX12" fmla="*/ 58913 w 83103"/>
                  <a:gd name="connsiteY12" fmla="*/ 39679 h 80558"/>
                  <a:gd name="connsiteX13" fmla="*/ 41743 w 83103"/>
                  <a:gd name="connsiteY13" fmla="*/ 18219 h 8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3" h="80558">
                    <a:moveTo>
                      <a:pt x="41151" y="80495"/>
                    </a:moveTo>
                    <a:cubicBezTo>
                      <a:pt x="30056" y="81109"/>
                      <a:pt x="19179" y="77242"/>
                      <a:pt x="10977" y="69749"/>
                    </a:cubicBezTo>
                    <a:cubicBezTo>
                      <a:pt x="-3816" y="52824"/>
                      <a:pt x="-3638" y="27530"/>
                      <a:pt x="11394" y="10814"/>
                    </a:cubicBezTo>
                    <a:cubicBezTo>
                      <a:pt x="19851" y="3332"/>
                      <a:pt x="30912" y="-524"/>
                      <a:pt x="42192" y="67"/>
                    </a:cubicBezTo>
                    <a:cubicBezTo>
                      <a:pt x="53234" y="-568"/>
                      <a:pt x="64057" y="3321"/>
                      <a:pt x="72180" y="10814"/>
                    </a:cubicBezTo>
                    <a:cubicBezTo>
                      <a:pt x="79585" y="18372"/>
                      <a:pt x="83521" y="28659"/>
                      <a:pt x="83046" y="39230"/>
                    </a:cubicBezTo>
                    <a:cubicBezTo>
                      <a:pt x="83640" y="50403"/>
                      <a:pt x="79585" y="61325"/>
                      <a:pt x="71840" y="69409"/>
                    </a:cubicBezTo>
                    <a:cubicBezTo>
                      <a:pt x="63541" y="77110"/>
                      <a:pt x="52463" y="81120"/>
                      <a:pt x="41151" y="80495"/>
                    </a:cubicBezTo>
                    <a:close/>
                    <a:moveTo>
                      <a:pt x="41743" y="18186"/>
                    </a:moveTo>
                    <a:cubicBezTo>
                      <a:pt x="36728" y="17923"/>
                      <a:pt x="31888" y="20070"/>
                      <a:pt x="28706" y="23948"/>
                    </a:cubicBezTo>
                    <a:cubicBezTo>
                      <a:pt x="25329" y="28702"/>
                      <a:pt x="23689" y="34464"/>
                      <a:pt x="24057" y="40281"/>
                    </a:cubicBezTo>
                    <a:cubicBezTo>
                      <a:pt x="24057" y="55004"/>
                      <a:pt x="30003" y="62365"/>
                      <a:pt x="41896" y="62365"/>
                    </a:cubicBezTo>
                    <a:cubicBezTo>
                      <a:pt x="53241" y="62365"/>
                      <a:pt x="58913" y="54807"/>
                      <a:pt x="58913" y="39679"/>
                    </a:cubicBezTo>
                    <a:cubicBezTo>
                      <a:pt x="58913" y="25372"/>
                      <a:pt x="53190" y="18219"/>
                      <a:pt x="41743" y="18219"/>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9" name="Freeform: Shape 68">
                <a:extLst>
                  <a:ext uri="{FF2B5EF4-FFF2-40B4-BE49-F238E27FC236}">
                    <a16:creationId xmlns:a16="http://schemas.microsoft.com/office/drawing/2014/main" id="{29166E04-DEDA-F150-3055-C116E9572B5C}"/>
                  </a:ext>
                </a:extLst>
              </p:cNvPr>
              <p:cNvSpPr/>
              <p:nvPr/>
            </p:nvSpPr>
            <p:spPr>
              <a:xfrm>
                <a:off x="1842241" y="5314675"/>
                <a:ext cx="74119" cy="78554"/>
              </a:xfrm>
              <a:custGeom>
                <a:avLst/>
                <a:gdLst>
                  <a:gd name="connsiteX0" fmla="*/ 74119 w 74119"/>
                  <a:gd name="connsiteY0" fmla="*/ 76681 h 78554"/>
                  <a:gd name="connsiteX1" fmla="*/ 50513 w 74119"/>
                  <a:gd name="connsiteY1" fmla="*/ 76681 h 78554"/>
                  <a:gd name="connsiteX2" fmla="*/ 50513 w 74119"/>
                  <a:gd name="connsiteY2" fmla="*/ 64993 h 78554"/>
                  <a:gd name="connsiteX3" fmla="*/ 50140 w 74119"/>
                  <a:gd name="connsiteY3" fmla="*/ 64993 h 78554"/>
                  <a:gd name="connsiteX4" fmla="*/ 26676 w 74119"/>
                  <a:gd name="connsiteY4" fmla="*/ 78554 h 78554"/>
                  <a:gd name="connsiteX5" fmla="*/ 0 w 74119"/>
                  <a:gd name="connsiteY5" fmla="*/ 46272 h 78554"/>
                  <a:gd name="connsiteX6" fmla="*/ 0 w 74119"/>
                  <a:gd name="connsiteY6" fmla="*/ 0 h 78554"/>
                  <a:gd name="connsiteX7" fmla="*/ 23606 w 74119"/>
                  <a:gd name="connsiteY7" fmla="*/ 0 h 78554"/>
                  <a:gd name="connsiteX8" fmla="*/ 23606 w 74119"/>
                  <a:gd name="connsiteY8" fmla="*/ 44179 h 78554"/>
                  <a:gd name="connsiteX9" fmla="*/ 36500 w 74119"/>
                  <a:gd name="connsiteY9" fmla="*/ 60425 h 78554"/>
                  <a:gd name="connsiteX10" fmla="*/ 46686 w 74119"/>
                  <a:gd name="connsiteY10" fmla="*/ 55977 h 78554"/>
                  <a:gd name="connsiteX11" fmla="*/ 50513 w 74119"/>
                  <a:gd name="connsiteY11" fmla="*/ 43927 h 78554"/>
                  <a:gd name="connsiteX12" fmla="*/ 50513 w 74119"/>
                  <a:gd name="connsiteY12" fmla="*/ 44 h 78554"/>
                  <a:gd name="connsiteX13" fmla="*/ 74119 w 74119"/>
                  <a:gd name="connsiteY13" fmla="*/ 44 h 7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54">
                    <a:moveTo>
                      <a:pt x="74119" y="76681"/>
                    </a:moveTo>
                    <a:lnTo>
                      <a:pt x="50513" y="76681"/>
                    </a:lnTo>
                    <a:lnTo>
                      <a:pt x="50513" y="64993"/>
                    </a:lnTo>
                    <a:lnTo>
                      <a:pt x="50140" y="64993"/>
                    </a:lnTo>
                    <a:cubicBezTo>
                      <a:pt x="45353" y="73428"/>
                      <a:pt x="36379" y="78609"/>
                      <a:pt x="26676" y="78554"/>
                    </a:cubicBezTo>
                    <a:cubicBezTo>
                      <a:pt x="8892" y="78554"/>
                      <a:pt x="0" y="67797"/>
                      <a:pt x="0" y="46272"/>
                    </a:cubicBezTo>
                    <a:lnTo>
                      <a:pt x="0" y="0"/>
                    </a:lnTo>
                    <a:lnTo>
                      <a:pt x="23606" y="0"/>
                    </a:lnTo>
                    <a:lnTo>
                      <a:pt x="23606" y="44179"/>
                    </a:lnTo>
                    <a:cubicBezTo>
                      <a:pt x="23606" y="55013"/>
                      <a:pt x="27904" y="60436"/>
                      <a:pt x="36500" y="60425"/>
                    </a:cubicBezTo>
                    <a:cubicBezTo>
                      <a:pt x="40398" y="60578"/>
                      <a:pt x="44153" y="58946"/>
                      <a:pt x="46686" y="55977"/>
                    </a:cubicBezTo>
                    <a:cubicBezTo>
                      <a:pt x="49381" y="52559"/>
                      <a:pt x="50742" y="48276"/>
                      <a:pt x="50513" y="43927"/>
                    </a:cubicBezTo>
                    <a:lnTo>
                      <a:pt x="50513" y="44"/>
                    </a:lnTo>
                    <a:lnTo>
                      <a:pt x="74119" y="44"/>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70" name="Freeform: Shape 69">
                <a:extLst>
                  <a:ext uri="{FF2B5EF4-FFF2-40B4-BE49-F238E27FC236}">
                    <a16:creationId xmlns:a16="http://schemas.microsoft.com/office/drawing/2014/main" id="{CF538A48-5924-3111-0C18-E55A4FA735BD}"/>
                  </a:ext>
                </a:extLst>
              </p:cNvPr>
              <p:cNvSpPr/>
              <p:nvPr/>
            </p:nvSpPr>
            <p:spPr>
              <a:xfrm>
                <a:off x="1931808" y="5277824"/>
                <a:ext cx="79756" cy="115434"/>
              </a:xfrm>
              <a:custGeom>
                <a:avLst/>
                <a:gdLst>
                  <a:gd name="connsiteX0" fmla="*/ 79757 w 79756"/>
                  <a:gd name="connsiteY0" fmla="*/ 113532 h 115434"/>
                  <a:gd name="connsiteX1" fmla="*/ 56073 w 79756"/>
                  <a:gd name="connsiteY1" fmla="*/ 113532 h 115434"/>
                  <a:gd name="connsiteX2" fmla="*/ 56073 w 79756"/>
                  <a:gd name="connsiteY2" fmla="*/ 102972 h 115434"/>
                  <a:gd name="connsiteX3" fmla="*/ 55766 w 79756"/>
                  <a:gd name="connsiteY3" fmla="*/ 102972 h 115434"/>
                  <a:gd name="connsiteX4" fmla="*/ 32007 w 79756"/>
                  <a:gd name="connsiteY4" fmla="*/ 115405 h 115434"/>
                  <a:gd name="connsiteX5" fmla="*/ 8850 w 79756"/>
                  <a:gd name="connsiteY5" fmla="*/ 105251 h 115434"/>
                  <a:gd name="connsiteX6" fmla="*/ 78 w 79756"/>
                  <a:gd name="connsiteY6" fmla="*/ 76911 h 115434"/>
                  <a:gd name="connsiteX7" fmla="*/ 9749 w 79756"/>
                  <a:gd name="connsiteY7" fmla="*/ 46436 h 115434"/>
                  <a:gd name="connsiteX8" fmla="*/ 35088 w 79756"/>
                  <a:gd name="connsiteY8" fmla="*/ 34978 h 115434"/>
                  <a:gd name="connsiteX9" fmla="*/ 55766 w 79756"/>
                  <a:gd name="connsiteY9" fmla="*/ 45614 h 115434"/>
                  <a:gd name="connsiteX10" fmla="*/ 56073 w 79756"/>
                  <a:gd name="connsiteY10" fmla="*/ 45614 h 115434"/>
                  <a:gd name="connsiteX11" fmla="*/ 56073 w 79756"/>
                  <a:gd name="connsiteY11" fmla="*/ 0 h 115434"/>
                  <a:gd name="connsiteX12" fmla="*/ 79757 w 79756"/>
                  <a:gd name="connsiteY12" fmla="*/ 0 h 115434"/>
                  <a:gd name="connsiteX13" fmla="*/ 56523 w 79756"/>
                  <a:gd name="connsiteY13" fmla="*/ 76287 h 115434"/>
                  <a:gd name="connsiteX14" fmla="*/ 56523 w 79756"/>
                  <a:gd name="connsiteY14" fmla="*/ 70525 h 115434"/>
                  <a:gd name="connsiteX15" fmla="*/ 52137 w 79756"/>
                  <a:gd name="connsiteY15" fmla="*/ 58092 h 115434"/>
                  <a:gd name="connsiteX16" fmla="*/ 30447 w 79756"/>
                  <a:gd name="connsiteY16" fmla="*/ 57204 h 115434"/>
                  <a:gd name="connsiteX17" fmla="*/ 28531 w 79756"/>
                  <a:gd name="connsiteY17" fmla="*/ 59329 h 115434"/>
                  <a:gd name="connsiteX18" fmla="*/ 24145 w 79756"/>
                  <a:gd name="connsiteY18" fmla="*/ 76287 h 115434"/>
                  <a:gd name="connsiteX19" fmla="*/ 28410 w 79756"/>
                  <a:gd name="connsiteY19" fmla="*/ 91864 h 115434"/>
                  <a:gd name="connsiteX20" fmla="*/ 49780 w 79756"/>
                  <a:gd name="connsiteY20" fmla="*/ 93825 h 115434"/>
                  <a:gd name="connsiteX21" fmla="*/ 51984 w 79756"/>
                  <a:gd name="connsiteY21" fmla="*/ 91569 h 115434"/>
                  <a:gd name="connsiteX22" fmla="*/ 56545 w 79756"/>
                  <a:gd name="connsiteY22" fmla="*/ 76232 h 11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756" h="115434">
                    <a:moveTo>
                      <a:pt x="79757" y="113532"/>
                    </a:moveTo>
                    <a:lnTo>
                      <a:pt x="56073" y="113532"/>
                    </a:lnTo>
                    <a:lnTo>
                      <a:pt x="56073" y="102972"/>
                    </a:lnTo>
                    <a:lnTo>
                      <a:pt x="55766" y="102972"/>
                    </a:lnTo>
                    <a:cubicBezTo>
                      <a:pt x="50679" y="111100"/>
                      <a:pt x="41590" y="115854"/>
                      <a:pt x="32007" y="115405"/>
                    </a:cubicBezTo>
                    <a:cubicBezTo>
                      <a:pt x="23142" y="115723"/>
                      <a:pt x="14614" y="111987"/>
                      <a:pt x="8850" y="105251"/>
                    </a:cubicBezTo>
                    <a:cubicBezTo>
                      <a:pt x="2574" y="97188"/>
                      <a:pt x="-546" y="87110"/>
                      <a:pt x="78" y="76911"/>
                    </a:cubicBezTo>
                    <a:cubicBezTo>
                      <a:pt x="-476" y="65924"/>
                      <a:pt x="2958" y="55101"/>
                      <a:pt x="9749" y="46436"/>
                    </a:cubicBezTo>
                    <a:cubicBezTo>
                      <a:pt x="15961" y="38899"/>
                      <a:pt x="25321" y="34671"/>
                      <a:pt x="35088" y="34978"/>
                    </a:cubicBezTo>
                    <a:cubicBezTo>
                      <a:pt x="43464" y="34178"/>
                      <a:pt x="51545" y="38341"/>
                      <a:pt x="55766" y="45614"/>
                    </a:cubicBezTo>
                    <a:lnTo>
                      <a:pt x="56073" y="45614"/>
                    </a:lnTo>
                    <a:lnTo>
                      <a:pt x="56073" y="0"/>
                    </a:lnTo>
                    <a:lnTo>
                      <a:pt x="79757" y="0"/>
                    </a:lnTo>
                    <a:close/>
                    <a:moveTo>
                      <a:pt x="56523" y="76287"/>
                    </a:moveTo>
                    <a:lnTo>
                      <a:pt x="56523" y="70525"/>
                    </a:lnTo>
                    <a:cubicBezTo>
                      <a:pt x="56666" y="65979"/>
                      <a:pt x="55109" y="61542"/>
                      <a:pt x="52137" y="58092"/>
                    </a:cubicBezTo>
                    <a:cubicBezTo>
                      <a:pt x="46392" y="51859"/>
                      <a:pt x="36682" y="51464"/>
                      <a:pt x="30447" y="57204"/>
                    </a:cubicBezTo>
                    <a:cubicBezTo>
                      <a:pt x="29744" y="57851"/>
                      <a:pt x="29102" y="58563"/>
                      <a:pt x="28531" y="59329"/>
                    </a:cubicBezTo>
                    <a:cubicBezTo>
                      <a:pt x="25335" y="64390"/>
                      <a:pt x="23802" y="70317"/>
                      <a:pt x="24145" y="76287"/>
                    </a:cubicBezTo>
                    <a:cubicBezTo>
                      <a:pt x="23786" y="81808"/>
                      <a:pt x="25288" y="87296"/>
                      <a:pt x="28410" y="91864"/>
                    </a:cubicBezTo>
                    <a:cubicBezTo>
                      <a:pt x="33770" y="98305"/>
                      <a:pt x="43333" y="99182"/>
                      <a:pt x="49780" y="93825"/>
                    </a:cubicBezTo>
                    <a:cubicBezTo>
                      <a:pt x="50591" y="93157"/>
                      <a:pt x="51326" y="92390"/>
                      <a:pt x="51984" y="91569"/>
                    </a:cubicBezTo>
                    <a:cubicBezTo>
                      <a:pt x="55207" y="87132"/>
                      <a:pt x="56819" y="81710"/>
                      <a:pt x="56545" y="762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71" name="Freeform: Shape 70">
                <a:extLst>
                  <a:ext uri="{FF2B5EF4-FFF2-40B4-BE49-F238E27FC236}">
                    <a16:creationId xmlns:a16="http://schemas.microsoft.com/office/drawing/2014/main" id="{C993B03C-EE21-351C-6232-B88A90C46B23}"/>
                  </a:ext>
                </a:extLst>
              </p:cNvPr>
              <p:cNvSpPr/>
              <p:nvPr/>
            </p:nvSpPr>
            <p:spPr>
              <a:xfrm>
                <a:off x="2073875" y="5312794"/>
                <a:ext cx="79886" cy="113825"/>
              </a:xfrm>
              <a:custGeom>
                <a:avLst/>
                <a:gdLst>
                  <a:gd name="connsiteX0" fmla="*/ 23979 w 79886"/>
                  <a:gd name="connsiteY0" fmla="*/ 69645 h 113825"/>
                  <a:gd name="connsiteX1" fmla="*/ 23683 w 79886"/>
                  <a:gd name="connsiteY1" fmla="*/ 69645 h 113825"/>
                  <a:gd name="connsiteX2" fmla="*/ 23683 w 79886"/>
                  <a:gd name="connsiteY2" fmla="*/ 113825 h 113825"/>
                  <a:gd name="connsiteX3" fmla="*/ 0 w 79886"/>
                  <a:gd name="connsiteY3" fmla="*/ 113825 h 113825"/>
                  <a:gd name="connsiteX4" fmla="*/ 0 w 79886"/>
                  <a:gd name="connsiteY4" fmla="*/ 1881 h 113825"/>
                  <a:gd name="connsiteX5" fmla="*/ 23683 w 79886"/>
                  <a:gd name="connsiteY5" fmla="*/ 1881 h 113825"/>
                  <a:gd name="connsiteX6" fmla="*/ 23683 w 79886"/>
                  <a:gd name="connsiteY6" fmla="*/ 13405 h 113825"/>
                  <a:gd name="connsiteX7" fmla="*/ 23979 w 79886"/>
                  <a:gd name="connsiteY7" fmla="*/ 13405 h 113825"/>
                  <a:gd name="connsiteX8" fmla="*/ 65775 w 79886"/>
                  <a:gd name="connsiteY8" fmla="*/ 5069 h 113825"/>
                  <a:gd name="connsiteX9" fmla="*/ 71685 w 79886"/>
                  <a:gd name="connsiteY9" fmla="*/ 10229 h 113825"/>
                  <a:gd name="connsiteX10" fmla="*/ 79821 w 79886"/>
                  <a:gd name="connsiteY10" fmla="*/ 38042 h 113825"/>
                  <a:gd name="connsiteX11" fmla="*/ 70337 w 79886"/>
                  <a:gd name="connsiteY11" fmla="*/ 68824 h 113825"/>
                  <a:gd name="connsiteX12" fmla="*/ 45119 w 79886"/>
                  <a:gd name="connsiteY12" fmla="*/ 80436 h 113825"/>
                  <a:gd name="connsiteX13" fmla="*/ 23979 w 79886"/>
                  <a:gd name="connsiteY13" fmla="*/ 69645 h 113825"/>
                  <a:gd name="connsiteX14" fmla="*/ 23299 w 79886"/>
                  <a:gd name="connsiteY14" fmla="*/ 38195 h 113825"/>
                  <a:gd name="connsiteX15" fmla="*/ 23299 w 79886"/>
                  <a:gd name="connsiteY15" fmla="*/ 44341 h 113825"/>
                  <a:gd name="connsiteX16" fmla="*/ 27499 w 79886"/>
                  <a:gd name="connsiteY16" fmla="*/ 57289 h 113825"/>
                  <a:gd name="connsiteX17" fmla="*/ 38518 w 79886"/>
                  <a:gd name="connsiteY17" fmla="*/ 62306 h 113825"/>
                  <a:gd name="connsiteX18" fmla="*/ 51072 w 79886"/>
                  <a:gd name="connsiteY18" fmla="*/ 56062 h 113825"/>
                  <a:gd name="connsiteX19" fmla="*/ 55535 w 79886"/>
                  <a:gd name="connsiteY19" fmla="*/ 38349 h 113825"/>
                  <a:gd name="connsiteX20" fmla="*/ 39790 w 79886"/>
                  <a:gd name="connsiteY20" fmla="*/ 18127 h 113825"/>
                  <a:gd name="connsiteX21" fmla="*/ 27915 w 79886"/>
                  <a:gd name="connsiteY21" fmla="*/ 23604 h 113825"/>
                  <a:gd name="connsiteX22" fmla="*/ 23299 w 79886"/>
                  <a:gd name="connsiteY22" fmla="*/ 38195 h 11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86" h="113825">
                    <a:moveTo>
                      <a:pt x="23979" y="69645"/>
                    </a:moveTo>
                    <a:lnTo>
                      <a:pt x="23683" y="69645"/>
                    </a:lnTo>
                    <a:lnTo>
                      <a:pt x="23683" y="113825"/>
                    </a:lnTo>
                    <a:lnTo>
                      <a:pt x="0" y="113825"/>
                    </a:lnTo>
                    <a:lnTo>
                      <a:pt x="0" y="1881"/>
                    </a:lnTo>
                    <a:lnTo>
                      <a:pt x="23683" y="1881"/>
                    </a:lnTo>
                    <a:lnTo>
                      <a:pt x="23683" y="13405"/>
                    </a:lnTo>
                    <a:lnTo>
                      <a:pt x="23979" y="13405"/>
                    </a:lnTo>
                    <a:cubicBezTo>
                      <a:pt x="33222" y="-430"/>
                      <a:pt x="51927" y="-4166"/>
                      <a:pt x="65775" y="5069"/>
                    </a:cubicBezTo>
                    <a:cubicBezTo>
                      <a:pt x="67968" y="6526"/>
                      <a:pt x="69953" y="8257"/>
                      <a:pt x="71685" y="10229"/>
                    </a:cubicBezTo>
                    <a:cubicBezTo>
                      <a:pt x="77496" y="18302"/>
                      <a:pt x="80369" y="28117"/>
                      <a:pt x="79821" y="38042"/>
                    </a:cubicBezTo>
                    <a:cubicBezTo>
                      <a:pt x="80380" y="49095"/>
                      <a:pt x="77025" y="59995"/>
                      <a:pt x="70337" y="68824"/>
                    </a:cubicBezTo>
                    <a:cubicBezTo>
                      <a:pt x="64240" y="76459"/>
                      <a:pt x="54888" y="80764"/>
                      <a:pt x="45119" y="80436"/>
                    </a:cubicBezTo>
                    <a:cubicBezTo>
                      <a:pt x="36654" y="80841"/>
                      <a:pt x="28617" y="76733"/>
                      <a:pt x="23979" y="69645"/>
                    </a:cubicBezTo>
                    <a:close/>
                    <a:moveTo>
                      <a:pt x="23299" y="38195"/>
                    </a:moveTo>
                    <a:lnTo>
                      <a:pt x="23299" y="44341"/>
                    </a:lnTo>
                    <a:cubicBezTo>
                      <a:pt x="23102" y="49018"/>
                      <a:pt x="24593" y="53619"/>
                      <a:pt x="27499" y="57289"/>
                    </a:cubicBezTo>
                    <a:cubicBezTo>
                      <a:pt x="30196" y="60586"/>
                      <a:pt x="34264" y="62438"/>
                      <a:pt x="38518" y="62306"/>
                    </a:cubicBezTo>
                    <a:cubicBezTo>
                      <a:pt x="43496" y="62514"/>
                      <a:pt x="48232" y="60159"/>
                      <a:pt x="51072" y="56062"/>
                    </a:cubicBezTo>
                    <a:cubicBezTo>
                      <a:pt x="54350" y="50760"/>
                      <a:pt x="55908" y="44571"/>
                      <a:pt x="55535" y="38349"/>
                    </a:cubicBezTo>
                    <a:cubicBezTo>
                      <a:pt x="55535" y="24864"/>
                      <a:pt x="50283" y="18127"/>
                      <a:pt x="39790" y="18127"/>
                    </a:cubicBezTo>
                    <a:cubicBezTo>
                      <a:pt x="35196" y="18006"/>
                      <a:pt x="30810" y="20033"/>
                      <a:pt x="27915" y="23604"/>
                    </a:cubicBezTo>
                    <a:cubicBezTo>
                      <a:pt x="24670" y="27756"/>
                      <a:pt x="23036" y="32937"/>
                      <a:pt x="23299" y="38195"/>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72" name="Freeform: Shape 71">
                <a:extLst>
                  <a:ext uri="{FF2B5EF4-FFF2-40B4-BE49-F238E27FC236}">
                    <a16:creationId xmlns:a16="http://schemas.microsoft.com/office/drawing/2014/main" id="{DD7EDE8B-5744-FCE4-3667-B709CF248550}"/>
                  </a:ext>
                </a:extLst>
              </p:cNvPr>
              <p:cNvSpPr/>
              <p:nvPr/>
            </p:nvSpPr>
            <p:spPr>
              <a:xfrm>
                <a:off x="2169199" y="5313324"/>
                <a:ext cx="50096" cy="78032"/>
              </a:xfrm>
              <a:custGeom>
                <a:avLst/>
                <a:gdLst>
                  <a:gd name="connsiteX0" fmla="*/ 50096 w 50096"/>
                  <a:gd name="connsiteY0" fmla="*/ 22690 h 78032"/>
                  <a:gd name="connsiteX1" fmla="*/ 40130 w 50096"/>
                  <a:gd name="connsiteY1" fmla="*/ 20368 h 78032"/>
                  <a:gd name="connsiteX2" fmla="*/ 28069 w 50096"/>
                  <a:gd name="connsiteY2" fmla="*/ 26020 h 78032"/>
                  <a:gd name="connsiteX3" fmla="*/ 23683 w 50096"/>
                  <a:gd name="connsiteY3" fmla="*/ 41411 h 78032"/>
                  <a:gd name="connsiteX4" fmla="*/ 23683 w 50096"/>
                  <a:gd name="connsiteY4" fmla="*/ 78032 h 78032"/>
                  <a:gd name="connsiteX5" fmla="*/ 0 w 50096"/>
                  <a:gd name="connsiteY5" fmla="*/ 78032 h 78032"/>
                  <a:gd name="connsiteX6" fmla="*/ 0 w 50096"/>
                  <a:gd name="connsiteY6" fmla="*/ 1351 h 78032"/>
                  <a:gd name="connsiteX7" fmla="*/ 23683 w 50096"/>
                  <a:gd name="connsiteY7" fmla="*/ 1351 h 78032"/>
                  <a:gd name="connsiteX8" fmla="*/ 23683 w 50096"/>
                  <a:gd name="connsiteY8" fmla="*/ 15592 h 78032"/>
                  <a:gd name="connsiteX9" fmla="*/ 23979 w 50096"/>
                  <a:gd name="connsiteY9" fmla="*/ 15592 h 78032"/>
                  <a:gd name="connsiteX10" fmla="*/ 44219 w 50096"/>
                  <a:gd name="connsiteY10" fmla="*/ 15 h 78032"/>
                  <a:gd name="connsiteX11" fmla="*/ 50063 w 50096"/>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96" h="78032">
                    <a:moveTo>
                      <a:pt x="50096" y="22690"/>
                    </a:moveTo>
                    <a:cubicBezTo>
                      <a:pt x="47026" y="21091"/>
                      <a:pt x="43594" y="20291"/>
                      <a:pt x="40130" y="20368"/>
                    </a:cubicBezTo>
                    <a:cubicBezTo>
                      <a:pt x="35426" y="20171"/>
                      <a:pt x="30920" y="22274"/>
                      <a:pt x="28069" y="26020"/>
                    </a:cubicBezTo>
                    <a:cubicBezTo>
                      <a:pt x="24933" y="30523"/>
                      <a:pt x="23398" y="35934"/>
                      <a:pt x="23683" y="41411"/>
                    </a:cubicBezTo>
                    <a:lnTo>
                      <a:pt x="23683" y="78032"/>
                    </a:lnTo>
                    <a:lnTo>
                      <a:pt x="0" y="78032"/>
                    </a:lnTo>
                    <a:lnTo>
                      <a:pt x="0" y="1351"/>
                    </a:lnTo>
                    <a:lnTo>
                      <a:pt x="23683" y="1351"/>
                    </a:lnTo>
                    <a:lnTo>
                      <a:pt x="23683" y="15592"/>
                    </a:lnTo>
                    <a:lnTo>
                      <a:pt x="23979" y="15592"/>
                    </a:lnTo>
                    <a:cubicBezTo>
                      <a:pt x="26260" y="6313"/>
                      <a:pt x="34658" y="-150"/>
                      <a:pt x="44219" y="15"/>
                    </a:cubicBezTo>
                    <a:cubicBezTo>
                      <a:pt x="46204" y="-73"/>
                      <a:pt x="48189" y="234"/>
                      <a:pt x="50063" y="91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73" name="Freeform: Shape 72">
                <a:extLst>
                  <a:ext uri="{FF2B5EF4-FFF2-40B4-BE49-F238E27FC236}">
                    <a16:creationId xmlns:a16="http://schemas.microsoft.com/office/drawing/2014/main" id="{0C4C45BC-2C99-2B9A-D811-5578249050B8}"/>
                  </a:ext>
                </a:extLst>
              </p:cNvPr>
              <p:cNvSpPr/>
              <p:nvPr/>
            </p:nvSpPr>
            <p:spPr>
              <a:xfrm>
                <a:off x="2226685" y="5312736"/>
                <a:ext cx="83102" cy="80556"/>
              </a:xfrm>
              <a:custGeom>
                <a:avLst/>
                <a:gdLst>
                  <a:gd name="connsiteX0" fmla="*/ 41139 w 83102"/>
                  <a:gd name="connsiteY0" fmla="*/ 80493 h 80556"/>
                  <a:gd name="connsiteX1" fmla="*/ 10976 w 83102"/>
                  <a:gd name="connsiteY1" fmla="*/ 69747 h 80556"/>
                  <a:gd name="connsiteX2" fmla="*/ 11393 w 83102"/>
                  <a:gd name="connsiteY2" fmla="*/ 10812 h 80556"/>
                  <a:gd name="connsiteX3" fmla="*/ 42192 w 83102"/>
                  <a:gd name="connsiteY3" fmla="*/ 65 h 80556"/>
                  <a:gd name="connsiteX4" fmla="*/ 72180 w 83102"/>
                  <a:gd name="connsiteY4" fmla="*/ 10812 h 80556"/>
                  <a:gd name="connsiteX5" fmla="*/ 83045 w 83102"/>
                  <a:gd name="connsiteY5" fmla="*/ 39228 h 80556"/>
                  <a:gd name="connsiteX6" fmla="*/ 71840 w 83102"/>
                  <a:gd name="connsiteY6" fmla="*/ 69407 h 80556"/>
                  <a:gd name="connsiteX7" fmla="*/ 41139 w 83102"/>
                  <a:gd name="connsiteY7" fmla="*/ 80493 h 80556"/>
                  <a:gd name="connsiteX8" fmla="*/ 41743 w 83102"/>
                  <a:gd name="connsiteY8" fmla="*/ 18184 h 80556"/>
                  <a:gd name="connsiteX9" fmla="*/ 28706 w 83102"/>
                  <a:gd name="connsiteY9" fmla="*/ 23946 h 80556"/>
                  <a:gd name="connsiteX10" fmla="*/ 24057 w 83102"/>
                  <a:gd name="connsiteY10" fmla="*/ 40279 h 80556"/>
                  <a:gd name="connsiteX11" fmla="*/ 41896 w 83102"/>
                  <a:gd name="connsiteY11" fmla="*/ 62363 h 80556"/>
                  <a:gd name="connsiteX12" fmla="*/ 58913 w 83102"/>
                  <a:gd name="connsiteY12" fmla="*/ 39677 h 80556"/>
                  <a:gd name="connsiteX13" fmla="*/ 41743 w 83102"/>
                  <a:gd name="connsiteY13" fmla="*/ 18217 h 8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2" h="80556">
                    <a:moveTo>
                      <a:pt x="41139" y="80493"/>
                    </a:moveTo>
                    <a:cubicBezTo>
                      <a:pt x="30044" y="81107"/>
                      <a:pt x="19178" y="77240"/>
                      <a:pt x="10976" y="69747"/>
                    </a:cubicBezTo>
                    <a:cubicBezTo>
                      <a:pt x="-3815" y="52822"/>
                      <a:pt x="-3639" y="27528"/>
                      <a:pt x="11393" y="10812"/>
                    </a:cubicBezTo>
                    <a:cubicBezTo>
                      <a:pt x="19847" y="3330"/>
                      <a:pt x="30910" y="-526"/>
                      <a:pt x="42192" y="65"/>
                    </a:cubicBezTo>
                    <a:cubicBezTo>
                      <a:pt x="53233" y="-559"/>
                      <a:pt x="64055" y="3319"/>
                      <a:pt x="72180" y="10812"/>
                    </a:cubicBezTo>
                    <a:cubicBezTo>
                      <a:pt x="79581" y="18370"/>
                      <a:pt x="83517" y="28657"/>
                      <a:pt x="83045" y="39228"/>
                    </a:cubicBezTo>
                    <a:cubicBezTo>
                      <a:pt x="83638" y="50401"/>
                      <a:pt x="79581" y="61323"/>
                      <a:pt x="71840" y="69407"/>
                    </a:cubicBezTo>
                    <a:cubicBezTo>
                      <a:pt x="63540" y="77119"/>
                      <a:pt x="52455" y="81118"/>
                      <a:pt x="41139" y="80493"/>
                    </a:cubicBezTo>
                    <a:close/>
                    <a:moveTo>
                      <a:pt x="41743" y="18184"/>
                    </a:moveTo>
                    <a:cubicBezTo>
                      <a:pt x="36732" y="17921"/>
                      <a:pt x="31886" y="20057"/>
                      <a:pt x="28706" y="23946"/>
                    </a:cubicBezTo>
                    <a:cubicBezTo>
                      <a:pt x="25329" y="28700"/>
                      <a:pt x="23684" y="34462"/>
                      <a:pt x="24057" y="40279"/>
                    </a:cubicBezTo>
                    <a:cubicBezTo>
                      <a:pt x="24057" y="55002"/>
                      <a:pt x="30000" y="62363"/>
                      <a:pt x="41896" y="62363"/>
                    </a:cubicBezTo>
                    <a:cubicBezTo>
                      <a:pt x="53233" y="62363"/>
                      <a:pt x="58902" y="54805"/>
                      <a:pt x="58913" y="39677"/>
                    </a:cubicBezTo>
                    <a:cubicBezTo>
                      <a:pt x="58913" y="25370"/>
                      <a:pt x="53189" y="18217"/>
                      <a:pt x="41743" y="18217"/>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74" name="Freeform: Shape 73">
                <a:extLst>
                  <a:ext uri="{FF2B5EF4-FFF2-40B4-BE49-F238E27FC236}">
                    <a16:creationId xmlns:a16="http://schemas.microsoft.com/office/drawing/2014/main" id="{0B38854C-9FA7-ECA0-C274-532FE8E640B7}"/>
                  </a:ext>
                </a:extLst>
              </p:cNvPr>
              <p:cNvSpPr/>
              <p:nvPr/>
            </p:nvSpPr>
            <p:spPr>
              <a:xfrm>
                <a:off x="2313282" y="5314675"/>
                <a:ext cx="82704" cy="76681"/>
              </a:xfrm>
              <a:custGeom>
                <a:avLst/>
                <a:gdLst>
                  <a:gd name="connsiteX0" fmla="*/ 82704 w 82704"/>
                  <a:gd name="connsiteY0" fmla="*/ 0 h 76681"/>
                  <a:gd name="connsiteX1" fmla="*/ 54197 w 82704"/>
                  <a:gd name="connsiteY1" fmla="*/ 76681 h 76681"/>
                  <a:gd name="connsiteX2" fmla="*/ 27214 w 82704"/>
                  <a:gd name="connsiteY2" fmla="*/ 76681 h 76681"/>
                  <a:gd name="connsiteX3" fmla="*/ 0 w 82704"/>
                  <a:gd name="connsiteY3" fmla="*/ 0 h 76681"/>
                  <a:gd name="connsiteX4" fmla="*/ 25339 w 82704"/>
                  <a:gd name="connsiteY4" fmla="*/ 0 h 76681"/>
                  <a:gd name="connsiteX5" fmla="*/ 38671 w 82704"/>
                  <a:gd name="connsiteY5" fmla="*/ 47247 h 76681"/>
                  <a:gd name="connsiteX6" fmla="*/ 41303 w 82704"/>
                  <a:gd name="connsiteY6" fmla="*/ 60874 h 76681"/>
                  <a:gd name="connsiteX7" fmla="*/ 41599 w 82704"/>
                  <a:gd name="connsiteY7" fmla="*/ 60874 h 76681"/>
                  <a:gd name="connsiteX8" fmla="*/ 44373 w 82704"/>
                  <a:gd name="connsiteY8" fmla="*/ 47729 h 76681"/>
                  <a:gd name="connsiteX9" fmla="*/ 58013 w 82704"/>
                  <a:gd name="connsiteY9" fmla="*/ 33 h 7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704" h="76681">
                    <a:moveTo>
                      <a:pt x="82704" y="0"/>
                    </a:moveTo>
                    <a:lnTo>
                      <a:pt x="54197" y="76681"/>
                    </a:lnTo>
                    <a:lnTo>
                      <a:pt x="27214" y="76681"/>
                    </a:lnTo>
                    <a:lnTo>
                      <a:pt x="0" y="0"/>
                    </a:lnTo>
                    <a:lnTo>
                      <a:pt x="25339" y="0"/>
                    </a:lnTo>
                    <a:lnTo>
                      <a:pt x="38671" y="47247"/>
                    </a:lnTo>
                    <a:cubicBezTo>
                      <a:pt x="39998" y="51694"/>
                      <a:pt x="40886" y="56251"/>
                      <a:pt x="41303" y="60874"/>
                    </a:cubicBezTo>
                    <a:lnTo>
                      <a:pt x="41599" y="60874"/>
                    </a:lnTo>
                    <a:cubicBezTo>
                      <a:pt x="42136" y="56415"/>
                      <a:pt x="43068" y="52023"/>
                      <a:pt x="44373" y="47729"/>
                    </a:cubicBezTo>
                    <a:lnTo>
                      <a:pt x="58013" y="33"/>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75" name="Freeform: Shape 74">
                <a:extLst>
                  <a:ext uri="{FF2B5EF4-FFF2-40B4-BE49-F238E27FC236}">
                    <a16:creationId xmlns:a16="http://schemas.microsoft.com/office/drawing/2014/main" id="{03EA2F62-5AA3-00CF-B9E5-92508A561B45}"/>
                  </a:ext>
                </a:extLst>
              </p:cNvPr>
              <p:cNvSpPr/>
              <p:nvPr/>
            </p:nvSpPr>
            <p:spPr>
              <a:xfrm>
                <a:off x="2404775" y="5278177"/>
                <a:ext cx="27289" cy="113179"/>
              </a:xfrm>
              <a:custGeom>
                <a:avLst/>
                <a:gdLst>
                  <a:gd name="connsiteX0" fmla="*/ 13645 w 27289"/>
                  <a:gd name="connsiteY0" fmla="*/ 24360 h 113179"/>
                  <a:gd name="connsiteX1" fmla="*/ 3831 w 27289"/>
                  <a:gd name="connsiteY1" fmla="*/ 20811 h 113179"/>
                  <a:gd name="connsiteX2" fmla="*/ 5 w 27289"/>
                  <a:gd name="connsiteY2" fmla="*/ 12047 h 113179"/>
                  <a:gd name="connsiteX3" fmla="*/ 3831 w 27289"/>
                  <a:gd name="connsiteY3" fmla="*/ 3360 h 113179"/>
                  <a:gd name="connsiteX4" fmla="*/ 23502 w 27289"/>
                  <a:gd name="connsiteY4" fmla="*/ 3360 h 113179"/>
                  <a:gd name="connsiteX5" fmla="*/ 27284 w 27289"/>
                  <a:gd name="connsiteY5" fmla="*/ 12047 h 113179"/>
                  <a:gd name="connsiteX6" fmla="*/ 23502 w 27289"/>
                  <a:gd name="connsiteY6" fmla="*/ 20887 h 113179"/>
                  <a:gd name="connsiteX7" fmla="*/ 13645 w 27289"/>
                  <a:gd name="connsiteY7" fmla="*/ 24360 h 113179"/>
                  <a:gd name="connsiteX8" fmla="*/ 25344 w 27289"/>
                  <a:gd name="connsiteY8" fmla="*/ 113179 h 113179"/>
                  <a:gd name="connsiteX9" fmla="*/ 1661 w 27289"/>
                  <a:gd name="connsiteY9" fmla="*/ 113179 h 113179"/>
                  <a:gd name="connsiteX10" fmla="*/ 1661 w 27289"/>
                  <a:gd name="connsiteY10" fmla="*/ 36498 h 113179"/>
                  <a:gd name="connsiteX11" fmla="*/ 25344 w 27289"/>
                  <a:gd name="connsiteY11" fmla="*/ 36498 h 11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79">
                    <a:moveTo>
                      <a:pt x="13645" y="24360"/>
                    </a:moveTo>
                    <a:cubicBezTo>
                      <a:pt x="10037" y="24503"/>
                      <a:pt x="6518" y="23232"/>
                      <a:pt x="3831" y="20811"/>
                    </a:cubicBezTo>
                    <a:cubicBezTo>
                      <a:pt x="1343" y="18587"/>
                      <a:pt x="-61" y="15389"/>
                      <a:pt x="5" y="12047"/>
                    </a:cubicBezTo>
                    <a:cubicBezTo>
                      <a:pt x="-94" y="8728"/>
                      <a:pt x="1310" y="5529"/>
                      <a:pt x="3831" y="3360"/>
                    </a:cubicBezTo>
                    <a:cubicBezTo>
                      <a:pt x="9621" y="-1120"/>
                      <a:pt x="17712" y="-1120"/>
                      <a:pt x="23502" y="3360"/>
                    </a:cubicBezTo>
                    <a:cubicBezTo>
                      <a:pt x="26001" y="5551"/>
                      <a:pt x="27383" y="8728"/>
                      <a:pt x="27284" y="12047"/>
                    </a:cubicBezTo>
                    <a:cubicBezTo>
                      <a:pt x="27383" y="15410"/>
                      <a:pt x="26001" y="18642"/>
                      <a:pt x="23502" y="20887"/>
                    </a:cubicBezTo>
                    <a:cubicBezTo>
                      <a:pt x="20782" y="23265"/>
                      <a:pt x="17252" y="24503"/>
                      <a:pt x="13645" y="24360"/>
                    </a:cubicBezTo>
                    <a:close/>
                    <a:moveTo>
                      <a:pt x="25344" y="113179"/>
                    </a:moveTo>
                    <a:lnTo>
                      <a:pt x="1661" y="113179"/>
                    </a:lnTo>
                    <a:lnTo>
                      <a:pt x="1661" y="36498"/>
                    </a:lnTo>
                    <a:lnTo>
                      <a:pt x="25344" y="36498"/>
                    </a:ln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76" name="Freeform: Shape 75">
                <a:extLst>
                  <a:ext uri="{FF2B5EF4-FFF2-40B4-BE49-F238E27FC236}">
                    <a16:creationId xmlns:a16="http://schemas.microsoft.com/office/drawing/2014/main" id="{035FB70D-6C7F-453C-C631-22F6C06FE549}"/>
                  </a:ext>
                </a:extLst>
              </p:cNvPr>
              <p:cNvSpPr/>
              <p:nvPr/>
            </p:nvSpPr>
            <p:spPr>
              <a:xfrm>
                <a:off x="2445215" y="5277824"/>
                <a:ext cx="79756" cy="115434"/>
              </a:xfrm>
              <a:custGeom>
                <a:avLst/>
                <a:gdLst>
                  <a:gd name="connsiteX0" fmla="*/ 79757 w 79756"/>
                  <a:gd name="connsiteY0" fmla="*/ 113532 h 115434"/>
                  <a:gd name="connsiteX1" fmla="*/ 56063 w 79756"/>
                  <a:gd name="connsiteY1" fmla="*/ 113532 h 115434"/>
                  <a:gd name="connsiteX2" fmla="*/ 56063 w 79756"/>
                  <a:gd name="connsiteY2" fmla="*/ 102972 h 115434"/>
                  <a:gd name="connsiteX3" fmla="*/ 55767 w 79756"/>
                  <a:gd name="connsiteY3" fmla="*/ 102972 h 115434"/>
                  <a:gd name="connsiteX4" fmla="*/ 32007 w 79756"/>
                  <a:gd name="connsiteY4" fmla="*/ 115405 h 115434"/>
                  <a:gd name="connsiteX5" fmla="*/ 8850 w 79756"/>
                  <a:gd name="connsiteY5" fmla="*/ 105251 h 115434"/>
                  <a:gd name="connsiteX6" fmla="*/ 78 w 79756"/>
                  <a:gd name="connsiteY6" fmla="*/ 76911 h 115434"/>
                  <a:gd name="connsiteX7" fmla="*/ 9749 w 79756"/>
                  <a:gd name="connsiteY7" fmla="*/ 46436 h 115434"/>
                  <a:gd name="connsiteX8" fmla="*/ 35077 w 79756"/>
                  <a:gd name="connsiteY8" fmla="*/ 34978 h 115434"/>
                  <a:gd name="connsiteX9" fmla="*/ 55767 w 79756"/>
                  <a:gd name="connsiteY9" fmla="*/ 45614 h 115434"/>
                  <a:gd name="connsiteX10" fmla="*/ 56063 w 79756"/>
                  <a:gd name="connsiteY10" fmla="*/ 45614 h 115434"/>
                  <a:gd name="connsiteX11" fmla="*/ 56063 w 79756"/>
                  <a:gd name="connsiteY11" fmla="*/ 0 h 115434"/>
                  <a:gd name="connsiteX12" fmla="*/ 79757 w 79756"/>
                  <a:gd name="connsiteY12" fmla="*/ 0 h 115434"/>
                  <a:gd name="connsiteX13" fmla="*/ 56512 w 79756"/>
                  <a:gd name="connsiteY13" fmla="*/ 76287 h 115434"/>
                  <a:gd name="connsiteX14" fmla="*/ 56512 w 79756"/>
                  <a:gd name="connsiteY14" fmla="*/ 70525 h 115434"/>
                  <a:gd name="connsiteX15" fmla="*/ 52126 w 79756"/>
                  <a:gd name="connsiteY15" fmla="*/ 58092 h 115434"/>
                  <a:gd name="connsiteX16" fmla="*/ 30439 w 79756"/>
                  <a:gd name="connsiteY16" fmla="*/ 57204 h 115434"/>
                  <a:gd name="connsiteX17" fmla="*/ 28520 w 79756"/>
                  <a:gd name="connsiteY17" fmla="*/ 59329 h 115434"/>
                  <a:gd name="connsiteX18" fmla="*/ 24134 w 79756"/>
                  <a:gd name="connsiteY18" fmla="*/ 76287 h 115434"/>
                  <a:gd name="connsiteX19" fmla="*/ 28410 w 79756"/>
                  <a:gd name="connsiteY19" fmla="*/ 91864 h 115434"/>
                  <a:gd name="connsiteX20" fmla="*/ 49780 w 79756"/>
                  <a:gd name="connsiteY20" fmla="*/ 93825 h 115434"/>
                  <a:gd name="connsiteX21" fmla="*/ 51984 w 79756"/>
                  <a:gd name="connsiteY21" fmla="*/ 91569 h 115434"/>
                  <a:gd name="connsiteX22" fmla="*/ 56512 w 79756"/>
                  <a:gd name="connsiteY22" fmla="*/ 76232 h 11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756" h="115434">
                    <a:moveTo>
                      <a:pt x="79757" y="113532"/>
                    </a:moveTo>
                    <a:lnTo>
                      <a:pt x="56063" y="113532"/>
                    </a:lnTo>
                    <a:lnTo>
                      <a:pt x="56063" y="102972"/>
                    </a:lnTo>
                    <a:lnTo>
                      <a:pt x="55767" y="102972"/>
                    </a:lnTo>
                    <a:cubicBezTo>
                      <a:pt x="50679" y="111100"/>
                      <a:pt x="41590" y="115854"/>
                      <a:pt x="32007" y="115405"/>
                    </a:cubicBezTo>
                    <a:cubicBezTo>
                      <a:pt x="23137" y="115723"/>
                      <a:pt x="14617" y="111987"/>
                      <a:pt x="8850" y="105251"/>
                    </a:cubicBezTo>
                    <a:cubicBezTo>
                      <a:pt x="2578" y="97188"/>
                      <a:pt x="-547" y="87110"/>
                      <a:pt x="78" y="76911"/>
                    </a:cubicBezTo>
                    <a:cubicBezTo>
                      <a:pt x="-481" y="65924"/>
                      <a:pt x="2962" y="55101"/>
                      <a:pt x="9749" y="46436"/>
                    </a:cubicBezTo>
                    <a:cubicBezTo>
                      <a:pt x="15955" y="38899"/>
                      <a:pt x="25307" y="34671"/>
                      <a:pt x="35077" y="34978"/>
                    </a:cubicBezTo>
                    <a:cubicBezTo>
                      <a:pt x="43465" y="34178"/>
                      <a:pt x="51545" y="38330"/>
                      <a:pt x="55767" y="45614"/>
                    </a:cubicBezTo>
                    <a:lnTo>
                      <a:pt x="56063" y="45614"/>
                    </a:lnTo>
                    <a:lnTo>
                      <a:pt x="56063" y="0"/>
                    </a:lnTo>
                    <a:lnTo>
                      <a:pt x="79757" y="0"/>
                    </a:lnTo>
                    <a:close/>
                    <a:moveTo>
                      <a:pt x="56512" y="76287"/>
                    </a:moveTo>
                    <a:lnTo>
                      <a:pt x="56512" y="70525"/>
                    </a:lnTo>
                    <a:cubicBezTo>
                      <a:pt x="56666" y="65979"/>
                      <a:pt x="55098" y="61542"/>
                      <a:pt x="52126" y="58092"/>
                    </a:cubicBezTo>
                    <a:cubicBezTo>
                      <a:pt x="46381" y="51859"/>
                      <a:pt x="36667" y="51464"/>
                      <a:pt x="30439" y="57204"/>
                    </a:cubicBezTo>
                    <a:cubicBezTo>
                      <a:pt x="29737" y="57851"/>
                      <a:pt x="29090" y="58563"/>
                      <a:pt x="28520" y="59329"/>
                    </a:cubicBezTo>
                    <a:cubicBezTo>
                      <a:pt x="25319" y="64390"/>
                      <a:pt x="23794" y="70317"/>
                      <a:pt x="24134" y="76287"/>
                    </a:cubicBezTo>
                    <a:cubicBezTo>
                      <a:pt x="23784" y="81808"/>
                      <a:pt x="25286" y="87296"/>
                      <a:pt x="28410" y="91864"/>
                    </a:cubicBezTo>
                    <a:cubicBezTo>
                      <a:pt x="33772" y="98305"/>
                      <a:pt x="43333" y="99182"/>
                      <a:pt x="49780" y="93825"/>
                    </a:cubicBezTo>
                    <a:cubicBezTo>
                      <a:pt x="50591" y="93157"/>
                      <a:pt x="51326" y="92390"/>
                      <a:pt x="51984" y="91569"/>
                    </a:cubicBezTo>
                    <a:cubicBezTo>
                      <a:pt x="55196" y="87121"/>
                      <a:pt x="56797" y="81710"/>
                      <a:pt x="56512" y="762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77" name="Freeform: Shape 76">
                <a:extLst>
                  <a:ext uri="{FF2B5EF4-FFF2-40B4-BE49-F238E27FC236}">
                    <a16:creationId xmlns:a16="http://schemas.microsoft.com/office/drawing/2014/main" id="{A7E326B4-DD55-CC4B-922D-28A5BE77169A}"/>
                  </a:ext>
                </a:extLst>
              </p:cNvPr>
              <p:cNvSpPr/>
              <p:nvPr/>
            </p:nvSpPr>
            <p:spPr>
              <a:xfrm>
                <a:off x="2540162" y="5312739"/>
                <a:ext cx="73755" cy="80671"/>
              </a:xfrm>
              <a:custGeom>
                <a:avLst/>
                <a:gdLst>
                  <a:gd name="connsiteX0" fmla="*/ 73699 w 73755"/>
                  <a:gd name="connsiteY0" fmla="*/ 47013 h 80671"/>
                  <a:gd name="connsiteX1" fmla="*/ 23635 w 73755"/>
                  <a:gd name="connsiteY1" fmla="*/ 47013 h 80671"/>
                  <a:gd name="connsiteX2" fmla="*/ 44698 w 73755"/>
                  <a:gd name="connsiteY2" fmla="*/ 63708 h 80671"/>
                  <a:gd name="connsiteX3" fmla="*/ 66956 w 73755"/>
                  <a:gd name="connsiteY3" fmla="*/ 57716 h 80671"/>
                  <a:gd name="connsiteX4" fmla="*/ 66956 w 73755"/>
                  <a:gd name="connsiteY4" fmla="*/ 74794 h 80671"/>
                  <a:gd name="connsiteX5" fmla="*/ 39292 w 73755"/>
                  <a:gd name="connsiteY5" fmla="*/ 80490 h 80671"/>
                  <a:gd name="connsiteX6" fmla="*/ 182 w 73755"/>
                  <a:gd name="connsiteY6" fmla="*/ 48547 h 80671"/>
                  <a:gd name="connsiteX7" fmla="*/ 171 w 73755"/>
                  <a:gd name="connsiteY7" fmla="*/ 41470 h 80671"/>
                  <a:gd name="connsiteX8" fmla="*/ 11267 w 73755"/>
                  <a:gd name="connsiteY8" fmla="*/ 11214 h 80671"/>
                  <a:gd name="connsiteX9" fmla="*/ 38547 w 73755"/>
                  <a:gd name="connsiteY9" fmla="*/ 63 h 80671"/>
                  <a:gd name="connsiteX10" fmla="*/ 64521 w 73755"/>
                  <a:gd name="connsiteY10" fmla="*/ 10020 h 80671"/>
                  <a:gd name="connsiteX11" fmla="*/ 73699 w 73755"/>
                  <a:gd name="connsiteY11" fmla="*/ 37056 h 80671"/>
                  <a:gd name="connsiteX12" fmla="*/ 51770 w 73755"/>
                  <a:gd name="connsiteY12" fmla="*/ 32488 h 80671"/>
                  <a:gd name="connsiteX13" fmla="*/ 38426 w 73755"/>
                  <a:gd name="connsiteY13" fmla="*/ 16056 h 80671"/>
                  <a:gd name="connsiteX14" fmla="*/ 28558 w 73755"/>
                  <a:gd name="connsiteY14" fmla="*/ 20778 h 80671"/>
                  <a:gd name="connsiteX15" fmla="*/ 23504 w 73755"/>
                  <a:gd name="connsiteY15" fmla="*/ 32532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71">
                    <a:moveTo>
                      <a:pt x="73699" y="47013"/>
                    </a:moveTo>
                    <a:lnTo>
                      <a:pt x="23635" y="47013"/>
                    </a:lnTo>
                    <a:cubicBezTo>
                      <a:pt x="24425" y="58143"/>
                      <a:pt x="31442" y="63708"/>
                      <a:pt x="44698" y="63708"/>
                    </a:cubicBezTo>
                    <a:cubicBezTo>
                      <a:pt x="52537" y="63872"/>
                      <a:pt x="60256" y="61791"/>
                      <a:pt x="66956" y="57716"/>
                    </a:cubicBezTo>
                    <a:lnTo>
                      <a:pt x="66956" y="74794"/>
                    </a:lnTo>
                    <a:cubicBezTo>
                      <a:pt x="58337" y="78924"/>
                      <a:pt x="48842" y="80874"/>
                      <a:pt x="39292" y="80490"/>
                    </a:cubicBezTo>
                    <a:cubicBezTo>
                      <a:pt x="19666" y="82462"/>
                      <a:pt x="2145" y="68156"/>
                      <a:pt x="182" y="48547"/>
                    </a:cubicBezTo>
                    <a:cubicBezTo>
                      <a:pt x="-59" y="46192"/>
                      <a:pt x="-59" y="43826"/>
                      <a:pt x="171" y="41470"/>
                    </a:cubicBezTo>
                    <a:cubicBezTo>
                      <a:pt x="-410" y="30297"/>
                      <a:pt x="3592" y="19364"/>
                      <a:pt x="11267" y="11214"/>
                    </a:cubicBezTo>
                    <a:cubicBezTo>
                      <a:pt x="18416" y="3875"/>
                      <a:pt x="28295" y="-167"/>
                      <a:pt x="38547" y="63"/>
                    </a:cubicBezTo>
                    <a:cubicBezTo>
                      <a:pt x="48239" y="-529"/>
                      <a:pt x="57713" y="3097"/>
                      <a:pt x="64521" y="10020"/>
                    </a:cubicBezTo>
                    <a:cubicBezTo>
                      <a:pt x="70947" y="17513"/>
                      <a:pt x="74236" y="27197"/>
                      <a:pt x="73699" y="37056"/>
                    </a:cubicBezTo>
                    <a:close/>
                    <a:moveTo>
                      <a:pt x="51770" y="32488"/>
                    </a:moveTo>
                    <a:cubicBezTo>
                      <a:pt x="51770" y="21534"/>
                      <a:pt x="47318" y="16056"/>
                      <a:pt x="38426" y="16056"/>
                    </a:cubicBezTo>
                    <a:cubicBezTo>
                      <a:pt x="34589" y="16067"/>
                      <a:pt x="30970" y="17798"/>
                      <a:pt x="28558" y="20778"/>
                    </a:cubicBezTo>
                    <a:cubicBezTo>
                      <a:pt x="25718" y="24086"/>
                      <a:pt x="23953" y="28194"/>
                      <a:pt x="23504" y="32532"/>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78" name="Freeform: Shape 77">
                <a:extLst>
                  <a:ext uri="{FF2B5EF4-FFF2-40B4-BE49-F238E27FC236}">
                    <a16:creationId xmlns:a16="http://schemas.microsoft.com/office/drawing/2014/main" id="{839F5F07-0C37-49E6-E176-14E3EB9C2E99}"/>
                  </a:ext>
                </a:extLst>
              </p:cNvPr>
              <p:cNvSpPr/>
              <p:nvPr/>
            </p:nvSpPr>
            <p:spPr>
              <a:xfrm>
                <a:off x="2628859" y="5313324"/>
                <a:ext cx="50074" cy="78032"/>
              </a:xfrm>
              <a:custGeom>
                <a:avLst/>
                <a:gdLst>
                  <a:gd name="connsiteX0" fmla="*/ 50042 w 50074"/>
                  <a:gd name="connsiteY0" fmla="*/ 22690 h 78032"/>
                  <a:gd name="connsiteX1" fmla="*/ 40064 w 50074"/>
                  <a:gd name="connsiteY1" fmla="*/ 20368 h 78032"/>
                  <a:gd name="connsiteX2" fmla="*/ 28003 w 50074"/>
                  <a:gd name="connsiteY2" fmla="*/ 26020 h 78032"/>
                  <a:gd name="connsiteX3" fmla="*/ 23617 w 50074"/>
                  <a:gd name="connsiteY3" fmla="*/ 41411 h 78032"/>
                  <a:gd name="connsiteX4" fmla="*/ 23617 w 50074"/>
                  <a:gd name="connsiteY4" fmla="*/ 78032 h 78032"/>
                  <a:gd name="connsiteX5" fmla="*/ 0 w 50074"/>
                  <a:gd name="connsiteY5" fmla="*/ 78032 h 78032"/>
                  <a:gd name="connsiteX6" fmla="*/ 0 w 50074"/>
                  <a:gd name="connsiteY6" fmla="*/ 1351 h 78032"/>
                  <a:gd name="connsiteX7" fmla="*/ 23683 w 50074"/>
                  <a:gd name="connsiteY7" fmla="*/ 1351 h 78032"/>
                  <a:gd name="connsiteX8" fmla="*/ 23683 w 50074"/>
                  <a:gd name="connsiteY8" fmla="*/ 15592 h 78032"/>
                  <a:gd name="connsiteX9" fmla="*/ 23990 w 50074"/>
                  <a:gd name="connsiteY9" fmla="*/ 15592 h 78032"/>
                  <a:gd name="connsiteX10" fmla="*/ 44219 w 50074"/>
                  <a:gd name="connsiteY10" fmla="*/ 15 h 78032"/>
                  <a:gd name="connsiteX11" fmla="*/ 50074 w 50074"/>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74" h="78032">
                    <a:moveTo>
                      <a:pt x="50042" y="22690"/>
                    </a:moveTo>
                    <a:cubicBezTo>
                      <a:pt x="46961" y="21091"/>
                      <a:pt x="43529" y="20291"/>
                      <a:pt x="40064" y="20368"/>
                    </a:cubicBezTo>
                    <a:cubicBezTo>
                      <a:pt x="35360" y="20160"/>
                      <a:pt x="30854" y="22274"/>
                      <a:pt x="28003" y="26020"/>
                    </a:cubicBezTo>
                    <a:cubicBezTo>
                      <a:pt x="24867" y="30523"/>
                      <a:pt x="23332" y="35934"/>
                      <a:pt x="23617" y="41411"/>
                    </a:cubicBezTo>
                    <a:lnTo>
                      <a:pt x="23617" y="78032"/>
                    </a:lnTo>
                    <a:lnTo>
                      <a:pt x="0" y="78032"/>
                    </a:lnTo>
                    <a:lnTo>
                      <a:pt x="0" y="1351"/>
                    </a:lnTo>
                    <a:lnTo>
                      <a:pt x="23683" y="1351"/>
                    </a:lnTo>
                    <a:lnTo>
                      <a:pt x="23683" y="15592"/>
                    </a:lnTo>
                    <a:lnTo>
                      <a:pt x="23990" y="15592"/>
                    </a:lnTo>
                    <a:cubicBezTo>
                      <a:pt x="26271" y="6324"/>
                      <a:pt x="34669" y="-139"/>
                      <a:pt x="44219" y="15"/>
                    </a:cubicBezTo>
                    <a:cubicBezTo>
                      <a:pt x="46215" y="-73"/>
                      <a:pt x="48200" y="234"/>
                      <a:pt x="50074" y="913"/>
                    </a:cubicBezTo>
                    <a:close/>
                  </a:path>
                </a:pathLst>
              </a:custGeom>
              <a:solidFill>
                <a:srgbClr val="2F2F2F"/>
              </a:solidFill>
              <a:ln w="109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Semibold"/>
                  <a:ea typeface="+mn-ea"/>
                  <a:cs typeface="+mn-cs"/>
                </a:endParaRPr>
              </a:p>
            </p:txBody>
          </p:sp>
        </p:grpSp>
      </p:grpSp>
      <p:sp>
        <p:nvSpPr>
          <p:cNvPr id="582" name="TextBox 581">
            <a:extLst>
              <a:ext uri="{FF2B5EF4-FFF2-40B4-BE49-F238E27FC236}">
                <a16:creationId xmlns:a16="http://schemas.microsoft.com/office/drawing/2014/main" id="{1501B595-10D6-F7EA-9DEB-DBD8EE619B48}"/>
              </a:ext>
            </a:extLst>
          </p:cNvPr>
          <p:cNvSpPr txBox="1"/>
          <p:nvPr/>
        </p:nvSpPr>
        <p:spPr>
          <a:xfrm>
            <a:off x="4360116" y="5857508"/>
            <a:ext cx="91254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ustomer responsibility</a:t>
            </a:r>
          </a:p>
        </p:txBody>
      </p:sp>
      <p:sp>
        <p:nvSpPr>
          <p:cNvPr id="583" name="TextBox 582">
            <a:extLst>
              <a:ext uri="{FF2B5EF4-FFF2-40B4-BE49-F238E27FC236}">
                <a16:creationId xmlns:a16="http://schemas.microsoft.com/office/drawing/2014/main" id="{A8FCC907-C222-AE02-000B-F11DB7759B9E}"/>
              </a:ext>
            </a:extLst>
          </p:cNvPr>
          <p:cNvSpPr txBox="1"/>
          <p:nvPr/>
        </p:nvSpPr>
        <p:spPr>
          <a:xfrm>
            <a:off x="6044339" y="5857508"/>
            <a:ext cx="91254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Sha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responsibility</a:t>
            </a:r>
          </a:p>
        </p:txBody>
      </p:sp>
      <p:sp>
        <p:nvSpPr>
          <p:cNvPr id="581" name="TextBox 580">
            <a:extLst>
              <a:ext uri="{FF2B5EF4-FFF2-40B4-BE49-F238E27FC236}">
                <a16:creationId xmlns:a16="http://schemas.microsoft.com/office/drawing/2014/main" id="{5AA746A9-B814-C392-0BC6-6D149E4F6B66}"/>
              </a:ext>
            </a:extLst>
          </p:cNvPr>
          <p:cNvSpPr txBox="1"/>
          <p:nvPr/>
        </p:nvSpPr>
        <p:spPr>
          <a:xfrm>
            <a:off x="7728562" y="5857508"/>
            <a:ext cx="91254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Microsoft responsibility</a:t>
            </a:r>
          </a:p>
        </p:txBody>
      </p:sp>
    </p:spTree>
    <p:extLst>
      <p:ext uri="{BB962C8B-B14F-4D97-AF65-F5344CB8AC3E}">
        <p14:creationId xmlns:p14="http://schemas.microsoft.com/office/powerpoint/2010/main" val="122767031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0474BF-86E4-0C13-D73B-5CB96C156BBB}"/>
              </a:ext>
            </a:extLst>
          </p:cNvPr>
          <p:cNvSpPr>
            <a:spLocks noGrp="1"/>
          </p:cNvSpPr>
          <p:nvPr>
            <p:ph type="title"/>
          </p:nvPr>
        </p:nvSpPr>
        <p:spPr/>
        <p:txBody>
          <a:bodyPr/>
          <a:lstStyle/>
          <a:p>
            <a:r>
              <a:rPr lang="en-US"/>
              <a:t>*</a:t>
            </a:r>
            <a:r>
              <a:rPr lang="en-US" err="1"/>
              <a:t>aaS</a:t>
            </a:r>
            <a:endParaRPr lang="en-US"/>
          </a:p>
        </p:txBody>
      </p:sp>
      <p:sp>
        <p:nvSpPr>
          <p:cNvPr id="5" name="Content Placeholder 4">
            <a:extLst>
              <a:ext uri="{FF2B5EF4-FFF2-40B4-BE49-F238E27FC236}">
                <a16:creationId xmlns:a16="http://schemas.microsoft.com/office/drawing/2014/main" id="{B5FFA95B-24A6-A4F6-1A39-0297965F3F12}"/>
              </a:ext>
            </a:extLst>
          </p:cNvPr>
          <p:cNvSpPr>
            <a:spLocks noGrp="1"/>
          </p:cNvSpPr>
          <p:nvPr>
            <p:ph idx="1"/>
          </p:nvPr>
        </p:nvSpPr>
        <p:spPr>
          <a:xfrm>
            <a:off x="873759" y="1241881"/>
            <a:ext cx="10436354" cy="3028521"/>
          </a:xfrm>
        </p:spPr>
        <p:txBody>
          <a:bodyPr/>
          <a:lstStyle/>
          <a:p>
            <a:r>
              <a:rPr lang="en-US" dirty="0"/>
              <a:t>Virtual Machines are…  Virtual Machines (IaaS)</a:t>
            </a:r>
          </a:p>
          <a:p>
            <a:pPr lvl="1"/>
            <a:r>
              <a:rPr lang="en-US" dirty="0"/>
              <a:t>Fundamentally identical to what you’ve been doing since Grandpa stopped using punch cards</a:t>
            </a:r>
          </a:p>
          <a:p>
            <a:r>
              <a:rPr lang="en-US" dirty="0"/>
              <a:t>Databases can be deployed on a VM or as a platform offering (IaaS/</a:t>
            </a:r>
            <a:r>
              <a:rPr lang="en-US" dirty="0" err="1"/>
              <a:t>Paas</a:t>
            </a:r>
            <a:r>
              <a:rPr lang="en-US" dirty="0"/>
              <a:t>)</a:t>
            </a:r>
          </a:p>
          <a:p>
            <a:pPr lvl="1"/>
            <a:r>
              <a:rPr lang="en-US" dirty="0"/>
              <a:t>Platform offerings are typically much cheaper to run and license</a:t>
            </a:r>
          </a:p>
          <a:p>
            <a:pPr lvl="1"/>
            <a:r>
              <a:rPr lang="en-US" dirty="0"/>
              <a:t>Platform offerings do not have 100% feature parity with their IaaS counterparts</a:t>
            </a:r>
          </a:p>
          <a:p>
            <a:r>
              <a:rPr lang="en-US" dirty="0"/>
              <a:t>Native container options are expansive and VERY feature rich (PaaS)</a:t>
            </a:r>
          </a:p>
          <a:p>
            <a:r>
              <a:rPr lang="en-US" dirty="0"/>
              <a:t>Storage is still the same old dog (IaaS/PaaS)</a:t>
            </a:r>
          </a:p>
          <a:p>
            <a:pPr lvl="1"/>
            <a:r>
              <a:rPr lang="en-US" dirty="0"/>
              <a:t>but it has learned some new tricks</a:t>
            </a:r>
          </a:p>
        </p:txBody>
      </p:sp>
    </p:spTree>
    <p:extLst>
      <p:ext uri="{BB962C8B-B14F-4D97-AF65-F5344CB8AC3E}">
        <p14:creationId xmlns:p14="http://schemas.microsoft.com/office/powerpoint/2010/main" val="2944089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2023 Template">
  <a:themeElements>
    <a:clrScheme name="Custom 33">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078D4"/>
      </a:hlink>
      <a:folHlink>
        <a:srgbClr val="0078D4"/>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 Security .PPTX" id="{4F1CDCEB-D6F9-4551-A590-506B92F55608}" vid="{8DD1E9A9-4E42-4D4A-BCDE-03CD77C46F22}"/>
    </a:ext>
  </a:extLst>
</a:theme>
</file>

<file path=ppt/theme/theme2.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Template.potx" id="{527209B2-738B-4B01-9D48-27F40AE5D181}" vid="{411C5D06-51D1-4EE9-8DBE-A140AC65511D}"/>
    </a:ext>
  </a:extLst>
</a:theme>
</file>

<file path=ppt/theme/theme3.xml><?xml version="1.0" encoding="utf-8"?>
<a:theme xmlns:a="http://schemas.openxmlformats.org/drawingml/2006/main" name="1_Azure 2023 Template">
  <a:themeElements>
    <a:clrScheme name="Custom 33">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078D4"/>
      </a:hlink>
      <a:folHlink>
        <a:srgbClr val="0078D4"/>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662DC8C9-CFC0-405F-82A1-B248626FCAE6}" vid="{49C91371-712F-49B7-AFEB-59DA86371DF3}"/>
    </a:ext>
  </a:extLst>
</a:theme>
</file>

<file path=ppt/theme/theme4.xml><?xml version="1.0" encoding="utf-8"?>
<a:theme xmlns:a="http://schemas.openxmlformats.org/drawingml/2006/main" name="2_Azure 2023 Template">
  <a:themeElements>
    <a:clrScheme name="Custom 9">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078D4"/>
      </a:hlink>
      <a:folHlink>
        <a:srgbClr val="7030A0"/>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54432D6F-10F2-4964-8161-BF348CC246BB}" vid="{13521289-1A57-47CF-B864-796003FB82C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1c3d6fc-5689-40cc-899d-3b916b4ff5bf">
      <UserInfo>
        <DisplayName>Joey Snow</DisplayName>
        <AccountId>215</AccountId>
        <AccountType/>
      </UserInfo>
      <UserInfo>
        <DisplayName>Temitope Adekanbi</DisplayName>
        <AccountId>193</AccountId>
        <AccountType/>
      </UserInfo>
      <UserInfo>
        <DisplayName>Mihai Peicu</DisplayName>
        <AccountId>253</AccountId>
        <AccountType/>
      </UserInfo>
      <UserInfo>
        <DisplayName>Lorenzo Rizzi</DisplayName>
        <AccountId>199</AccountId>
        <AccountType/>
      </UserInfo>
      <UserInfo>
        <DisplayName>Nannette Sperling (Synaxis Corporation)</DisplayName>
        <AccountId>157</AccountId>
        <AccountType/>
      </UserInfo>
      <UserInfo>
        <DisplayName>Molly Bostic</DisplayName>
        <AccountId>208</AccountId>
        <AccountType/>
      </UserInfo>
      <UserInfo>
        <DisplayName>Sean Whalen</DisplayName>
        <AccountId>40</AccountId>
        <AccountType/>
      </UserInfo>
    </SharedWithUsers>
    <test xmlns="07c5dfa0-33a3-47dd-bfb7-87fb96739115" xsi:nil="true"/>
    <Time xmlns="07c5dfa0-33a3-47dd-bfb7-87fb96739115" xsi:nil="true"/>
    <Status xmlns="07c5dfa0-33a3-47dd-bfb7-87fb96739115" xsi:nil="true"/>
    <lcf76f155ced4ddcb4097134ff3c332f xmlns="07c5dfa0-33a3-47dd-bfb7-87fb96739115">
      <Terms xmlns="http://schemas.microsoft.com/office/infopath/2007/PartnerControls"/>
    </lcf76f155ced4ddcb4097134ff3c332f>
    <Date xmlns="07c5dfa0-33a3-47dd-bfb7-87fb96739115" xsi:nil="true"/>
    <TaxCatchAll xmlns="230e9df3-be65-4c73-a93b-d1236ebd677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8D470E7-2B31-474B-BCF1-A5172950F386}">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2583E74-E3CC-438B-B3BF-57A73D03922F}">
  <ds:schemaRefs>
    <ds:schemaRef ds:uri="07c5dfa0-33a3-47dd-bfb7-87fb96739115"/>
    <ds:schemaRef ds:uri="230e9df3-be65-4c73-a93b-d1236ebd677e"/>
    <ds:schemaRef ds:uri="750c25d8-586a-474c-8859-9a41d16c0536"/>
    <ds:schemaRef ds:uri="b1c3d6fc-5689-40cc-899d-3b916b4ff5bf"/>
    <ds:schemaRef ds:uri="c4f20c75-ad98-4a19-bb04-50cba9aa808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057DA5C-569C-4BD6-89A7-7C6D6B88E649}">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Deck-LAUTERTUN</Template>
  <TotalTime>50</TotalTime>
  <Words>5200</Words>
  <Application>Microsoft Office PowerPoint</Application>
  <PresentationFormat>Widescreen</PresentationFormat>
  <Paragraphs>696</Paragraphs>
  <Slides>52</Slides>
  <Notes>20</Notes>
  <HiddenSlides>0</HiddenSlides>
  <MMClips>1</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52</vt:i4>
      </vt:variant>
    </vt:vector>
  </HeadingPairs>
  <TitlesOfParts>
    <vt:vector size="73" baseType="lpstr">
      <vt:lpstr>MS PGothic</vt:lpstr>
      <vt:lpstr>Aptos</vt:lpstr>
      <vt:lpstr>Aptos Mono</vt:lpstr>
      <vt:lpstr>Arial</vt:lpstr>
      <vt:lpstr>Calibri</vt:lpstr>
      <vt:lpstr>Consolas</vt:lpstr>
      <vt:lpstr>Segoe Pro Display</vt:lpstr>
      <vt:lpstr>Segoe Sans Text</vt:lpstr>
      <vt:lpstr>Segoe Sans Text Semibold</vt:lpstr>
      <vt:lpstr>Segoe UI</vt:lpstr>
      <vt:lpstr>Segoe UI bold</vt:lpstr>
      <vt:lpstr>Segoe UI Light</vt:lpstr>
      <vt:lpstr>Segoe UI Semibold</vt:lpstr>
      <vt:lpstr>Segoe UI Semilight</vt:lpstr>
      <vt:lpstr>Symbol</vt:lpstr>
      <vt:lpstr>Wingdings</vt:lpstr>
      <vt:lpstr>Azure 2023 Template</vt:lpstr>
      <vt:lpstr>5-50201_Microsoft_Ready_Template</vt:lpstr>
      <vt:lpstr>1_Azure 2023 Template</vt:lpstr>
      <vt:lpstr>2_Azure 2023 Template</vt:lpstr>
      <vt:lpstr>think-cell Slide</vt:lpstr>
      <vt:lpstr>Azure Primer</vt:lpstr>
      <vt:lpstr>PowerPoint Presentation</vt:lpstr>
      <vt:lpstr>Housekeeping</vt:lpstr>
      <vt:lpstr>Establishing a Baseline and Level Setting Expectations</vt:lpstr>
      <vt:lpstr>Our Assumptions</vt:lpstr>
      <vt:lpstr>Some Topics We’ll Cover</vt:lpstr>
      <vt:lpstr>But First…</vt:lpstr>
      <vt:lpstr>Shared responsibility</vt:lpstr>
      <vt:lpstr>*aaS</vt:lpstr>
      <vt:lpstr>PowerPoint Presentation</vt:lpstr>
      <vt:lpstr>Azure regions</vt:lpstr>
      <vt:lpstr>North American Datacenters</vt:lpstr>
      <vt:lpstr>How do we Interact with Azure?</vt:lpstr>
      <vt:lpstr>100 Portals?</vt:lpstr>
      <vt:lpstr>Death by 100 Portals</vt:lpstr>
      <vt:lpstr>Azure Networking</vt:lpstr>
      <vt:lpstr>Azure Networks</vt:lpstr>
      <vt:lpstr>Public Endpoints</vt:lpstr>
      <vt:lpstr>Private Endpoint Structure (According to CoPilot)</vt:lpstr>
      <vt:lpstr>Private Endpoint Structure (According to Scott)</vt:lpstr>
      <vt:lpstr>Private Endpoints (How they work)</vt:lpstr>
      <vt:lpstr>Azure Networks</vt:lpstr>
      <vt:lpstr>Compute options for all types of apps</vt:lpstr>
      <vt:lpstr>Blob Storage | Overview</vt:lpstr>
      <vt:lpstr>Azure Blob Tiers</vt:lpstr>
      <vt:lpstr>PowerPoint Presentation</vt:lpstr>
      <vt:lpstr>Azure Storage</vt:lpstr>
      <vt:lpstr>Azure Governance</vt:lpstr>
      <vt:lpstr>Azure Governance</vt:lpstr>
      <vt:lpstr>What is Azure Governance?</vt:lpstr>
      <vt:lpstr>Example Enrollment Hierarchy</vt:lpstr>
      <vt:lpstr>Best Practices</vt:lpstr>
      <vt:lpstr>Cloud pricing journey</vt:lpstr>
      <vt:lpstr>What Is A Subscription?</vt:lpstr>
      <vt:lpstr>Important Decisions</vt:lpstr>
      <vt:lpstr>Name and Tagging Best Practice</vt:lpstr>
      <vt:lpstr>Why do we need Naming and Tagging Standards?</vt:lpstr>
      <vt:lpstr>Standards are Everything!</vt:lpstr>
      <vt:lpstr>Tagging is mandatory for better accountability</vt:lpstr>
      <vt:lpstr>Resource Tags</vt:lpstr>
      <vt:lpstr>Azure Government</vt:lpstr>
      <vt:lpstr>Automation Tools for Azure</vt:lpstr>
      <vt:lpstr>Infrastructre as Code + Configuration as Code FTW</vt:lpstr>
      <vt:lpstr>Summary </vt:lpstr>
      <vt:lpstr>Automating the Cloud</vt:lpstr>
      <vt:lpstr>Security and Monitoring</vt:lpstr>
      <vt:lpstr>Unmatched security across operations, technology, and partnerships</vt:lpstr>
      <vt:lpstr>Manage organizational security policies and assess compliance in minutes</vt:lpstr>
      <vt:lpstr>Protect Linux and Windows servers from threats</vt:lpstr>
      <vt:lpstr>Security</vt:lpstr>
      <vt:lpstr>Q&amp;A 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cott Corio</dc:creator>
  <cp:keywords>EBC, Azure, Security</cp:keywords>
  <cp:lastModifiedBy>Scott Corio</cp:lastModifiedBy>
  <cp:revision>1</cp:revision>
  <dcterms:created xsi:type="dcterms:W3CDTF">2024-08-10T18:02:45Z</dcterms:created>
  <dcterms:modified xsi:type="dcterms:W3CDTF">2024-08-16T12:46:55Z</dcterms:modified>
  <cp:category>EBC deck</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ies>
</file>